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7.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48.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49.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50.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51.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52.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53.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54.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55.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56.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57.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58.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59.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60.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61.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62.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63.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64.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tags/tag65.xml" ContentType="application/vnd.openxmlformats-officedocument.presentationml.tags+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tags/tag66.xml" ContentType="application/vnd.openxmlformats-officedocument.presentationml.tags+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tags/tag67.xml" ContentType="application/vnd.openxmlformats-officedocument.presentationml.tags+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68.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tags/tag69.xml" ContentType="application/vnd.openxmlformats-officedocument.presentationml.tags+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tags/tag70.xml" ContentType="application/vnd.openxmlformats-officedocument.presentationml.tags+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tags/tag71.xml" ContentType="application/vnd.openxmlformats-officedocument.presentationml.tags+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7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tags/tag73.xml" ContentType="application/vnd.openxmlformats-officedocument.presentationml.tags+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7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tags/tag75.xml" ContentType="application/vnd.openxmlformats-officedocument.presentationml.tags+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tags/tag76.xml" ContentType="application/vnd.openxmlformats-officedocument.presentationml.tags+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tags/tag77.xml" ContentType="application/vnd.openxmlformats-officedocument.presentationml.tags+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78.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9.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tags/tag80.xml" ContentType="application/vnd.openxmlformats-officedocument.presentationml.tags+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tags/tag81.xml" ContentType="application/vnd.openxmlformats-officedocument.presentationml.tags+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tags/tag82.xml" ContentType="application/vnd.openxmlformats-officedocument.presentationml.tags+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83.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tags/tag84.xml" ContentType="application/vnd.openxmlformats-officedocument.presentationml.tags+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tags/tag85.xml" ContentType="application/vnd.openxmlformats-officedocument.presentationml.tags+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tags/tag86.xml" ContentType="application/vnd.openxmlformats-officedocument.presentationml.tags+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7.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8.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tags/tag89.xml" ContentType="application/vnd.openxmlformats-officedocument.presentationml.tags+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tags/tag90.xml" ContentType="application/vnd.openxmlformats-officedocument.presentationml.tags+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tags/tag91.xml" ContentType="application/vnd.openxmlformats-officedocument.presentationml.tags+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92.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tags/tag93.xml" ContentType="application/vnd.openxmlformats-officedocument.presentationml.tags+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tags/tag94.xml" ContentType="application/vnd.openxmlformats-officedocument.presentationml.tags+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tags/tag95.xml" ContentType="application/vnd.openxmlformats-officedocument.presentationml.tags+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6.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7.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tags/tag98.xml" ContentType="application/vnd.openxmlformats-officedocument.presentationml.tags+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tags/tag99.xml" ContentType="application/vnd.openxmlformats-officedocument.presentationml.tags+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tags/tag100.xml" ContentType="application/vnd.openxmlformats-officedocument.presentationml.tags+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101.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tags/tag102.xml" ContentType="application/vnd.openxmlformats-officedocument.presentationml.tags+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tags/tag103.xml" ContentType="application/vnd.openxmlformats-officedocument.presentationml.tags+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tags/tag104.xml" ContentType="application/vnd.openxmlformats-officedocument.presentationml.tags+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5.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6.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tags/tag107.xml" ContentType="application/vnd.openxmlformats-officedocument.presentationml.tags+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tags/tag108.xml" ContentType="application/vnd.openxmlformats-officedocument.presentationml.tags+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tags/tag109.xml" ContentType="application/vnd.openxmlformats-officedocument.presentationml.tags+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10.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tags/tag111.xml" ContentType="application/vnd.openxmlformats-officedocument.presentationml.tags+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tags/tag112.xml" ContentType="application/vnd.openxmlformats-officedocument.presentationml.tags+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tags/tag113.xml" ContentType="application/vnd.openxmlformats-officedocument.presentationml.tags+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4.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5.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tags/tag116.xml" ContentType="application/vnd.openxmlformats-officedocument.presentationml.tags+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tags/tag117.xml" ContentType="application/vnd.openxmlformats-officedocument.presentationml.tags+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tags/tag118.xml" ContentType="application/vnd.openxmlformats-officedocument.presentationml.tags+xml"/>
  <Override PartName="/ppt/charts/chart270.xml" ContentType="application/vnd.openxmlformats-officedocument.drawingml.chart+xml"/>
  <Override PartName="/ppt/tags/tag119.xml" ContentType="application/vnd.openxmlformats-officedocument.presentationml.tags+xml"/>
  <Override PartName="/ppt/charts/chart271.xml" ContentType="application/vnd.openxmlformats-officedocument.drawingml.chart+xml"/>
  <Override PartName="/ppt/tags/tag120.xml" ContentType="application/vnd.openxmlformats-officedocument.presentationml.tags+xml"/>
  <Override PartName="/ppt/charts/chart272.xml" ContentType="application/vnd.openxmlformats-officedocument.drawingml.chart+xml"/>
  <Override PartName="/ppt/tags/tag121.xml" ContentType="application/vnd.openxmlformats-officedocument.presentationml.tags+xml"/>
  <Override PartName="/ppt/charts/chart273.xml" ContentType="application/vnd.openxmlformats-officedocument.drawingml.chart+xml"/>
  <Override PartName="/ppt/tags/tag122.xml" ContentType="application/vnd.openxmlformats-officedocument.presentationml.tags+xml"/>
  <Override PartName="/ppt/charts/chart274.xml" ContentType="application/vnd.openxmlformats-officedocument.drawingml.chart+xml"/>
  <Override PartName="/ppt/tags/tag123.xml" ContentType="application/vnd.openxmlformats-officedocument.presentationml.tags+xml"/>
  <Override PartName="/ppt/charts/chart275.xml" ContentType="application/vnd.openxmlformats-officedocument.drawingml.chart+xml"/>
  <Override PartName="/ppt/tags/tag124.xml" ContentType="application/vnd.openxmlformats-officedocument.presentationml.tags+xml"/>
  <Override PartName="/ppt/charts/chart276.xml" ContentType="application/vnd.openxmlformats-officedocument.drawingml.chart+xml"/>
  <Override PartName="/ppt/tags/tag125.xml" ContentType="application/vnd.openxmlformats-officedocument.presentationml.tags+xml"/>
  <Override PartName="/ppt/charts/chart277.xml" ContentType="application/vnd.openxmlformats-officedocument.drawingml.chart+xml"/>
  <Override PartName="/ppt/tags/tag126.xml" ContentType="application/vnd.openxmlformats-officedocument.presentationml.tags+xml"/>
  <Override PartName="/ppt/charts/chart278.xml" ContentType="application/vnd.openxmlformats-officedocument.drawingml.chart+xml"/>
  <Override PartName="/ppt/tags/tag127.xml" ContentType="application/vnd.openxmlformats-officedocument.presentationml.tags+xml"/>
  <Override PartName="/ppt/charts/chart279.xml" ContentType="application/vnd.openxmlformats-officedocument.drawingml.chart+xml"/>
  <Override PartName="/ppt/tags/tag128.xml" ContentType="application/vnd.openxmlformats-officedocument.presentationml.tags+xml"/>
  <Override PartName="/ppt/charts/chart280.xml" ContentType="application/vnd.openxmlformats-officedocument.drawingml.chart+xml"/>
  <Override PartName="/ppt/tags/tag129.xml" ContentType="application/vnd.openxmlformats-officedocument.presentationml.tags+xml"/>
  <Override PartName="/ppt/charts/chart281.xml" ContentType="application/vnd.openxmlformats-officedocument.drawingml.chart+xml"/>
  <Override PartName="/ppt/tags/tag130.xml" ContentType="application/vnd.openxmlformats-officedocument.presentationml.tags+xml"/>
  <Override PartName="/ppt/charts/chart282.xml" ContentType="application/vnd.openxmlformats-officedocument.drawingml.chart+xml"/>
  <Override PartName="/ppt/tags/tag131.xml" ContentType="application/vnd.openxmlformats-officedocument.presentationml.tags+xml"/>
  <Override PartName="/ppt/charts/chart283.xml" ContentType="application/vnd.openxmlformats-officedocument.drawingml.chart+xml"/>
  <Override PartName="/ppt/tags/tag132.xml" ContentType="application/vnd.openxmlformats-officedocument.presentationml.tags+xml"/>
  <Override PartName="/ppt/charts/chart284.xml" ContentType="application/vnd.openxmlformats-officedocument.drawingml.chart+xml"/>
  <Override PartName="/ppt/tags/tag133.xml" ContentType="application/vnd.openxmlformats-officedocument.presentationml.tags+xml"/>
  <Override PartName="/ppt/charts/chart285.xml" ContentType="application/vnd.openxmlformats-officedocument.drawingml.chart+xml"/>
  <Override PartName="/ppt/tags/tag134.xml" ContentType="application/vnd.openxmlformats-officedocument.presentationml.tags+xml"/>
  <Override PartName="/ppt/charts/chart286.xml" ContentType="application/vnd.openxmlformats-officedocument.drawingml.chart+xml"/>
  <Override PartName="/ppt/tags/tag135.xml" ContentType="application/vnd.openxmlformats-officedocument.presentationml.tags+xml"/>
  <Override PartName="/ppt/charts/chart287.xml" ContentType="application/vnd.openxmlformats-officedocument.drawingml.chart+xml"/>
  <Override PartName="/ppt/tags/tag136.xml" ContentType="application/vnd.openxmlformats-officedocument.presentationml.tags+xml"/>
  <Override PartName="/ppt/charts/chart288.xml" ContentType="application/vnd.openxmlformats-officedocument.drawingml.chart+xml"/>
  <Override PartName="/ppt/tags/tag137.xml" ContentType="application/vnd.openxmlformats-officedocument.presentationml.tags+xml"/>
  <Override PartName="/ppt/charts/chart289.xml" ContentType="application/vnd.openxmlformats-officedocument.drawingml.chart+xml"/>
  <Override PartName="/ppt/tags/tag138.xml" ContentType="application/vnd.openxmlformats-officedocument.presentationml.tags+xml"/>
  <Override PartName="/ppt/charts/chart290.xml" ContentType="application/vnd.openxmlformats-officedocument.drawingml.chart+xml"/>
  <Override PartName="/ppt/tags/tag139.xml" ContentType="application/vnd.openxmlformats-officedocument.presentationml.tags+xml"/>
  <Override PartName="/ppt/charts/chart291.xml" ContentType="application/vnd.openxmlformats-officedocument.drawingml.chart+xml"/>
  <Override PartName="/ppt/tags/tag140.xml" ContentType="application/vnd.openxmlformats-officedocument.presentationml.tags+xml"/>
  <Override PartName="/ppt/charts/chart292.xml" ContentType="application/vnd.openxmlformats-officedocument.drawingml.chart+xml"/>
  <Override PartName="/ppt/tags/tag141.xml" ContentType="application/vnd.openxmlformats-officedocument.presentationml.tags+xml"/>
  <Override PartName="/ppt/charts/chart293.xml" ContentType="application/vnd.openxmlformats-officedocument.drawingml.chart+xml"/>
  <Override PartName="/ppt/tags/tag142.xml" ContentType="application/vnd.openxmlformats-officedocument.presentationml.tags+xml"/>
  <Override PartName="/ppt/charts/chart294.xml" ContentType="application/vnd.openxmlformats-officedocument.drawingml.chart+xml"/>
  <Override PartName="/ppt/tags/tag143.xml" ContentType="application/vnd.openxmlformats-officedocument.presentationml.tags+xml"/>
  <Override PartName="/ppt/charts/chart295.xml" ContentType="application/vnd.openxmlformats-officedocument.drawingml.chart+xml"/>
  <Override PartName="/ppt/tags/tag144.xml" ContentType="application/vnd.openxmlformats-officedocument.presentationml.tags+xml"/>
  <Override PartName="/ppt/charts/chart296.xml" ContentType="application/vnd.openxmlformats-officedocument.drawingml.chart+xml"/>
  <Override PartName="/ppt/tags/tag145.xml" ContentType="application/vnd.openxmlformats-officedocument.presentationml.tags+xml"/>
  <Override PartName="/ppt/charts/chart297.xml" ContentType="application/vnd.openxmlformats-officedocument.drawingml.chart+xml"/>
  <Override PartName="/ppt/tags/tag146.xml" ContentType="application/vnd.openxmlformats-officedocument.presentationml.tags+xml"/>
  <Override PartName="/ppt/charts/chart298.xml" ContentType="application/vnd.openxmlformats-officedocument.drawingml.chart+xml"/>
  <Override PartName="/ppt/tags/tag147.xml" ContentType="application/vnd.openxmlformats-officedocument.presentationml.tags+xml"/>
  <Override PartName="/ppt/charts/chart299.xml" ContentType="application/vnd.openxmlformats-officedocument.drawingml.chart+xml"/>
  <Override PartName="/ppt/tags/tag148.xml" ContentType="application/vnd.openxmlformats-officedocument.presentationml.tags+xml"/>
  <Override PartName="/ppt/charts/chart300.xml" ContentType="application/vnd.openxmlformats-officedocument.drawingml.chart+xml"/>
  <Override PartName="/ppt/tags/tag149.xml" ContentType="application/vnd.openxmlformats-officedocument.presentationml.tags+xml"/>
  <Override PartName="/ppt/charts/chart301.xml" ContentType="application/vnd.openxmlformats-officedocument.drawingml.chart+xml"/>
  <Override PartName="/ppt/tags/tag150.xml" ContentType="application/vnd.openxmlformats-officedocument.presentationml.tags+xml"/>
  <Override PartName="/ppt/charts/chart302.xml" ContentType="application/vnd.openxmlformats-officedocument.drawingml.chart+xml"/>
  <Override PartName="/ppt/tags/tag151.xml" ContentType="application/vnd.openxmlformats-officedocument.presentationml.tags+xml"/>
  <Override PartName="/ppt/charts/chart303.xml" ContentType="application/vnd.openxmlformats-officedocument.drawingml.chart+xml"/>
  <Override PartName="/ppt/tags/tag152.xml" ContentType="application/vnd.openxmlformats-officedocument.presentationml.tags+xml"/>
  <Override PartName="/ppt/charts/chart304.xml" ContentType="application/vnd.openxmlformats-officedocument.drawingml.chart+xml"/>
  <Override PartName="/ppt/tags/tag153.xml" ContentType="application/vnd.openxmlformats-officedocument.presentationml.tags+xml"/>
  <Override PartName="/ppt/charts/chart305.xml" ContentType="application/vnd.openxmlformats-officedocument.drawingml.chart+xml"/>
  <Override PartName="/ppt/tags/tag154.xml" ContentType="application/vnd.openxmlformats-officedocument.presentationml.tags+xml"/>
  <Override PartName="/ppt/charts/chart306.xml" ContentType="application/vnd.openxmlformats-officedocument.drawingml.chart+xml"/>
  <Override PartName="/ppt/tags/tag155.xml" ContentType="application/vnd.openxmlformats-officedocument.presentationml.tags+xml"/>
  <Override PartName="/ppt/charts/chart307.xml" ContentType="application/vnd.openxmlformats-officedocument.drawingml.chart+xml"/>
  <Override PartName="/ppt/tags/tag156.xml" ContentType="application/vnd.openxmlformats-officedocument.presentationml.tags+xml"/>
  <Override PartName="/ppt/charts/chart308.xml" ContentType="application/vnd.openxmlformats-officedocument.drawingml.chart+xml"/>
  <Override PartName="/ppt/tags/tag157.xml" ContentType="application/vnd.openxmlformats-officedocument.presentationml.tags+xml"/>
  <Override PartName="/ppt/charts/chart309.xml" ContentType="application/vnd.openxmlformats-officedocument.drawingml.chart+xml"/>
  <Override PartName="/ppt/tags/tag158.xml" ContentType="application/vnd.openxmlformats-officedocument.presentationml.tags+xml"/>
  <Override PartName="/ppt/charts/chart310.xml" ContentType="application/vnd.openxmlformats-officedocument.drawingml.chart+xml"/>
  <Override PartName="/ppt/tags/tag159.xml" ContentType="application/vnd.openxmlformats-officedocument.presentationml.tags+xml"/>
  <Override PartName="/ppt/charts/chart311.xml" ContentType="application/vnd.openxmlformats-officedocument.drawingml.chart+xml"/>
  <Override PartName="/ppt/tags/tag160.xml" ContentType="application/vnd.openxmlformats-officedocument.presentationml.tags+xml"/>
  <Override PartName="/ppt/charts/chart312.xml" ContentType="application/vnd.openxmlformats-officedocument.drawingml.chart+xml"/>
  <Override PartName="/ppt/tags/tag161.xml" ContentType="application/vnd.openxmlformats-officedocument.presentationml.tags+xml"/>
  <Override PartName="/ppt/charts/chart313.xml" ContentType="application/vnd.openxmlformats-officedocument.drawingml.chart+xml"/>
  <Override PartName="/ppt/tags/tag162.xml" ContentType="application/vnd.openxmlformats-officedocument.presentationml.tags+xml"/>
  <Override PartName="/ppt/charts/chart314.xml" ContentType="application/vnd.openxmlformats-officedocument.drawingml.chart+xml"/>
  <Override PartName="/ppt/tags/tag163.xml" ContentType="application/vnd.openxmlformats-officedocument.presentationml.tags+xml"/>
  <Override PartName="/ppt/charts/chart315.xml" ContentType="application/vnd.openxmlformats-officedocument.drawingml.chart+xml"/>
  <Override PartName="/ppt/tags/tag164.xml" ContentType="application/vnd.openxmlformats-officedocument.presentationml.tags+xml"/>
  <Override PartName="/ppt/charts/chart316.xml" ContentType="application/vnd.openxmlformats-officedocument.drawingml.chart+xml"/>
  <Override PartName="/ppt/tags/tag165.xml" ContentType="application/vnd.openxmlformats-officedocument.presentationml.tags+xml"/>
  <Override PartName="/ppt/charts/chart317.xml" ContentType="application/vnd.openxmlformats-officedocument.drawingml.chart+xml"/>
  <Override PartName="/ppt/tags/tag166.xml" ContentType="application/vnd.openxmlformats-officedocument.presentationml.tags+xml"/>
  <Override PartName="/ppt/charts/chart318.xml" ContentType="application/vnd.openxmlformats-officedocument.drawingml.chart+xml"/>
  <Override PartName="/ppt/tags/tag167.xml" ContentType="application/vnd.openxmlformats-officedocument.presentationml.tags+xml"/>
  <Override PartName="/ppt/charts/chart319.xml" ContentType="application/vnd.openxmlformats-officedocument.drawingml.chart+xml"/>
  <Override PartName="/ppt/tags/tag168.xml" ContentType="application/vnd.openxmlformats-officedocument.presentationml.tags+xml"/>
  <Override PartName="/ppt/charts/chart320.xml" ContentType="application/vnd.openxmlformats-officedocument.drawingml.chart+xml"/>
  <Override PartName="/ppt/tags/tag169.xml" ContentType="application/vnd.openxmlformats-officedocument.presentationml.tags+xml"/>
  <Override PartName="/ppt/charts/chart321.xml" ContentType="application/vnd.openxmlformats-officedocument.drawingml.chart+xml"/>
  <Override PartName="/ppt/tags/tag170.xml" ContentType="application/vnd.openxmlformats-officedocument.presentationml.tags+xml"/>
  <Override PartName="/ppt/charts/chart322.xml" ContentType="application/vnd.openxmlformats-officedocument.drawingml.chart+xml"/>
  <Override PartName="/ppt/tags/tag171.xml" ContentType="application/vnd.openxmlformats-officedocument.presentationml.tags+xml"/>
  <Override PartName="/ppt/charts/chart323.xml" ContentType="application/vnd.openxmlformats-officedocument.drawingml.chart+xml"/>
  <Override PartName="/ppt/tags/tag172.xml" ContentType="application/vnd.openxmlformats-officedocument.presentationml.tags+xml"/>
  <Override PartName="/ppt/charts/chart324.xml" ContentType="application/vnd.openxmlformats-officedocument.drawingml.chart+xml"/>
  <Override PartName="/ppt/tags/tag173.xml" ContentType="application/vnd.openxmlformats-officedocument.presentationml.tags+xml"/>
  <Override PartName="/ppt/charts/chart325.xml" ContentType="application/vnd.openxmlformats-officedocument.drawingml.chart+xml"/>
  <Override PartName="/ppt/tags/tag174.xml" ContentType="application/vnd.openxmlformats-officedocument.presentationml.tags+xml"/>
  <Override PartName="/ppt/charts/chart326.xml" ContentType="application/vnd.openxmlformats-officedocument.drawingml.chart+xml"/>
  <Override PartName="/ppt/tags/tag175.xml" ContentType="application/vnd.openxmlformats-officedocument.presentationml.tags+xml"/>
  <Override PartName="/ppt/charts/chart327.xml" ContentType="application/vnd.openxmlformats-officedocument.drawingml.chart+xml"/>
  <Override PartName="/ppt/tags/tag176.xml" ContentType="application/vnd.openxmlformats-officedocument.presentationml.tags+xml"/>
  <Override PartName="/ppt/charts/chart328.xml" ContentType="application/vnd.openxmlformats-officedocument.drawingml.chart+xml"/>
  <Override PartName="/ppt/tags/tag177.xml" ContentType="application/vnd.openxmlformats-officedocument.presentationml.tags+xml"/>
  <Override PartName="/ppt/charts/chart329.xml" ContentType="application/vnd.openxmlformats-officedocument.drawingml.chart+xml"/>
  <Override PartName="/ppt/tags/tag178.xml" ContentType="application/vnd.openxmlformats-officedocument.presentationml.tags+xml"/>
  <Override PartName="/ppt/charts/chart330.xml" ContentType="application/vnd.openxmlformats-officedocument.drawingml.chart+xml"/>
  <Override PartName="/ppt/tags/tag179.xml" ContentType="application/vnd.openxmlformats-officedocument.presentationml.tags+xml"/>
  <Override PartName="/ppt/charts/chart331.xml" ContentType="application/vnd.openxmlformats-officedocument.drawingml.chart+xml"/>
  <Override PartName="/ppt/tags/tag180.xml" ContentType="application/vnd.openxmlformats-officedocument.presentationml.tags+xml"/>
  <Override PartName="/ppt/charts/chart332.xml" ContentType="application/vnd.openxmlformats-officedocument.drawingml.chart+xml"/>
  <Override PartName="/ppt/tags/tag181.xml" ContentType="application/vnd.openxmlformats-officedocument.presentationml.tags+xml"/>
  <Override PartName="/ppt/charts/chart333.xml" ContentType="application/vnd.openxmlformats-officedocument.drawingml.chart+xml"/>
  <Override PartName="/ppt/tags/tag182.xml" ContentType="application/vnd.openxmlformats-officedocument.presentationml.tags+xml"/>
  <Override PartName="/ppt/charts/chart334.xml" ContentType="application/vnd.openxmlformats-officedocument.drawingml.chart+xml"/>
  <Override PartName="/ppt/tags/tag183.xml" ContentType="application/vnd.openxmlformats-officedocument.presentationml.tags+xml"/>
  <Override PartName="/ppt/charts/chart335.xml" ContentType="application/vnd.openxmlformats-officedocument.drawingml.chart+xml"/>
  <Override PartName="/ppt/tags/tag184.xml" ContentType="application/vnd.openxmlformats-officedocument.presentationml.tags+xml"/>
  <Override PartName="/ppt/charts/chart336.xml" ContentType="application/vnd.openxmlformats-officedocument.drawingml.chart+xml"/>
  <Override PartName="/ppt/tags/tag185.xml" ContentType="application/vnd.openxmlformats-officedocument.presentationml.tags+xml"/>
  <Override PartName="/ppt/charts/chart337.xml" ContentType="application/vnd.openxmlformats-officedocument.drawingml.chart+xml"/>
  <Override PartName="/ppt/tags/tag186.xml" ContentType="application/vnd.openxmlformats-officedocument.presentationml.tags+xml"/>
  <Override PartName="/ppt/charts/chart338.xml" ContentType="application/vnd.openxmlformats-officedocument.drawingml.chart+xml"/>
  <Override PartName="/ppt/tags/tag187.xml" ContentType="application/vnd.openxmlformats-officedocument.presentationml.tags+xml"/>
  <Override PartName="/ppt/charts/chart339.xml" ContentType="application/vnd.openxmlformats-officedocument.drawingml.chart+xml"/>
  <Override PartName="/ppt/tags/tag188.xml" ContentType="application/vnd.openxmlformats-officedocument.presentationml.tags+xml"/>
  <Override PartName="/ppt/charts/chart340.xml" ContentType="application/vnd.openxmlformats-officedocument.drawingml.chart+xml"/>
  <Override PartName="/ppt/tags/tag189.xml" ContentType="application/vnd.openxmlformats-officedocument.presentationml.tags+xml"/>
  <Override PartName="/ppt/charts/chart341.xml" ContentType="application/vnd.openxmlformats-officedocument.drawingml.chart+xml"/>
  <Override PartName="/ppt/tags/tag190.xml" ContentType="application/vnd.openxmlformats-officedocument.presentationml.tags+xml"/>
  <Override PartName="/ppt/charts/chart342.xml" ContentType="application/vnd.openxmlformats-officedocument.drawingml.chart+xml"/>
  <Override PartName="/ppt/tags/tag191.xml" ContentType="application/vnd.openxmlformats-officedocument.presentationml.tags+xml"/>
  <Override PartName="/ppt/charts/chart343.xml" ContentType="application/vnd.openxmlformats-officedocument.drawingml.chart+xml"/>
  <Override PartName="/ppt/tags/tag192.xml" ContentType="application/vnd.openxmlformats-officedocument.presentationml.tags+xml"/>
  <Override PartName="/ppt/charts/chart344.xml" ContentType="application/vnd.openxmlformats-officedocument.drawingml.chart+xml"/>
  <Override PartName="/ppt/tags/tag193.xml" ContentType="application/vnd.openxmlformats-officedocument.presentationml.tags+xml"/>
  <Override PartName="/ppt/charts/chart345.xml" ContentType="application/vnd.openxmlformats-officedocument.drawingml.chart+xml"/>
  <Override PartName="/ppt/tags/tag194.xml" ContentType="application/vnd.openxmlformats-officedocument.presentationml.tags+xml"/>
  <Override PartName="/ppt/charts/chart346.xml" ContentType="application/vnd.openxmlformats-officedocument.drawingml.chart+xml"/>
  <Override PartName="/ppt/tags/tag195.xml" ContentType="application/vnd.openxmlformats-officedocument.presentationml.tags+xml"/>
  <Override PartName="/ppt/charts/chart347.xml" ContentType="application/vnd.openxmlformats-officedocument.drawingml.chart+xml"/>
  <Override PartName="/ppt/tags/tag196.xml" ContentType="application/vnd.openxmlformats-officedocument.presentationml.tags+xml"/>
  <Override PartName="/ppt/charts/chart348.xml" ContentType="application/vnd.openxmlformats-officedocument.drawingml.chart+xml"/>
  <Override PartName="/ppt/tags/tag197.xml" ContentType="application/vnd.openxmlformats-officedocument.presentationml.tags+xml"/>
  <Override PartName="/ppt/charts/chart349.xml" ContentType="application/vnd.openxmlformats-officedocument.drawingml.chart+xml"/>
  <Override PartName="/ppt/tags/tag198.xml" ContentType="application/vnd.openxmlformats-officedocument.presentationml.tags+xml"/>
  <Override PartName="/ppt/charts/chart350.xml" ContentType="application/vnd.openxmlformats-officedocument.drawingml.chart+xml"/>
  <Override PartName="/ppt/tags/tag199.xml" ContentType="application/vnd.openxmlformats-officedocument.presentationml.tags+xml"/>
  <Override PartName="/ppt/charts/chart351.xml" ContentType="application/vnd.openxmlformats-officedocument.drawingml.chart+xml"/>
  <Override PartName="/ppt/tags/tag200.xml" ContentType="application/vnd.openxmlformats-officedocument.presentationml.tags+xml"/>
  <Override PartName="/ppt/charts/chart352.xml" ContentType="application/vnd.openxmlformats-officedocument.drawingml.chart+xml"/>
  <Override PartName="/ppt/tags/tag201.xml" ContentType="application/vnd.openxmlformats-officedocument.presentationml.tags+xml"/>
  <Override PartName="/ppt/charts/chart353.xml" ContentType="application/vnd.openxmlformats-officedocument.drawingml.chart+xml"/>
  <Override PartName="/ppt/tags/tag202.xml" ContentType="application/vnd.openxmlformats-officedocument.presentationml.tags+xml"/>
  <Override PartName="/ppt/charts/chart354.xml" ContentType="application/vnd.openxmlformats-officedocument.drawingml.chart+xml"/>
  <Override PartName="/ppt/tags/tag203.xml" ContentType="application/vnd.openxmlformats-officedocument.presentationml.tags+xml"/>
  <Override PartName="/ppt/charts/chart355.xml" ContentType="application/vnd.openxmlformats-officedocument.drawingml.chart+xml"/>
  <Override PartName="/ppt/tags/tag204.xml" ContentType="application/vnd.openxmlformats-officedocument.presentationml.tags+xml"/>
  <Override PartName="/ppt/charts/chart356.xml" ContentType="application/vnd.openxmlformats-officedocument.drawingml.chart+xml"/>
  <Override PartName="/ppt/tags/tag205.xml" ContentType="application/vnd.openxmlformats-officedocument.presentationml.tags+xml"/>
  <Override PartName="/ppt/charts/chart357.xml" ContentType="application/vnd.openxmlformats-officedocument.drawingml.chart+xml"/>
  <Override PartName="/ppt/tags/tag206.xml" ContentType="application/vnd.openxmlformats-officedocument.presentationml.tags+xml"/>
  <Override PartName="/ppt/charts/chart358.xml" ContentType="application/vnd.openxmlformats-officedocument.drawingml.chart+xml"/>
  <Override PartName="/ppt/tags/tag207.xml" ContentType="application/vnd.openxmlformats-officedocument.presentationml.tags+xml"/>
  <Override PartName="/ppt/charts/chart359.xml" ContentType="application/vnd.openxmlformats-officedocument.drawingml.chart+xml"/>
  <Override PartName="/ppt/tags/tag208.xml" ContentType="application/vnd.openxmlformats-officedocument.presentationml.tags+xml"/>
  <Override PartName="/ppt/charts/chart360.xml" ContentType="application/vnd.openxmlformats-officedocument.drawingml.chart+xml"/>
  <Override PartName="/ppt/tags/tag209.xml" ContentType="application/vnd.openxmlformats-officedocument.presentationml.tags+xml"/>
  <Override PartName="/ppt/charts/chart361.xml" ContentType="application/vnd.openxmlformats-officedocument.drawingml.chart+xml"/>
  <Override PartName="/ppt/tags/tag210.xml" ContentType="application/vnd.openxmlformats-officedocument.presentationml.tags+xml"/>
  <Override PartName="/ppt/charts/chart362.xml" ContentType="application/vnd.openxmlformats-officedocument.drawingml.chart+xml"/>
  <Override PartName="/ppt/tags/tag211.xml" ContentType="application/vnd.openxmlformats-officedocument.presentationml.tags+xml"/>
  <Override PartName="/ppt/charts/chart363.xml" ContentType="application/vnd.openxmlformats-officedocument.drawingml.chart+xml"/>
  <Override PartName="/ppt/tags/tag212.xml" ContentType="application/vnd.openxmlformats-officedocument.presentationml.tags+xml"/>
  <Override PartName="/ppt/charts/chart364.xml" ContentType="application/vnd.openxmlformats-officedocument.drawingml.chart+xml"/>
  <Override PartName="/ppt/tags/tag213.xml" ContentType="application/vnd.openxmlformats-officedocument.presentationml.tags+xml"/>
  <Override PartName="/ppt/charts/chart365.xml" ContentType="application/vnd.openxmlformats-officedocument.drawingml.chart+xml"/>
  <Override PartName="/ppt/tags/tag214.xml" ContentType="application/vnd.openxmlformats-officedocument.presentationml.tags+xml"/>
  <Override PartName="/ppt/charts/chart366.xml" ContentType="application/vnd.openxmlformats-officedocument.drawingml.chart+xml"/>
  <Override PartName="/ppt/tags/tag215.xml" ContentType="application/vnd.openxmlformats-officedocument.presentationml.tags+xml"/>
  <Override PartName="/ppt/charts/chart367.xml" ContentType="application/vnd.openxmlformats-officedocument.drawingml.chart+xml"/>
  <Override PartName="/ppt/tags/tag216.xml" ContentType="application/vnd.openxmlformats-officedocument.presentationml.tags+xml"/>
  <Override PartName="/ppt/charts/chart368.xml" ContentType="application/vnd.openxmlformats-officedocument.drawingml.chart+xml"/>
  <Override PartName="/ppt/tags/tag217.xml" ContentType="application/vnd.openxmlformats-officedocument.presentationml.tags+xml"/>
  <Override PartName="/ppt/charts/chart369.xml" ContentType="application/vnd.openxmlformats-officedocument.drawingml.chart+xml"/>
  <Override PartName="/ppt/tags/tag218.xml" ContentType="application/vnd.openxmlformats-officedocument.presentationml.tags+xml"/>
  <Override PartName="/ppt/charts/chart370.xml" ContentType="application/vnd.openxmlformats-officedocument.drawingml.chart+xml"/>
  <Override PartName="/ppt/tags/tag219.xml" ContentType="application/vnd.openxmlformats-officedocument.presentationml.tags+xml"/>
  <Override PartName="/ppt/charts/chart371.xml" ContentType="application/vnd.openxmlformats-officedocument.drawingml.chart+xml"/>
  <Override PartName="/ppt/tags/tag220.xml" ContentType="application/vnd.openxmlformats-officedocument.presentationml.tags+xml"/>
  <Override PartName="/ppt/charts/chart372.xml" ContentType="application/vnd.openxmlformats-officedocument.drawingml.chart+xml"/>
  <Override PartName="/ppt/tags/tag221.xml" ContentType="application/vnd.openxmlformats-officedocument.presentationml.tags+xml"/>
  <Override PartName="/ppt/charts/chart373.xml" ContentType="application/vnd.openxmlformats-officedocument.drawingml.chart+xml"/>
  <Override PartName="/ppt/tags/tag222.xml" ContentType="application/vnd.openxmlformats-officedocument.presentationml.tags+xml"/>
  <Override PartName="/ppt/charts/chart374.xml" ContentType="application/vnd.openxmlformats-officedocument.drawingml.chart+xml"/>
  <Override PartName="/ppt/tags/tag223.xml" ContentType="application/vnd.openxmlformats-officedocument.presentationml.tags+xml"/>
  <Override PartName="/ppt/charts/chart375.xml" ContentType="application/vnd.openxmlformats-officedocument.drawingml.chart+xml"/>
  <Override PartName="/ppt/tags/tag224.xml" ContentType="application/vnd.openxmlformats-officedocument.presentationml.tags+xml"/>
  <Override PartName="/ppt/charts/chart376.xml" ContentType="application/vnd.openxmlformats-officedocument.drawingml.chart+xml"/>
  <Override PartName="/ppt/tags/tag225.xml" ContentType="application/vnd.openxmlformats-officedocument.presentationml.tags+xml"/>
  <Override PartName="/ppt/charts/chart377.xml" ContentType="application/vnd.openxmlformats-officedocument.drawingml.chart+xml"/>
  <Override PartName="/ppt/tags/tag226.xml" ContentType="application/vnd.openxmlformats-officedocument.presentationml.tags+xml"/>
  <Override PartName="/ppt/charts/chart378.xml" ContentType="application/vnd.openxmlformats-officedocument.drawingml.chart+xml"/>
  <Override PartName="/ppt/tags/tag227.xml" ContentType="application/vnd.openxmlformats-officedocument.presentationml.tags+xml"/>
  <Override PartName="/ppt/charts/chart379.xml" ContentType="application/vnd.openxmlformats-officedocument.drawingml.chart+xml"/>
  <Override PartName="/ppt/tags/tag228.xml" ContentType="application/vnd.openxmlformats-officedocument.presentationml.tags+xml"/>
  <Override PartName="/ppt/charts/chart380.xml" ContentType="application/vnd.openxmlformats-officedocument.drawingml.chart+xml"/>
  <Override PartName="/ppt/tags/tag229.xml" ContentType="application/vnd.openxmlformats-officedocument.presentationml.tags+xml"/>
  <Override PartName="/ppt/charts/chart381.xml" ContentType="application/vnd.openxmlformats-officedocument.drawingml.chart+xml"/>
  <Override PartName="/ppt/tags/tag230.xml" ContentType="application/vnd.openxmlformats-officedocument.presentationml.tags+xml"/>
  <Override PartName="/ppt/charts/chart382.xml" ContentType="application/vnd.openxmlformats-officedocument.drawingml.chart+xml"/>
  <Override PartName="/ppt/tags/tag231.xml" ContentType="application/vnd.openxmlformats-officedocument.presentationml.tags+xml"/>
  <Override PartName="/ppt/charts/chart383.xml" ContentType="application/vnd.openxmlformats-officedocument.drawingml.chart+xml"/>
  <Override PartName="/ppt/tags/tag232.xml" ContentType="application/vnd.openxmlformats-officedocument.presentationml.tags+xml"/>
  <Override PartName="/ppt/charts/chart384.xml" ContentType="application/vnd.openxmlformats-officedocument.drawingml.chart+xml"/>
  <Override PartName="/ppt/tags/tag233.xml" ContentType="application/vnd.openxmlformats-officedocument.presentationml.tags+xml"/>
  <Override PartName="/ppt/charts/chart385.xml" ContentType="application/vnd.openxmlformats-officedocument.drawingml.chart+xml"/>
  <Override PartName="/ppt/tags/tag234.xml" ContentType="application/vnd.openxmlformats-officedocument.presentationml.tags+xml"/>
  <Override PartName="/ppt/charts/chart386.xml" ContentType="application/vnd.openxmlformats-officedocument.drawingml.chart+xml"/>
  <Override PartName="/ppt/tags/tag235.xml" ContentType="application/vnd.openxmlformats-officedocument.presentationml.tags+xml"/>
  <Override PartName="/ppt/charts/chart387.xml" ContentType="application/vnd.openxmlformats-officedocument.drawingml.chart+xml"/>
  <Override PartName="/ppt/tags/tag236.xml" ContentType="application/vnd.openxmlformats-officedocument.presentationml.tags+xml"/>
  <Override PartName="/ppt/charts/chart388.xml" ContentType="application/vnd.openxmlformats-officedocument.drawingml.chart+xml"/>
  <Override PartName="/ppt/tags/tag237.xml" ContentType="application/vnd.openxmlformats-officedocument.presentationml.tags+xml"/>
  <Override PartName="/ppt/charts/chart389.xml" ContentType="application/vnd.openxmlformats-officedocument.drawingml.chart+xml"/>
  <Override PartName="/ppt/tags/tag238.xml" ContentType="application/vnd.openxmlformats-officedocument.presentationml.tags+xml"/>
  <Override PartName="/ppt/charts/chart390.xml" ContentType="application/vnd.openxmlformats-officedocument.drawingml.chart+xml"/>
  <Override PartName="/ppt/tags/tag239.xml" ContentType="application/vnd.openxmlformats-officedocument.presentationml.tags+xml"/>
  <Override PartName="/ppt/charts/chart391.xml" ContentType="application/vnd.openxmlformats-officedocument.drawingml.chart+xml"/>
  <Override PartName="/ppt/tags/tag240.xml" ContentType="application/vnd.openxmlformats-officedocument.presentationml.tags+xml"/>
  <Override PartName="/ppt/charts/chart392.xml" ContentType="application/vnd.openxmlformats-officedocument.drawingml.chart+xml"/>
  <Override PartName="/ppt/tags/tag241.xml" ContentType="application/vnd.openxmlformats-officedocument.presentationml.tags+xml"/>
  <Override PartName="/ppt/charts/chart393.xml" ContentType="application/vnd.openxmlformats-officedocument.drawingml.chart+xml"/>
  <Override PartName="/ppt/tags/tag242.xml" ContentType="application/vnd.openxmlformats-officedocument.presentationml.tags+xml"/>
  <Override PartName="/ppt/charts/chart394.xml" ContentType="application/vnd.openxmlformats-officedocument.drawingml.chart+xml"/>
  <Override PartName="/ppt/tags/tag243.xml" ContentType="application/vnd.openxmlformats-officedocument.presentationml.tags+xml"/>
  <Override PartName="/ppt/charts/chart395.xml" ContentType="application/vnd.openxmlformats-officedocument.drawingml.chart+xml"/>
  <Override PartName="/ppt/tags/tag244.xml" ContentType="application/vnd.openxmlformats-officedocument.presentationml.tags+xml"/>
  <Override PartName="/ppt/charts/chart396.xml" ContentType="application/vnd.openxmlformats-officedocument.drawingml.chart+xml"/>
  <Override PartName="/ppt/tags/tag245.xml" ContentType="application/vnd.openxmlformats-officedocument.presentationml.tags+xml"/>
  <Override PartName="/ppt/charts/chart397.xml" ContentType="application/vnd.openxmlformats-officedocument.drawingml.chart+xml"/>
  <Override PartName="/ppt/tags/tag246.xml" ContentType="application/vnd.openxmlformats-officedocument.presentationml.tags+xml"/>
  <Override PartName="/ppt/charts/chart398.xml" ContentType="application/vnd.openxmlformats-officedocument.drawingml.chart+xml"/>
  <Override PartName="/ppt/tags/tag247.xml" ContentType="application/vnd.openxmlformats-officedocument.presentationml.tags+xml"/>
  <Override PartName="/ppt/charts/chart399.xml" ContentType="application/vnd.openxmlformats-officedocument.drawingml.chart+xml"/>
  <Override PartName="/ppt/tags/tag248.xml" ContentType="application/vnd.openxmlformats-officedocument.presentationml.tags+xml"/>
  <Override PartName="/ppt/charts/chart400.xml" ContentType="application/vnd.openxmlformats-officedocument.drawingml.chart+xml"/>
  <Override PartName="/ppt/tags/tag249.xml" ContentType="application/vnd.openxmlformats-officedocument.presentationml.tags+xml"/>
  <Override PartName="/ppt/charts/chart401.xml" ContentType="application/vnd.openxmlformats-officedocument.drawingml.chart+xml"/>
  <Override PartName="/ppt/tags/tag250.xml" ContentType="application/vnd.openxmlformats-officedocument.presentationml.tags+xml"/>
  <Override PartName="/ppt/charts/chart402.xml" ContentType="application/vnd.openxmlformats-officedocument.drawingml.chart+xml"/>
  <Override PartName="/ppt/tags/tag251.xml" ContentType="application/vnd.openxmlformats-officedocument.presentationml.tags+xml"/>
  <Override PartName="/ppt/charts/chart403.xml" ContentType="application/vnd.openxmlformats-officedocument.drawingml.chart+xml"/>
  <Override PartName="/ppt/tags/tag252.xml" ContentType="application/vnd.openxmlformats-officedocument.presentationml.tags+xml"/>
  <Override PartName="/ppt/charts/chart404.xml" ContentType="application/vnd.openxmlformats-officedocument.drawingml.chart+xml"/>
  <Override PartName="/ppt/tags/tag253.xml" ContentType="application/vnd.openxmlformats-officedocument.presentationml.tags+xml"/>
  <Override PartName="/ppt/charts/chart405.xml" ContentType="application/vnd.openxmlformats-officedocument.drawingml.chart+xml"/>
  <Override PartName="/ppt/tags/tag254.xml" ContentType="application/vnd.openxmlformats-officedocument.presentationml.tags+xml"/>
  <Override PartName="/ppt/charts/chart406.xml" ContentType="application/vnd.openxmlformats-officedocument.drawingml.chart+xml"/>
  <Override PartName="/ppt/tags/tag255.xml" ContentType="application/vnd.openxmlformats-officedocument.presentationml.tags+xml"/>
  <Override PartName="/ppt/charts/chart407.xml" ContentType="application/vnd.openxmlformats-officedocument.drawingml.chart+xml"/>
  <Override PartName="/ppt/tags/tag256.xml" ContentType="application/vnd.openxmlformats-officedocument.presentationml.tags+xml"/>
  <Override PartName="/ppt/charts/chart408.xml" ContentType="application/vnd.openxmlformats-officedocument.drawingml.chart+xml"/>
  <Override PartName="/ppt/tags/tag257.xml" ContentType="application/vnd.openxmlformats-officedocument.presentationml.tags+xml"/>
  <Override PartName="/ppt/charts/chart409.xml" ContentType="application/vnd.openxmlformats-officedocument.drawingml.chart+xml"/>
  <Override PartName="/ppt/tags/tag258.xml" ContentType="application/vnd.openxmlformats-officedocument.presentationml.tags+xml"/>
  <Override PartName="/ppt/charts/chart410.xml" ContentType="application/vnd.openxmlformats-officedocument.drawingml.chart+xml"/>
  <Override PartName="/ppt/tags/tag259.xml" ContentType="application/vnd.openxmlformats-officedocument.presentationml.tags+xml"/>
  <Override PartName="/ppt/charts/chart411.xml" ContentType="application/vnd.openxmlformats-officedocument.drawingml.chart+xml"/>
  <Override PartName="/ppt/tags/tag260.xml" ContentType="application/vnd.openxmlformats-officedocument.presentationml.tags+xml"/>
  <Override PartName="/ppt/charts/chart412.xml" ContentType="application/vnd.openxmlformats-officedocument.drawingml.chart+xml"/>
  <Override PartName="/ppt/tags/tag261.xml" ContentType="application/vnd.openxmlformats-officedocument.presentationml.tags+xml"/>
  <Override PartName="/ppt/charts/chart413.xml" ContentType="application/vnd.openxmlformats-officedocument.drawingml.chart+xml"/>
  <Override PartName="/ppt/tags/tag262.xml" ContentType="application/vnd.openxmlformats-officedocument.presentationml.tags+xml"/>
  <Override PartName="/ppt/charts/chart414.xml" ContentType="application/vnd.openxmlformats-officedocument.drawingml.chart+xml"/>
  <Override PartName="/ppt/tags/tag263.xml" ContentType="application/vnd.openxmlformats-officedocument.presentationml.tags+xml"/>
  <Override PartName="/ppt/charts/chart415.xml" ContentType="application/vnd.openxmlformats-officedocument.drawingml.chart+xml"/>
  <Override PartName="/ppt/tags/tag264.xml" ContentType="application/vnd.openxmlformats-officedocument.presentationml.tags+xml"/>
  <Override PartName="/ppt/charts/chart416.xml" ContentType="application/vnd.openxmlformats-officedocument.drawingml.chart+xml"/>
  <Override PartName="/ppt/tags/tag265.xml" ContentType="application/vnd.openxmlformats-officedocument.presentationml.tags+xml"/>
  <Override PartName="/ppt/charts/chart417.xml" ContentType="application/vnd.openxmlformats-officedocument.drawingml.chart+xml"/>
  <Override PartName="/ppt/tags/tag266.xml" ContentType="application/vnd.openxmlformats-officedocument.presentationml.tags+xml"/>
  <Override PartName="/ppt/charts/chart418.xml" ContentType="application/vnd.openxmlformats-officedocument.drawingml.chart+xml"/>
  <Override PartName="/ppt/tags/tag267.xml" ContentType="application/vnd.openxmlformats-officedocument.presentationml.tags+xml"/>
  <Override PartName="/ppt/charts/chart419.xml" ContentType="application/vnd.openxmlformats-officedocument.drawingml.chart+xml"/>
  <Override PartName="/ppt/tags/tag268.xml" ContentType="application/vnd.openxmlformats-officedocument.presentationml.tags+xml"/>
  <Override PartName="/ppt/charts/chart420.xml" ContentType="application/vnd.openxmlformats-officedocument.drawingml.chart+xml"/>
  <Override PartName="/ppt/tags/tag269.xml" ContentType="application/vnd.openxmlformats-officedocument.presentationml.tags+xml"/>
  <Override PartName="/ppt/charts/chart421.xml" ContentType="application/vnd.openxmlformats-officedocument.drawingml.chart+xml"/>
  <Override PartName="/ppt/tags/tag270.xml" ContentType="application/vnd.openxmlformats-officedocument.presentationml.tags+xml"/>
  <Override PartName="/ppt/charts/chart422.xml" ContentType="application/vnd.openxmlformats-officedocument.drawingml.chart+xml"/>
  <Override PartName="/ppt/tags/tag271.xml" ContentType="application/vnd.openxmlformats-officedocument.presentationml.tags+xml"/>
  <Override PartName="/ppt/charts/chart423.xml" ContentType="application/vnd.openxmlformats-officedocument.drawingml.chart+xml"/>
  <Override PartName="/ppt/tags/tag272.xml" ContentType="application/vnd.openxmlformats-officedocument.presentationml.tags+xml"/>
  <Override PartName="/ppt/charts/chart424.xml" ContentType="application/vnd.openxmlformats-officedocument.drawingml.chart+xml"/>
  <Override PartName="/ppt/tags/tag273.xml" ContentType="application/vnd.openxmlformats-officedocument.presentationml.tags+xml"/>
  <Override PartName="/ppt/charts/chart425.xml" ContentType="application/vnd.openxmlformats-officedocument.drawingml.chart+xml"/>
  <Override PartName="/ppt/tags/tag274.xml" ContentType="application/vnd.openxmlformats-officedocument.presentationml.tags+xml"/>
  <Override PartName="/ppt/charts/chart426.xml" ContentType="application/vnd.openxmlformats-officedocument.drawingml.chart+xml"/>
  <Override PartName="/ppt/tags/tag275.xml" ContentType="application/vnd.openxmlformats-officedocument.presentationml.tags+xml"/>
  <Override PartName="/ppt/charts/chart427.xml" ContentType="application/vnd.openxmlformats-officedocument.drawingml.chart+xml"/>
  <Override PartName="/ppt/tags/tag276.xml" ContentType="application/vnd.openxmlformats-officedocument.presentationml.tags+xml"/>
  <Override PartName="/ppt/charts/chart428.xml" ContentType="application/vnd.openxmlformats-officedocument.drawingml.chart+xml"/>
  <Override PartName="/ppt/tags/tag277.xml" ContentType="application/vnd.openxmlformats-officedocument.presentationml.tags+xml"/>
  <Override PartName="/ppt/charts/chart429.xml" ContentType="application/vnd.openxmlformats-officedocument.drawingml.chart+xml"/>
  <Override PartName="/ppt/tags/tag278.xml" ContentType="application/vnd.openxmlformats-officedocument.presentationml.tags+xml"/>
  <Override PartName="/ppt/charts/chart430.xml" ContentType="application/vnd.openxmlformats-officedocument.drawingml.chart+xml"/>
  <Override PartName="/ppt/tags/tag279.xml" ContentType="application/vnd.openxmlformats-officedocument.presentationml.tags+xml"/>
  <Override PartName="/ppt/charts/chart431.xml" ContentType="application/vnd.openxmlformats-officedocument.drawingml.chart+xml"/>
  <Override PartName="/ppt/tags/tag280.xml" ContentType="application/vnd.openxmlformats-officedocument.presentationml.tags+xml"/>
  <Override PartName="/ppt/charts/chart432.xml" ContentType="application/vnd.openxmlformats-officedocument.drawingml.chart+xml"/>
  <Override PartName="/ppt/tags/tag281.xml" ContentType="application/vnd.openxmlformats-officedocument.presentationml.tags+xml"/>
  <Override PartName="/ppt/charts/chart433.xml" ContentType="application/vnd.openxmlformats-officedocument.drawingml.chart+xml"/>
  <Override PartName="/ppt/tags/tag282.xml" ContentType="application/vnd.openxmlformats-officedocument.presentationml.tags+xml"/>
  <Override PartName="/ppt/charts/chart434.xml" ContentType="application/vnd.openxmlformats-officedocument.drawingml.chart+xml"/>
  <Override PartName="/ppt/tags/tag283.xml" ContentType="application/vnd.openxmlformats-officedocument.presentationml.tags+xml"/>
  <Override PartName="/ppt/charts/chart435.xml" ContentType="application/vnd.openxmlformats-officedocument.drawingml.chart+xml"/>
  <Override PartName="/ppt/tags/tag284.xml" ContentType="application/vnd.openxmlformats-officedocument.presentationml.tags+xml"/>
  <Override PartName="/ppt/charts/chart436.xml" ContentType="application/vnd.openxmlformats-officedocument.drawingml.chart+xml"/>
  <Override PartName="/ppt/tags/tag285.xml" ContentType="application/vnd.openxmlformats-officedocument.presentationml.tags+xml"/>
  <Override PartName="/ppt/charts/chart437.xml" ContentType="application/vnd.openxmlformats-officedocument.drawingml.chart+xml"/>
  <Override PartName="/ppt/tags/tag286.xml" ContentType="application/vnd.openxmlformats-officedocument.presentationml.tags+xml"/>
  <Override PartName="/ppt/charts/chart438.xml" ContentType="application/vnd.openxmlformats-officedocument.drawingml.chart+xml"/>
  <Override PartName="/ppt/tags/tag287.xml" ContentType="application/vnd.openxmlformats-officedocument.presentationml.tags+xml"/>
  <Override PartName="/ppt/charts/chart439.xml" ContentType="application/vnd.openxmlformats-officedocument.drawingml.chart+xml"/>
  <Override PartName="/ppt/tags/tag288.xml" ContentType="application/vnd.openxmlformats-officedocument.presentationml.tags+xml"/>
  <Override PartName="/ppt/charts/chart440.xml" ContentType="application/vnd.openxmlformats-officedocument.drawingml.chart+xml"/>
  <Override PartName="/ppt/tags/tag289.xml" ContentType="application/vnd.openxmlformats-officedocument.presentationml.tags+xml"/>
  <Override PartName="/ppt/charts/chart441.xml" ContentType="application/vnd.openxmlformats-officedocument.drawingml.chart+xml"/>
  <Override PartName="/ppt/tags/tag290.xml" ContentType="application/vnd.openxmlformats-officedocument.presentationml.tags+xml"/>
  <Override PartName="/ppt/charts/chart442.xml" ContentType="application/vnd.openxmlformats-officedocument.drawingml.chart+xml"/>
  <Override PartName="/ppt/tags/tag291.xml" ContentType="application/vnd.openxmlformats-officedocument.presentationml.tags+xml"/>
  <Override PartName="/ppt/charts/chart443.xml" ContentType="application/vnd.openxmlformats-officedocument.drawingml.chart+xml"/>
  <Override PartName="/ppt/tags/tag292.xml" ContentType="application/vnd.openxmlformats-officedocument.presentationml.tags+xml"/>
  <Override PartName="/ppt/charts/chart444.xml" ContentType="application/vnd.openxmlformats-officedocument.drawingml.chart+xml"/>
  <Override PartName="/ppt/tags/tag293.xml" ContentType="application/vnd.openxmlformats-officedocument.presentationml.tags+xml"/>
  <Override PartName="/ppt/charts/chart445.xml" ContentType="application/vnd.openxmlformats-officedocument.drawingml.chart+xml"/>
  <Override PartName="/ppt/tags/tag294.xml" ContentType="application/vnd.openxmlformats-officedocument.presentationml.tags+xml"/>
  <Override PartName="/ppt/charts/chart446.xml" ContentType="application/vnd.openxmlformats-officedocument.drawingml.chart+xml"/>
  <Override PartName="/ppt/tags/tag295.xml" ContentType="application/vnd.openxmlformats-officedocument.presentationml.tags+xml"/>
  <Override PartName="/ppt/charts/chart447.xml" ContentType="application/vnd.openxmlformats-officedocument.drawingml.chart+xml"/>
  <Override PartName="/ppt/tags/tag296.xml" ContentType="application/vnd.openxmlformats-officedocument.presentationml.tags+xml"/>
  <Override PartName="/ppt/charts/chart448.xml" ContentType="application/vnd.openxmlformats-officedocument.drawingml.chart+xml"/>
  <Override PartName="/ppt/tags/tag297.xml" ContentType="application/vnd.openxmlformats-officedocument.presentationml.tags+xml"/>
  <Override PartName="/ppt/charts/chart449.xml" ContentType="application/vnd.openxmlformats-officedocument.drawingml.chart+xml"/>
  <Override PartName="/ppt/tags/tag298.xml" ContentType="application/vnd.openxmlformats-officedocument.presentationml.tags+xml"/>
  <Override PartName="/ppt/charts/chart450.xml" ContentType="application/vnd.openxmlformats-officedocument.drawingml.chart+xml"/>
  <Override PartName="/ppt/tags/tag299.xml" ContentType="application/vnd.openxmlformats-officedocument.presentationml.tags+xml"/>
  <Override PartName="/ppt/charts/chart451.xml" ContentType="application/vnd.openxmlformats-officedocument.drawingml.chart+xml"/>
  <Override PartName="/ppt/tags/tag300.xml" ContentType="application/vnd.openxmlformats-officedocument.presentationml.tags+xml"/>
  <Override PartName="/ppt/charts/chart452.xml" ContentType="application/vnd.openxmlformats-officedocument.drawingml.chart+xml"/>
  <Override PartName="/ppt/tags/tag301.xml" ContentType="application/vnd.openxmlformats-officedocument.presentationml.tags+xml"/>
  <Override PartName="/ppt/charts/chart453.xml" ContentType="application/vnd.openxmlformats-officedocument.drawingml.chart+xml"/>
  <Override PartName="/ppt/tags/tag302.xml" ContentType="application/vnd.openxmlformats-officedocument.presentationml.tags+xml"/>
  <Override PartName="/ppt/charts/chart454.xml" ContentType="application/vnd.openxmlformats-officedocument.drawingml.chart+xml"/>
  <Override PartName="/ppt/tags/tag303.xml" ContentType="application/vnd.openxmlformats-officedocument.presentationml.tags+xml"/>
  <Override PartName="/ppt/charts/chart455.xml" ContentType="application/vnd.openxmlformats-officedocument.drawingml.chart+xml"/>
  <Override PartName="/ppt/tags/tag304.xml" ContentType="application/vnd.openxmlformats-officedocument.presentationml.tags+xml"/>
  <Override PartName="/ppt/charts/chart456.xml" ContentType="application/vnd.openxmlformats-officedocument.drawingml.chart+xml"/>
  <Override PartName="/ppt/tags/tag305.xml" ContentType="application/vnd.openxmlformats-officedocument.presentationml.tags+xml"/>
  <Override PartName="/ppt/charts/chart457.xml" ContentType="application/vnd.openxmlformats-officedocument.drawingml.chart+xml"/>
  <Override PartName="/ppt/tags/tag306.xml" ContentType="application/vnd.openxmlformats-officedocument.presentationml.tags+xml"/>
  <Override PartName="/ppt/charts/chart458.xml" ContentType="application/vnd.openxmlformats-officedocument.drawingml.chart+xml"/>
  <Override PartName="/ppt/tags/tag307.xml" ContentType="application/vnd.openxmlformats-officedocument.presentationml.tags+xml"/>
  <Override PartName="/ppt/charts/chart459.xml" ContentType="application/vnd.openxmlformats-officedocument.drawingml.chart+xml"/>
  <Override PartName="/ppt/tags/tag308.xml" ContentType="application/vnd.openxmlformats-officedocument.presentationml.tags+xml"/>
  <Override PartName="/ppt/charts/chart460.xml" ContentType="application/vnd.openxmlformats-officedocument.drawingml.chart+xml"/>
  <Override PartName="/ppt/tags/tag309.xml" ContentType="application/vnd.openxmlformats-officedocument.presentationml.tags+xml"/>
  <Override PartName="/ppt/charts/chart461.xml" ContentType="application/vnd.openxmlformats-officedocument.drawingml.chart+xml"/>
  <Override PartName="/ppt/tags/tag310.xml" ContentType="application/vnd.openxmlformats-officedocument.presentationml.tags+xml"/>
  <Override PartName="/ppt/charts/chart462.xml" ContentType="application/vnd.openxmlformats-officedocument.drawingml.chart+xml"/>
  <Override PartName="/ppt/tags/tag311.xml" ContentType="application/vnd.openxmlformats-officedocument.presentationml.tags+xml"/>
  <Override PartName="/ppt/charts/chart463.xml" ContentType="application/vnd.openxmlformats-officedocument.drawingml.chart+xml"/>
  <Override PartName="/ppt/tags/tag312.xml" ContentType="application/vnd.openxmlformats-officedocument.presentationml.tags+xml"/>
  <Override PartName="/ppt/charts/chart464.xml" ContentType="application/vnd.openxmlformats-officedocument.drawingml.chart+xml"/>
  <Override PartName="/ppt/tags/tag313.xml" ContentType="application/vnd.openxmlformats-officedocument.presentationml.tags+xml"/>
  <Override PartName="/ppt/charts/chart465.xml" ContentType="application/vnd.openxmlformats-officedocument.drawingml.chart+xml"/>
  <Override PartName="/ppt/tags/tag314.xml" ContentType="application/vnd.openxmlformats-officedocument.presentationml.tags+xml"/>
  <Override PartName="/ppt/charts/chart466.xml" ContentType="application/vnd.openxmlformats-officedocument.drawingml.chart+xml"/>
  <Override PartName="/ppt/tags/tag315.xml" ContentType="application/vnd.openxmlformats-officedocument.presentationml.tags+xml"/>
  <Override PartName="/ppt/charts/chart467.xml" ContentType="application/vnd.openxmlformats-officedocument.drawingml.chart+xml"/>
  <Override PartName="/ppt/tags/tag316.xml" ContentType="application/vnd.openxmlformats-officedocument.presentationml.tags+xml"/>
  <Override PartName="/ppt/charts/chart468.xml" ContentType="application/vnd.openxmlformats-officedocument.drawingml.chart+xml"/>
  <Override PartName="/ppt/tags/tag317.xml" ContentType="application/vnd.openxmlformats-officedocument.presentationml.tags+xml"/>
  <Override PartName="/ppt/charts/chart469.xml" ContentType="application/vnd.openxmlformats-officedocument.drawingml.chart+xml"/>
  <Override PartName="/ppt/tags/tag318.xml" ContentType="application/vnd.openxmlformats-officedocument.presentationml.tags+xml"/>
  <Override PartName="/ppt/charts/chart470.xml" ContentType="application/vnd.openxmlformats-officedocument.drawingml.chart+xml"/>
  <Override PartName="/ppt/tags/tag319.xml" ContentType="application/vnd.openxmlformats-officedocument.presentationml.tags+xml"/>
  <Override PartName="/ppt/charts/chart471.xml" ContentType="application/vnd.openxmlformats-officedocument.drawingml.chart+xml"/>
  <Override PartName="/ppt/tags/tag320.xml" ContentType="application/vnd.openxmlformats-officedocument.presentationml.tags+xml"/>
  <Override PartName="/ppt/charts/chart472.xml" ContentType="application/vnd.openxmlformats-officedocument.drawingml.chart+xml"/>
  <Override PartName="/ppt/tags/tag321.xml" ContentType="application/vnd.openxmlformats-officedocument.presentationml.tags+xml"/>
  <Override PartName="/ppt/charts/chart473.xml" ContentType="application/vnd.openxmlformats-officedocument.drawingml.chart+xml"/>
  <Override PartName="/ppt/tags/tag322.xml" ContentType="application/vnd.openxmlformats-officedocument.presentationml.tags+xml"/>
  <Override PartName="/ppt/charts/chart474.xml" ContentType="application/vnd.openxmlformats-officedocument.drawingml.chart+xml"/>
  <Override PartName="/ppt/tags/tag323.xml" ContentType="application/vnd.openxmlformats-officedocument.presentationml.tags+xml"/>
  <Override PartName="/ppt/charts/chart475.xml" ContentType="application/vnd.openxmlformats-officedocument.drawingml.chart+xml"/>
  <Override PartName="/ppt/tags/tag324.xml" ContentType="application/vnd.openxmlformats-officedocument.presentationml.tags+xml"/>
  <Override PartName="/ppt/charts/chart476.xml" ContentType="application/vnd.openxmlformats-officedocument.drawingml.chart+xml"/>
  <Override PartName="/ppt/tags/tag325.xml" ContentType="application/vnd.openxmlformats-officedocument.presentationml.tags+xml"/>
  <Override PartName="/ppt/charts/chart477.xml" ContentType="application/vnd.openxmlformats-officedocument.drawingml.chart+xml"/>
  <Override PartName="/ppt/tags/tag326.xml" ContentType="application/vnd.openxmlformats-officedocument.presentationml.tags+xml"/>
  <Override PartName="/ppt/charts/chart478.xml" ContentType="application/vnd.openxmlformats-officedocument.drawingml.chart+xml"/>
  <Override PartName="/ppt/tags/tag327.xml" ContentType="application/vnd.openxmlformats-officedocument.presentationml.tags+xml"/>
  <Override PartName="/ppt/charts/chart479.xml" ContentType="application/vnd.openxmlformats-officedocument.drawingml.chart+xml"/>
  <Override PartName="/ppt/tags/tag328.xml" ContentType="application/vnd.openxmlformats-officedocument.presentationml.tags+xml"/>
  <Override PartName="/ppt/charts/chart480.xml" ContentType="application/vnd.openxmlformats-officedocument.drawingml.chart+xml"/>
  <Override PartName="/ppt/tags/tag329.xml" ContentType="application/vnd.openxmlformats-officedocument.presentationml.tags+xml"/>
  <Override PartName="/ppt/charts/chart481.xml" ContentType="application/vnd.openxmlformats-officedocument.drawingml.chart+xml"/>
  <Override PartName="/ppt/tags/tag330.xml" ContentType="application/vnd.openxmlformats-officedocument.presentationml.tags+xml"/>
  <Override PartName="/ppt/charts/chart482.xml" ContentType="application/vnd.openxmlformats-officedocument.drawingml.chart+xml"/>
  <Override PartName="/ppt/tags/tag331.xml" ContentType="application/vnd.openxmlformats-officedocument.presentationml.tags+xml"/>
  <Override PartName="/ppt/charts/chart483.xml" ContentType="application/vnd.openxmlformats-officedocument.drawingml.chart+xml"/>
  <Override PartName="/ppt/tags/tag332.xml" ContentType="application/vnd.openxmlformats-officedocument.presentationml.tags+xml"/>
  <Override PartName="/ppt/charts/chart484.xml" ContentType="application/vnd.openxmlformats-officedocument.drawingml.chart+xml"/>
  <Override PartName="/ppt/tags/tag333.xml" ContentType="application/vnd.openxmlformats-officedocument.presentationml.tags+xml"/>
  <Override PartName="/ppt/charts/chart485.xml" ContentType="application/vnd.openxmlformats-officedocument.drawingml.chart+xml"/>
  <Override PartName="/ppt/tags/tag334.xml" ContentType="application/vnd.openxmlformats-officedocument.presentationml.tags+xml"/>
  <Override PartName="/ppt/charts/chart486.xml" ContentType="application/vnd.openxmlformats-officedocument.drawingml.chart+xml"/>
  <Override PartName="/ppt/tags/tag335.xml" ContentType="application/vnd.openxmlformats-officedocument.presentationml.tags+xml"/>
  <Override PartName="/ppt/charts/chart487.xml" ContentType="application/vnd.openxmlformats-officedocument.drawingml.chart+xml"/>
  <Override PartName="/ppt/tags/tag336.xml" ContentType="application/vnd.openxmlformats-officedocument.presentationml.tags+xml"/>
  <Override PartName="/ppt/charts/chart488.xml" ContentType="application/vnd.openxmlformats-officedocument.drawingml.chart+xml"/>
  <Override PartName="/ppt/tags/tag337.xml" ContentType="application/vnd.openxmlformats-officedocument.presentationml.tags+xml"/>
  <Override PartName="/ppt/charts/chart489.xml" ContentType="application/vnd.openxmlformats-officedocument.drawingml.chart+xml"/>
  <Override PartName="/ppt/tags/tag338.xml" ContentType="application/vnd.openxmlformats-officedocument.presentationml.tags+xml"/>
  <Override PartName="/ppt/charts/chart490.xml" ContentType="application/vnd.openxmlformats-officedocument.drawingml.chart+xml"/>
  <Override PartName="/ppt/tags/tag339.xml" ContentType="application/vnd.openxmlformats-officedocument.presentationml.tags+xml"/>
  <Override PartName="/ppt/charts/chart491.xml" ContentType="application/vnd.openxmlformats-officedocument.drawingml.chart+xml"/>
  <Override PartName="/ppt/tags/tag340.xml" ContentType="application/vnd.openxmlformats-officedocument.presentationml.tags+xml"/>
  <Override PartName="/ppt/charts/chart492.xml" ContentType="application/vnd.openxmlformats-officedocument.drawingml.chart+xml"/>
  <Override PartName="/ppt/tags/tag341.xml" ContentType="application/vnd.openxmlformats-officedocument.presentationml.tags+xml"/>
  <Override PartName="/ppt/charts/chart493.xml" ContentType="application/vnd.openxmlformats-officedocument.drawingml.chart+xml"/>
  <Override PartName="/ppt/tags/tag342.xml" ContentType="application/vnd.openxmlformats-officedocument.presentationml.tags+xml"/>
  <Override PartName="/ppt/charts/chart494.xml" ContentType="application/vnd.openxmlformats-officedocument.drawingml.chart+xml"/>
  <Override PartName="/ppt/tags/tag343.xml" ContentType="application/vnd.openxmlformats-officedocument.presentationml.tags+xml"/>
  <Override PartName="/ppt/charts/chart495.xml" ContentType="application/vnd.openxmlformats-officedocument.drawingml.chart+xml"/>
  <Override PartName="/ppt/tags/tag344.xml" ContentType="application/vnd.openxmlformats-officedocument.presentationml.tags+xml"/>
  <Override PartName="/ppt/charts/chart496.xml" ContentType="application/vnd.openxmlformats-officedocument.drawingml.chart+xml"/>
  <Override PartName="/ppt/tags/tag345.xml" ContentType="application/vnd.openxmlformats-officedocument.presentationml.tags+xml"/>
  <Override PartName="/ppt/charts/chart497.xml" ContentType="application/vnd.openxmlformats-officedocument.drawingml.chart+xml"/>
  <Override PartName="/ppt/tags/tag346.xml" ContentType="application/vnd.openxmlformats-officedocument.presentationml.tags+xml"/>
  <Override PartName="/ppt/charts/chart498.xml" ContentType="application/vnd.openxmlformats-officedocument.drawingml.chart+xml"/>
  <Override PartName="/ppt/tags/tag347.xml" ContentType="application/vnd.openxmlformats-officedocument.presentationml.tags+xml"/>
  <Override PartName="/ppt/charts/chart499.xml" ContentType="application/vnd.openxmlformats-officedocument.drawingml.chart+xml"/>
  <Override PartName="/ppt/tags/tag348.xml" ContentType="application/vnd.openxmlformats-officedocument.presentationml.tags+xml"/>
  <Override PartName="/ppt/charts/chart500.xml" ContentType="application/vnd.openxmlformats-officedocument.drawingml.chart+xml"/>
  <Override PartName="/ppt/tags/tag349.xml" ContentType="application/vnd.openxmlformats-officedocument.presentationml.tags+xml"/>
  <Override PartName="/ppt/charts/chart501.xml" ContentType="application/vnd.openxmlformats-officedocument.drawingml.chart+xml"/>
  <Override PartName="/ppt/tags/tag350.xml" ContentType="application/vnd.openxmlformats-officedocument.presentationml.tags+xml"/>
  <Override PartName="/ppt/charts/chart502.xml" ContentType="application/vnd.openxmlformats-officedocument.drawingml.chart+xml"/>
  <Override PartName="/ppt/tags/tag351.xml" ContentType="application/vnd.openxmlformats-officedocument.presentationml.tags+xml"/>
  <Override PartName="/ppt/charts/chart503.xml" ContentType="application/vnd.openxmlformats-officedocument.drawingml.chart+xml"/>
  <Override PartName="/ppt/tags/tag352.xml" ContentType="application/vnd.openxmlformats-officedocument.presentationml.tags+xml"/>
  <Override PartName="/ppt/charts/chart504.xml" ContentType="application/vnd.openxmlformats-officedocument.drawingml.chart+xml"/>
  <Override PartName="/ppt/tags/tag353.xml" ContentType="application/vnd.openxmlformats-officedocument.presentationml.tags+xml"/>
  <Override PartName="/ppt/charts/chart505.xml" ContentType="application/vnd.openxmlformats-officedocument.drawingml.chart+xml"/>
  <Override PartName="/ppt/tags/tag354.xml" ContentType="application/vnd.openxmlformats-officedocument.presentationml.tags+xml"/>
  <Override PartName="/ppt/charts/chart506.xml" ContentType="application/vnd.openxmlformats-officedocument.drawingml.chart+xml"/>
  <Override PartName="/ppt/tags/tag355.xml" ContentType="application/vnd.openxmlformats-officedocument.presentationml.tags+xml"/>
  <Override PartName="/ppt/charts/chart507.xml" ContentType="application/vnd.openxmlformats-officedocument.drawingml.chart+xml"/>
  <Override PartName="/ppt/tags/tag356.xml" ContentType="application/vnd.openxmlformats-officedocument.presentationml.tags+xml"/>
  <Override PartName="/ppt/charts/chart508.xml" ContentType="application/vnd.openxmlformats-officedocument.drawingml.chart+xml"/>
  <Override PartName="/ppt/tags/tag357.xml" ContentType="application/vnd.openxmlformats-officedocument.presentationml.tags+xml"/>
  <Override PartName="/ppt/charts/chart509.xml" ContentType="application/vnd.openxmlformats-officedocument.drawingml.chart+xml"/>
  <Override PartName="/ppt/tags/tag358.xml" ContentType="application/vnd.openxmlformats-officedocument.presentationml.tags+xml"/>
  <Override PartName="/ppt/charts/chart510.xml" ContentType="application/vnd.openxmlformats-officedocument.drawingml.chart+xml"/>
  <Override PartName="/ppt/tags/tag359.xml" ContentType="application/vnd.openxmlformats-officedocument.presentationml.tags+xml"/>
  <Override PartName="/ppt/charts/chart511.xml" ContentType="application/vnd.openxmlformats-officedocument.drawingml.chart+xml"/>
  <Override PartName="/ppt/tags/tag360.xml" ContentType="application/vnd.openxmlformats-officedocument.presentationml.tags+xml"/>
  <Override PartName="/ppt/charts/chart512.xml" ContentType="application/vnd.openxmlformats-officedocument.drawingml.chart+xml"/>
  <Override PartName="/ppt/tags/tag361.xml" ContentType="application/vnd.openxmlformats-officedocument.presentationml.tags+xml"/>
  <Override PartName="/ppt/charts/chart513.xml" ContentType="application/vnd.openxmlformats-officedocument.drawingml.chart+xml"/>
  <Override PartName="/ppt/tags/tag362.xml" ContentType="application/vnd.openxmlformats-officedocument.presentationml.tags+xml"/>
  <Override PartName="/ppt/charts/chart514.xml" ContentType="application/vnd.openxmlformats-officedocument.drawingml.chart+xml"/>
  <Override PartName="/ppt/tags/tag363.xml" ContentType="application/vnd.openxmlformats-officedocument.presentationml.tags+xml"/>
  <Override PartName="/ppt/charts/chart515.xml" ContentType="application/vnd.openxmlformats-officedocument.drawingml.chart+xml"/>
  <Override PartName="/ppt/tags/tag364.xml" ContentType="application/vnd.openxmlformats-officedocument.presentationml.tags+xml"/>
  <Override PartName="/ppt/charts/chart516.xml" ContentType="application/vnd.openxmlformats-officedocument.drawingml.chart+xml"/>
  <Override PartName="/ppt/tags/tag365.xml" ContentType="application/vnd.openxmlformats-officedocument.presentationml.tags+xml"/>
  <Override PartName="/ppt/charts/chart517.xml" ContentType="application/vnd.openxmlformats-officedocument.drawingml.chart+xml"/>
  <Override PartName="/ppt/tags/tag366.xml" ContentType="application/vnd.openxmlformats-officedocument.presentationml.tags+xml"/>
  <Override PartName="/ppt/charts/chart518.xml" ContentType="application/vnd.openxmlformats-officedocument.drawingml.chart+xml"/>
  <Override PartName="/ppt/tags/tag367.xml" ContentType="application/vnd.openxmlformats-officedocument.presentationml.tags+xml"/>
  <Override PartName="/ppt/charts/chart519.xml" ContentType="application/vnd.openxmlformats-officedocument.drawingml.chart+xml"/>
  <Override PartName="/ppt/tags/tag368.xml" ContentType="application/vnd.openxmlformats-officedocument.presentationml.tags+xml"/>
  <Override PartName="/ppt/charts/chart520.xml" ContentType="application/vnd.openxmlformats-officedocument.drawingml.chart+xml"/>
  <Override PartName="/ppt/tags/tag369.xml" ContentType="application/vnd.openxmlformats-officedocument.presentationml.tags+xml"/>
  <Override PartName="/ppt/charts/chart521.xml" ContentType="application/vnd.openxmlformats-officedocument.drawingml.chart+xml"/>
  <Override PartName="/ppt/tags/tag370.xml" ContentType="application/vnd.openxmlformats-officedocument.presentationml.tags+xml"/>
  <Override PartName="/ppt/charts/chart522.xml" ContentType="application/vnd.openxmlformats-officedocument.drawingml.chart+xml"/>
  <Override PartName="/ppt/tags/tag371.xml" ContentType="application/vnd.openxmlformats-officedocument.presentationml.tags+xml"/>
  <Override PartName="/ppt/charts/chart523.xml" ContentType="application/vnd.openxmlformats-officedocument.drawingml.chart+xml"/>
  <Override PartName="/ppt/tags/tag372.xml" ContentType="application/vnd.openxmlformats-officedocument.presentationml.tags+xml"/>
  <Override PartName="/ppt/charts/chart524.xml" ContentType="application/vnd.openxmlformats-officedocument.drawingml.chart+xml"/>
  <Override PartName="/ppt/tags/tag373.xml" ContentType="application/vnd.openxmlformats-officedocument.presentationml.tags+xml"/>
  <Override PartName="/ppt/charts/chart525.xml" ContentType="application/vnd.openxmlformats-officedocument.drawingml.chart+xml"/>
  <Override PartName="/ppt/tags/tag374.xml" ContentType="application/vnd.openxmlformats-officedocument.presentationml.tags+xml"/>
  <Override PartName="/ppt/charts/chart526.xml" ContentType="application/vnd.openxmlformats-officedocument.drawingml.chart+xml"/>
  <Override PartName="/ppt/tags/tag375.xml" ContentType="application/vnd.openxmlformats-officedocument.presentationml.tags+xml"/>
  <Override PartName="/ppt/charts/chart527.xml" ContentType="application/vnd.openxmlformats-officedocument.drawingml.chart+xml"/>
  <Override PartName="/ppt/tags/tag376.xml" ContentType="application/vnd.openxmlformats-officedocument.presentationml.tags+xml"/>
  <Override PartName="/ppt/charts/chart528.xml" ContentType="application/vnd.openxmlformats-officedocument.drawingml.chart+xml"/>
  <Override PartName="/ppt/tags/tag377.xml" ContentType="application/vnd.openxmlformats-officedocument.presentationml.tags+xml"/>
  <Override PartName="/ppt/charts/chart529.xml" ContentType="application/vnd.openxmlformats-officedocument.drawingml.chart+xml"/>
  <Override PartName="/ppt/tags/tag378.xml" ContentType="application/vnd.openxmlformats-officedocument.presentationml.tags+xml"/>
  <Override PartName="/ppt/charts/chart530.xml" ContentType="application/vnd.openxmlformats-officedocument.drawingml.chart+xml"/>
  <Override PartName="/ppt/tags/tag379.xml" ContentType="application/vnd.openxmlformats-officedocument.presentationml.tags+xml"/>
  <Override PartName="/ppt/charts/chart531.xml" ContentType="application/vnd.openxmlformats-officedocument.drawingml.chart+xml"/>
  <Override PartName="/ppt/tags/tag380.xml" ContentType="application/vnd.openxmlformats-officedocument.presentationml.tags+xml"/>
  <Override PartName="/ppt/charts/chart532.xml" ContentType="application/vnd.openxmlformats-officedocument.drawingml.chart+xml"/>
  <Override PartName="/ppt/tags/tag381.xml" ContentType="application/vnd.openxmlformats-officedocument.presentationml.tags+xml"/>
  <Override PartName="/ppt/charts/chart533.xml" ContentType="application/vnd.openxmlformats-officedocument.drawingml.chart+xml"/>
  <Override PartName="/ppt/tags/tag382.xml" ContentType="application/vnd.openxmlformats-officedocument.presentationml.tags+xml"/>
  <Override PartName="/ppt/charts/chart534.xml" ContentType="application/vnd.openxmlformats-officedocument.drawingml.chart+xml"/>
  <Override PartName="/ppt/tags/tag383.xml" ContentType="application/vnd.openxmlformats-officedocument.presentationml.tags+xml"/>
  <Override PartName="/ppt/charts/chart535.xml" ContentType="application/vnd.openxmlformats-officedocument.drawingml.chart+xml"/>
  <Override PartName="/ppt/tags/tag384.xml" ContentType="application/vnd.openxmlformats-officedocument.presentationml.tags+xml"/>
  <Override PartName="/ppt/charts/chart536.xml" ContentType="application/vnd.openxmlformats-officedocument.drawingml.chart+xml"/>
  <Override PartName="/ppt/tags/tag385.xml" ContentType="application/vnd.openxmlformats-officedocument.presentationml.tags+xml"/>
  <Override PartName="/ppt/charts/chart537.xml" ContentType="application/vnd.openxmlformats-officedocument.drawingml.chart+xml"/>
  <Override PartName="/ppt/tags/tag386.xml" ContentType="application/vnd.openxmlformats-officedocument.presentationml.tags+xml"/>
  <Override PartName="/ppt/charts/chart538.xml" ContentType="application/vnd.openxmlformats-officedocument.drawingml.chart+xml"/>
  <Override PartName="/ppt/tags/tag387.xml" ContentType="application/vnd.openxmlformats-officedocument.presentationml.tags+xml"/>
  <Override PartName="/ppt/charts/chart539.xml" ContentType="application/vnd.openxmlformats-officedocument.drawingml.chart+xml"/>
  <Override PartName="/ppt/tags/tag388.xml" ContentType="application/vnd.openxmlformats-officedocument.presentationml.tags+xml"/>
  <Override PartName="/ppt/charts/chart540.xml" ContentType="application/vnd.openxmlformats-officedocument.drawingml.chart+xml"/>
  <Override PartName="/ppt/tags/tag389.xml" ContentType="application/vnd.openxmlformats-officedocument.presentationml.tags+xml"/>
  <Override PartName="/ppt/charts/chart541.xml" ContentType="application/vnd.openxmlformats-officedocument.drawingml.chart+xml"/>
  <Override PartName="/ppt/tags/tag390.xml" ContentType="application/vnd.openxmlformats-officedocument.presentationml.tags+xml"/>
  <Override PartName="/ppt/charts/chart542.xml" ContentType="application/vnd.openxmlformats-officedocument.drawingml.chart+xml"/>
  <Override PartName="/ppt/tags/tag391.xml" ContentType="application/vnd.openxmlformats-officedocument.presentationml.tags+xml"/>
  <Override PartName="/ppt/charts/chart543.xml" ContentType="application/vnd.openxmlformats-officedocument.drawingml.chart+xml"/>
  <Override PartName="/ppt/tags/tag392.xml" ContentType="application/vnd.openxmlformats-officedocument.presentationml.tags+xml"/>
  <Override PartName="/ppt/charts/chart544.xml" ContentType="application/vnd.openxmlformats-officedocument.drawingml.chart+xml"/>
  <Override PartName="/ppt/tags/tag393.xml" ContentType="application/vnd.openxmlformats-officedocument.presentationml.tags+xml"/>
  <Override PartName="/ppt/charts/chart545.xml" ContentType="application/vnd.openxmlformats-officedocument.drawingml.chart+xml"/>
  <Override PartName="/ppt/tags/tag394.xml" ContentType="application/vnd.openxmlformats-officedocument.presentationml.tags+xml"/>
  <Override PartName="/ppt/charts/chart546.xml" ContentType="application/vnd.openxmlformats-officedocument.drawingml.chart+xml"/>
  <Override PartName="/ppt/tags/tag395.xml" ContentType="application/vnd.openxmlformats-officedocument.presentationml.tags+xml"/>
  <Override PartName="/ppt/charts/chart547.xml" ContentType="application/vnd.openxmlformats-officedocument.drawingml.chart+xml"/>
  <Override PartName="/ppt/tags/tag396.xml" ContentType="application/vnd.openxmlformats-officedocument.presentationml.tags+xml"/>
  <Override PartName="/ppt/charts/chart548.xml" ContentType="application/vnd.openxmlformats-officedocument.drawingml.chart+xml"/>
  <Override PartName="/ppt/tags/tag397.xml" ContentType="application/vnd.openxmlformats-officedocument.presentationml.tags+xml"/>
  <Override PartName="/ppt/charts/chart549.xml" ContentType="application/vnd.openxmlformats-officedocument.drawingml.chart+xml"/>
  <Override PartName="/ppt/tags/tag398.xml" ContentType="application/vnd.openxmlformats-officedocument.presentationml.tags+xml"/>
  <Override PartName="/ppt/charts/chart550.xml" ContentType="application/vnd.openxmlformats-officedocument.drawingml.chart+xml"/>
  <Override PartName="/ppt/tags/tag399.xml" ContentType="application/vnd.openxmlformats-officedocument.presentationml.tags+xml"/>
  <Override PartName="/ppt/charts/chart551.xml" ContentType="application/vnd.openxmlformats-officedocument.drawingml.chart+xml"/>
  <Override PartName="/ppt/tags/tag400.xml" ContentType="application/vnd.openxmlformats-officedocument.presentationml.tags+xml"/>
  <Override PartName="/ppt/charts/chart552.xml" ContentType="application/vnd.openxmlformats-officedocument.drawingml.chart+xml"/>
  <Override PartName="/ppt/tags/tag401.xml" ContentType="application/vnd.openxmlformats-officedocument.presentationml.tags+xml"/>
  <Override PartName="/ppt/charts/chart553.xml" ContentType="application/vnd.openxmlformats-officedocument.drawingml.chart+xml"/>
  <Override PartName="/ppt/tags/tag402.xml" ContentType="application/vnd.openxmlformats-officedocument.presentationml.tags+xml"/>
  <Override PartName="/ppt/charts/chart554.xml" ContentType="application/vnd.openxmlformats-officedocument.drawingml.chart+xml"/>
  <Override PartName="/ppt/tags/tag403.xml" ContentType="application/vnd.openxmlformats-officedocument.presentationml.tags+xml"/>
  <Override PartName="/ppt/charts/chart555.xml" ContentType="application/vnd.openxmlformats-officedocument.drawingml.chart+xml"/>
  <Override PartName="/ppt/tags/tag404.xml" ContentType="application/vnd.openxmlformats-officedocument.presentationml.tags+xml"/>
  <Override PartName="/ppt/charts/chart556.xml" ContentType="application/vnd.openxmlformats-officedocument.drawingml.chart+xml"/>
  <Override PartName="/ppt/tags/tag405.xml" ContentType="application/vnd.openxmlformats-officedocument.presentationml.tags+xml"/>
  <Override PartName="/ppt/charts/chart557.xml" ContentType="application/vnd.openxmlformats-officedocument.drawingml.chart+xml"/>
  <Override PartName="/ppt/tags/tag406.xml" ContentType="application/vnd.openxmlformats-officedocument.presentationml.tags+xml"/>
  <Override PartName="/ppt/charts/chart558.xml" ContentType="application/vnd.openxmlformats-officedocument.drawingml.chart+xml"/>
  <Override PartName="/ppt/tags/tag407.xml" ContentType="application/vnd.openxmlformats-officedocument.presentationml.tags+xml"/>
  <Override PartName="/ppt/charts/chart559.xml" ContentType="application/vnd.openxmlformats-officedocument.drawingml.chart+xml"/>
  <Override PartName="/ppt/tags/tag408.xml" ContentType="application/vnd.openxmlformats-officedocument.presentationml.tags+xml"/>
  <Override PartName="/ppt/charts/chart560.xml" ContentType="application/vnd.openxmlformats-officedocument.drawingml.chart+xml"/>
  <Override PartName="/ppt/tags/tag409.xml" ContentType="application/vnd.openxmlformats-officedocument.presentationml.tags+xml"/>
  <Override PartName="/ppt/charts/chart561.xml" ContentType="application/vnd.openxmlformats-officedocument.drawingml.chart+xml"/>
  <Override PartName="/ppt/tags/tag410.xml" ContentType="application/vnd.openxmlformats-officedocument.presentationml.tags+xml"/>
  <Override PartName="/ppt/charts/chart562.xml" ContentType="application/vnd.openxmlformats-officedocument.drawingml.chart+xml"/>
  <Override PartName="/ppt/tags/tag411.xml" ContentType="application/vnd.openxmlformats-officedocument.presentationml.tags+xml"/>
  <Override PartName="/ppt/charts/chart563.xml" ContentType="application/vnd.openxmlformats-officedocument.drawingml.chart+xml"/>
  <Override PartName="/ppt/tags/tag412.xml" ContentType="application/vnd.openxmlformats-officedocument.presentationml.tags+xml"/>
  <Override PartName="/ppt/charts/chart564.xml" ContentType="application/vnd.openxmlformats-officedocument.drawingml.chart+xml"/>
  <Override PartName="/ppt/tags/tag413.xml" ContentType="application/vnd.openxmlformats-officedocument.presentationml.tags+xml"/>
  <Override PartName="/ppt/charts/chart565.xml" ContentType="application/vnd.openxmlformats-officedocument.drawingml.chart+xml"/>
  <Override PartName="/ppt/tags/tag414.xml" ContentType="application/vnd.openxmlformats-officedocument.presentationml.tags+xml"/>
  <Override PartName="/ppt/charts/chart566.xml" ContentType="application/vnd.openxmlformats-officedocument.drawingml.chart+xml"/>
  <Override PartName="/ppt/tags/tag415.xml" ContentType="application/vnd.openxmlformats-officedocument.presentationml.tags+xml"/>
  <Override PartName="/ppt/charts/chart567.xml" ContentType="application/vnd.openxmlformats-officedocument.drawingml.chart+xml"/>
  <Override PartName="/ppt/tags/tag416.xml" ContentType="application/vnd.openxmlformats-officedocument.presentationml.tags+xml"/>
  <Override PartName="/ppt/charts/chart568.xml" ContentType="application/vnd.openxmlformats-officedocument.drawingml.chart+xml"/>
  <Override PartName="/ppt/tags/tag417.xml" ContentType="application/vnd.openxmlformats-officedocument.presentationml.tags+xml"/>
  <Override PartName="/ppt/charts/chart569.xml" ContentType="application/vnd.openxmlformats-officedocument.drawingml.chart+xml"/>
  <Override PartName="/ppt/tags/tag418.xml" ContentType="application/vnd.openxmlformats-officedocument.presentationml.tags+xml"/>
  <Override PartName="/ppt/charts/chart570.xml" ContentType="application/vnd.openxmlformats-officedocument.drawingml.chart+xml"/>
  <Override PartName="/ppt/tags/tag419.xml" ContentType="application/vnd.openxmlformats-officedocument.presentationml.tags+xml"/>
  <Override PartName="/ppt/charts/chart571.xml" ContentType="application/vnd.openxmlformats-officedocument.drawingml.chart+xml"/>
  <Override PartName="/ppt/tags/tag420.xml" ContentType="application/vnd.openxmlformats-officedocument.presentationml.tags+xml"/>
  <Override PartName="/ppt/charts/chart572.xml" ContentType="application/vnd.openxmlformats-officedocument.drawingml.chart+xml"/>
  <Override PartName="/ppt/tags/tag421.xml" ContentType="application/vnd.openxmlformats-officedocument.presentationml.tags+xml"/>
  <Override PartName="/ppt/charts/chart573.xml" ContentType="application/vnd.openxmlformats-officedocument.drawingml.chart+xml"/>
  <Override PartName="/ppt/tags/tag422.xml" ContentType="application/vnd.openxmlformats-officedocument.presentationml.tags+xml"/>
  <Override PartName="/ppt/charts/chart574.xml" ContentType="application/vnd.openxmlformats-officedocument.drawingml.chart+xml"/>
  <Override PartName="/ppt/tags/tag423.xml" ContentType="application/vnd.openxmlformats-officedocument.presentationml.tags+xml"/>
  <Override PartName="/ppt/charts/chart575.xml" ContentType="application/vnd.openxmlformats-officedocument.drawingml.chart+xml"/>
  <Override PartName="/ppt/tags/tag424.xml" ContentType="application/vnd.openxmlformats-officedocument.presentationml.tags+xml"/>
  <Override PartName="/ppt/charts/chart576.xml" ContentType="application/vnd.openxmlformats-officedocument.drawingml.chart+xml"/>
  <Override PartName="/ppt/tags/tag425.xml" ContentType="application/vnd.openxmlformats-officedocument.presentationml.tags+xml"/>
  <Override PartName="/ppt/charts/chart577.xml" ContentType="application/vnd.openxmlformats-officedocument.drawingml.chart+xml"/>
  <Override PartName="/ppt/tags/tag426.xml" ContentType="application/vnd.openxmlformats-officedocument.presentationml.tags+xml"/>
  <Override PartName="/ppt/charts/chart578.xml" ContentType="application/vnd.openxmlformats-officedocument.drawingml.chart+xml"/>
  <Override PartName="/ppt/tags/tag427.xml" ContentType="application/vnd.openxmlformats-officedocument.presentationml.tags+xml"/>
  <Override PartName="/ppt/charts/chart579.xml" ContentType="application/vnd.openxmlformats-officedocument.drawingml.chart+xml"/>
  <Override PartName="/ppt/tags/tag428.xml" ContentType="application/vnd.openxmlformats-officedocument.presentationml.tags+xml"/>
  <Override PartName="/ppt/charts/chart580.xml" ContentType="application/vnd.openxmlformats-officedocument.drawingml.chart+xml"/>
  <Override PartName="/ppt/tags/tag429.xml" ContentType="application/vnd.openxmlformats-officedocument.presentationml.tags+xml"/>
  <Override PartName="/ppt/charts/chart581.xml" ContentType="application/vnd.openxmlformats-officedocument.drawingml.chart+xml"/>
  <Override PartName="/ppt/tags/tag430.xml" ContentType="application/vnd.openxmlformats-officedocument.presentationml.tags+xml"/>
  <Override PartName="/ppt/charts/chart582.xml" ContentType="application/vnd.openxmlformats-officedocument.drawingml.chart+xml"/>
  <Override PartName="/ppt/tags/tag431.xml" ContentType="application/vnd.openxmlformats-officedocument.presentationml.tags+xml"/>
  <Override PartName="/ppt/charts/chart583.xml" ContentType="application/vnd.openxmlformats-officedocument.drawingml.chart+xml"/>
  <Override PartName="/ppt/tags/tag432.xml" ContentType="application/vnd.openxmlformats-officedocument.presentationml.tags+xml"/>
  <Override PartName="/ppt/charts/chart584.xml" ContentType="application/vnd.openxmlformats-officedocument.drawingml.chart+xml"/>
  <Override PartName="/ppt/tags/tag433.xml" ContentType="application/vnd.openxmlformats-officedocument.presentationml.tags+xml"/>
  <Override PartName="/ppt/charts/chart585.xml" ContentType="application/vnd.openxmlformats-officedocument.drawingml.chart+xml"/>
  <Override PartName="/ppt/tags/tag434.xml" ContentType="application/vnd.openxmlformats-officedocument.presentationml.tags+xml"/>
  <Override PartName="/ppt/charts/chart586.xml" ContentType="application/vnd.openxmlformats-officedocument.drawingml.chart+xml"/>
  <Override PartName="/ppt/tags/tag435.xml" ContentType="application/vnd.openxmlformats-officedocument.presentationml.tags+xml"/>
  <Override PartName="/ppt/charts/chart587.xml" ContentType="application/vnd.openxmlformats-officedocument.drawingml.chart+xml"/>
  <Override PartName="/ppt/tags/tag436.xml" ContentType="application/vnd.openxmlformats-officedocument.presentationml.tags+xml"/>
  <Override PartName="/ppt/charts/chart588.xml" ContentType="application/vnd.openxmlformats-officedocument.drawingml.chart+xml"/>
  <Override PartName="/ppt/tags/tag437.xml" ContentType="application/vnd.openxmlformats-officedocument.presentationml.tags+xml"/>
  <Override PartName="/ppt/charts/chart589.xml" ContentType="application/vnd.openxmlformats-officedocument.drawingml.chart+xml"/>
  <Override PartName="/ppt/tags/tag438.xml" ContentType="application/vnd.openxmlformats-officedocument.presentationml.tags+xml"/>
  <Override PartName="/ppt/charts/chart590.xml" ContentType="application/vnd.openxmlformats-officedocument.drawingml.chart+xml"/>
  <Override PartName="/ppt/tags/tag439.xml" ContentType="application/vnd.openxmlformats-officedocument.presentationml.tags+xml"/>
  <Override PartName="/ppt/charts/chart591.xml" ContentType="application/vnd.openxmlformats-officedocument.drawingml.chart+xml"/>
  <Override PartName="/ppt/tags/tag440.xml" ContentType="application/vnd.openxmlformats-officedocument.presentationml.tags+xml"/>
  <Override PartName="/ppt/charts/chart592.xml" ContentType="application/vnd.openxmlformats-officedocument.drawingml.chart+xml"/>
  <Override PartName="/ppt/tags/tag441.xml" ContentType="application/vnd.openxmlformats-officedocument.presentationml.tags+xml"/>
  <Override PartName="/ppt/charts/chart593.xml" ContentType="application/vnd.openxmlformats-officedocument.drawingml.chart+xml"/>
  <Override PartName="/ppt/tags/tag442.xml" ContentType="application/vnd.openxmlformats-officedocument.presentationml.tags+xml"/>
  <Override PartName="/ppt/charts/chart594.xml" ContentType="application/vnd.openxmlformats-officedocument.drawingml.chart+xml"/>
  <Override PartName="/ppt/tags/tag443.xml" ContentType="application/vnd.openxmlformats-officedocument.presentationml.tags+xml"/>
  <Override PartName="/ppt/charts/chart595.xml" ContentType="application/vnd.openxmlformats-officedocument.drawingml.chart+xml"/>
  <Override PartName="/ppt/tags/tag444.xml" ContentType="application/vnd.openxmlformats-officedocument.presentationml.tags+xml"/>
  <Override PartName="/ppt/charts/chart596.xml" ContentType="application/vnd.openxmlformats-officedocument.drawingml.chart+xml"/>
  <Override PartName="/ppt/tags/tag445.xml" ContentType="application/vnd.openxmlformats-officedocument.presentationml.tags+xml"/>
  <Override PartName="/ppt/charts/chart597.xml" ContentType="application/vnd.openxmlformats-officedocument.drawingml.chart+xml"/>
  <Override PartName="/ppt/tags/tag446.xml" ContentType="application/vnd.openxmlformats-officedocument.presentationml.tags+xml"/>
  <Override PartName="/ppt/charts/chart598.xml" ContentType="application/vnd.openxmlformats-officedocument.drawingml.chart+xml"/>
  <Override PartName="/ppt/tags/tag447.xml" ContentType="application/vnd.openxmlformats-officedocument.presentationml.tags+xml"/>
  <Override PartName="/ppt/charts/chart599.xml" ContentType="application/vnd.openxmlformats-officedocument.drawingml.chart+xml"/>
  <Override PartName="/ppt/tags/tag448.xml" ContentType="application/vnd.openxmlformats-officedocument.presentationml.tags+xml"/>
  <Override PartName="/ppt/charts/chart600.xml" ContentType="application/vnd.openxmlformats-officedocument.drawingml.chart+xml"/>
  <Override PartName="/ppt/tags/tag449.xml" ContentType="application/vnd.openxmlformats-officedocument.presentationml.tags+xml"/>
  <Override PartName="/ppt/charts/chart601.xml" ContentType="application/vnd.openxmlformats-officedocument.drawingml.chart+xml"/>
  <Override PartName="/ppt/tags/tag450.xml" ContentType="application/vnd.openxmlformats-officedocument.presentationml.tags+xml"/>
  <Override PartName="/ppt/charts/chart602.xml" ContentType="application/vnd.openxmlformats-officedocument.drawingml.chart+xml"/>
  <Override PartName="/ppt/tags/tag451.xml" ContentType="application/vnd.openxmlformats-officedocument.presentationml.tags+xml"/>
  <Override PartName="/ppt/charts/chart603.xml" ContentType="application/vnd.openxmlformats-officedocument.drawingml.chart+xml"/>
  <Override PartName="/ppt/tags/tag452.xml" ContentType="application/vnd.openxmlformats-officedocument.presentationml.tags+xml"/>
  <Override PartName="/ppt/charts/chart604.xml" ContentType="application/vnd.openxmlformats-officedocument.drawingml.chart+xml"/>
  <Override PartName="/ppt/tags/tag453.xml" ContentType="application/vnd.openxmlformats-officedocument.presentationml.tags+xml"/>
  <Override PartName="/ppt/charts/chart605.xml" ContentType="application/vnd.openxmlformats-officedocument.drawingml.chart+xml"/>
  <Override PartName="/ppt/tags/tag454.xml" ContentType="application/vnd.openxmlformats-officedocument.presentationml.tags+xml"/>
  <Override PartName="/ppt/charts/chart606.xml" ContentType="application/vnd.openxmlformats-officedocument.drawingml.chart+xml"/>
  <Override PartName="/ppt/tags/tag455.xml" ContentType="application/vnd.openxmlformats-officedocument.presentationml.tags+xml"/>
  <Override PartName="/ppt/charts/chart607.xml" ContentType="application/vnd.openxmlformats-officedocument.drawingml.chart+xml"/>
  <Override PartName="/ppt/tags/tag456.xml" ContentType="application/vnd.openxmlformats-officedocument.presentationml.tags+xml"/>
  <Override PartName="/ppt/charts/chart608.xml" ContentType="application/vnd.openxmlformats-officedocument.drawingml.chart+xml"/>
  <Override PartName="/ppt/tags/tag457.xml" ContentType="application/vnd.openxmlformats-officedocument.presentationml.tags+xml"/>
  <Override PartName="/ppt/charts/chart609.xml" ContentType="application/vnd.openxmlformats-officedocument.drawingml.chart+xml"/>
  <Override PartName="/ppt/tags/tag458.xml" ContentType="application/vnd.openxmlformats-officedocument.presentationml.tags+xml"/>
  <Override PartName="/ppt/charts/chart610.xml" ContentType="application/vnd.openxmlformats-officedocument.drawingml.chart+xml"/>
  <Override PartName="/ppt/tags/tag459.xml" ContentType="application/vnd.openxmlformats-officedocument.presentationml.tags+xml"/>
  <Override PartName="/ppt/charts/chart611.xml" ContentType="application/vnd.openxmlformats-officedocument.drawingml.chart+xml"/>
  <Override PartName="/ppt/tags/tag460.xml" ContentType="application/vnd.openxmlformats-officedocument.presentationml.tags+xml"/>
  <Override PartName="/ppt/charts/chart612.xml" ContentType="application/vnd.openxmlformats-officedocument.drawingml.chart+xml"/>
  <Override PartName="/ppt/tags/tag461.xml" ContentType="application/vnd.openxmlformats-officedocument.presentationml.tags+xml"/>
  <Override PartName="/ppt/charts/chart613.xml" ContentType="application/vnd.openxmlformats-officedocument.drawingml.chart+xml"/>
  <Override PartName="/ppt/tags/tag462.xml" ContentType="application/vnd.openxmlformats-officedocument.presentationml.tags+xml"/>
  <Override PartName="/ppt/charts/chart614.xml" ContentType="application/vnd.openxmlformats-officedocument.drawingml.chart+xml"/>
  <Override PartName="/ppt/tags/tag463.xml" ContentType="application/vnd.openxmlformats-officedocument.presentationml.tags+xml"/>
  <Override PartName="/ppt/charts/chart615.xml" ContentType="application/vnd.openxmlformats-officedocument.drawingml.chart+xml"/>
  <Override PartName="/ppt/tags/tag464.xml" ContentType="application/vnd.openxmlformats-officedocument.presentationml.tags+xml"/>
  <Override PartName="/ppt/charts/chart616.xml" ContentType="application/vnd.openxmlformats-officedocument.drawingml.chart+xml"/>
  <Override PartName="/ppt/tags/tag465.xml" ContentType="application/vnd.openxmlformats-officedocument.presentationml.tags+xml"/>
  <Override PartName="/ppt/charts/chart617.xml" ContentType="application/vnd.openxmlformats-officedocument.drawingml.chart+xml"/>
  <Override PartName="/ppt/tags/tag466.xml" ContentType="application/vnd.openxmlformats-officedocument.presentationml.tags+xml"/>
  <Override PartName="/ppt/charts/chart618.xml" ContentType="application/vnd.openxmlformats-officedocument.drawingml.chart+xml"/>
  <Override PartName="/ppt/tags/tag467.xml" ContentType="application/vnd.openxmlformats-officedocument.presentationml.tags+xml"/>
  <Override PartName="/ppt/charts/chart619.xml" ContentType="application/vnd.openxmlformats-officedocument.drawingml.chart+xml"/>
  <Override PartName="/ppt/tags/tag468.xml" ContentType="application/vnd.openxmlformats-officedocument.presentationml.tags+xml"/>
  <Override PartName="/ppt/charts/chart620.xml" ContentType="application/vnd.openxmlformats-officedocument.drawingml.chart+xml"/>
  <Override PartName="/ppt/tags/tag469.xml" ContentType="application/vnd.openxmlformats-officedocument.presentationml.tags+xml"/>
  <Override PartName="/ppt/charts/chart621.xml" ContentType="application/vnd.openxmlformats-officedocument.drawingml.chart+xml"/>
  <Override PartName="/ppt/tags/tag470.xml" ContentType="application/vnd.openxmlformats-officedocument.presentationml.tags+xml"/>
  <Override PartName="/ppt/charts/chart622.xml" ContentType="application/vnd.openxmlformats-officedocument.drawingml.chart+xml"/>
  <Override PartName="/ppt/tags/tag471.xml" ContentType="application/vnd.openxmlformats-officedocument.presentationml.tags+xml"/>
  <Override PartName="/ppt/charts/chart623.xml" ContentType="application/vnd.openxmlformats-officedocument.drawingml.chart+xml"/>
  <Override PartName="/ppt/tags/tag472.xml" ContentType="application/vnd.openxmlformats-officedocument.presentationml.tags+xml"/>
  <Override PartName="/ppt/charts/chart624.xml" ContentType="application/vnd.openxmlformats-officedocument.drawingml.chart+xml"/>
  <Override PartName="/ppt/tags/tag473.xml" ContentType="application/vnd.openxmlformats-officedocument.presentationml.tags+xml"/>
  <Override PartName="/ppt/charts/chart625.xml" ContentType="application/vnd.openxmlformats-officedocument.drawingml.chart+xml"/>
  <Override PartName="/ppt/tags/tag474.xml" ContentType="application/vnd.openxmlformats-officedocument.presentationml.tags+xml"/>
  <Override PartName="/ppt/charts/chart626.xml" ContentType="application/vnd.openxmlformats-officedocument.drawingml.chart+xml"/>
  <Override PartName="/ppt/tags/tag475.xml" ContentType="application/vnd.openxmlformats-officedocument.presentationml.tags+xml"/>
  <Override PartName="/ppt/charts/chart627.xml" ContentType="application/vnd.openxmlformats-officedocument.drawingml.chart+xml"/>
  <Override PartName="/ppt/tags/tag476.xml" ContentType="application/vnd.openxmlformats-officedocument.presentationml.tags+xml"/>
  <Override PartName="/ppt/charts/chart628.xml" ContentType="application/vnd.openxmlformats-officedocument.drawingml.chart+xml"/>
  <Override PartName="/ppt/tags/tag477.xml" ContentType="application/vnd.openxmlformats-officedocument.presentationml.tags+xml"/>
  <Override PartName="/ppt/charts/chart629.xml" ContentType="application/vnd.openxmlformats-officedocument.drawingml.chart+xml"/>
  <Override PartName="/ppt/tags/tag478.xml" ContentType="application/vnd.openxmlformats-officedocument.presentationml.tags+xml"/>
  <Override PartName="/ppt/charts/chart630.xml" ContentType="application/vnd.openxmlformats-officedocument.drawingml.chart+xml"/>
  <Override PartName="/ppt/tags/tag479.xml" ContentType="application/vnd.openxmlformats-officedocument.presentationml.tags+xml"/>
  <Override PartName="/ppt/charts/chart631.xml" ContentType="application/vnd.openxmlformats-officedocument.drawingml.chart+xml"/>
  <Override PartName="/ppt/tags/tag480.xml" ContentType="application/vnd.openxmlformats-officedocument.presentationml.tags+xml"/>
  <Override PartName="/ppt/charts/chart632.xml" ContentType="application/vnd.openxmlformats-officedocument.drawingml.chart+xml"/>
  <Override PartName="/ppt/tags/tag481.xml" ContentType="application/vnd.openxmlformats-officedocument.presentationml.tags+xml"/>
  <Override PartName="/ppt/charts/chart633.xml" ContentType="application/vnd.openxmlformats-officedocument.drawingml.chart+xml"/>
  <Override PartName="/ppt/tags/tag482.xml" ContentType="application/vnd.openxmlformats-officedocument.presentationml.tags+xml"/>
  <Override PartName="/ppt/charts/chart634.xml" ContentType="application/vnd.openxmlformats-officedocument.drawingml.chart+xml"/>
  <Override PartName="/ppt/tags/tag483.xml" ContentType="application/vnd.openxmlformats-officedocument.presentationml.tags+xml"/>
  <Override PartName="/ppt/charts/chart635.xml" ContentType="application/vnd.openxmlformats-officedocument.drawingml.chart+xml"/>
  <Override PartName="/ppt/tags/tag484.xml" ContentType="application/vnd.openxmlformats-officedocument.presentationml.tags+xml"/>
  <Override PartName="/ppt/charts/chart636.xml" ContentType="application/vnd.openxmlformats-officedocument.drawingml.chart+xml"/>
  <Override PartName="/ppt/tags/tag485.xml" ContentType="application/vnd.openxmlformats-officedocument.presentationml.tags+xml"/>
  <Override PartName="/ppt/charts/chart637.xml" ContentType="application/vnd.openxmlformats-officedocument.drawingml.chart+xml"/>
  <Override PartName="/ppt/tags/tag486.xml" ContentType="application/vnd.openxmlformats-officedocument.presentationml.tags+xml"/>
  <Override PartName="/ppt/charts/chart638.xml" ContentType="application/vnd.openxmlformats-officedocument.drawingml.chart+xml"/>
  <Override PartName="/ppt/tags/tag487.xml" ContentType="application/vnd.openxmlformats-officedocument.presentationml.tags+xml"/>
  <Override PartName="/ppt/charts/chart639.xml" ContentType="application/vnd.openxmlformats-officedocument.drawingml.chart+xml"/>
  <Override PartName="/ppt/tags/tag488.xml" ContentType="application/vnd.openxmlformats-officedocument.presentationml.tags+xml"/>
  <Override PartName="/ppt/charts/chart640.xml" ContentType="application/vnd.openxmlformats-officedocument.drawingml.chart+xml"/>
  <Override PartName="/ppt/tags/tag489.xml" ContentType="application/vnd.openxmlformats-officedocument.presentationml.tags+xml"/>
  <Override PartName="/ppt/charts/chart641.xml" ContentType="application/vnd.openxmlformats-officedocument.drawingml.chart+xml"/>
  <Override PartName="/ppt/tags/tag490.xml" ContentType="application/vnd.openxmlformats-officedocument.presentationml.tags+xml"/>
  <Override PartName="/ppt/charts/chart642.xml" ContentType="application/vnd.openxmlformats-officedocument.drawingml.chart+xml"/>
  <Override PartName="/ppt/tags/tag491.xml" ContentType="application/vnd.openxmlformats-officedocument.presentationml.tags+xml"/>
  <Override PartName="/ppt/charts/chart643.xml" ContentType="application/vnd.openxmlformats-officedocument.drawingml.chart+xml"/>
  <Override PartName="/ppt/tags/tag492.xml" ContentType="application/vnd.openxmlformats-officedocument.presentationml.tags+xml"/>
  <Override PartName="/ppt/charts/chart644.xml" ContentType="application/vnd.openxmlformats-officedocument.drawingml.chart+xml"/>
  <Override PartName="/ppt/tags/tag493.xml" ContentType="application/vnd.openxmlformats-officedocument.presentationml.tags+xml"/>
  <Override PartName="/ppt/charts/chart645.xml" ContentType="application/vnd.openxmlformats-officedocument.drawingml.chart+xml"/>
  <Override PartName="/ppt/tags/tag494.xml" ContentType="application/vnd.openxmlformats-officedocument.presentationml.tags+xml"/>
  <Override PartName="/ppt/charts/chart646.xml" ContentType="application/vnd.openxmlformats-officedocument.drawingml.chart+xml"/>
  <Override PartName="/ppt/tags/tag495.xml" ContentType="application/vnd.openxmlformats-officedocument.presentationml.tags+xml"/>
  <Override PartName="/ppt/charts/chart647.xml" ContentType="application/vnd.openxmlformats-officedocument.drawingml.chart+xml"/>
  <Override PartName="/ppt/tags/tag496.xml" ContentType="application/vnd.openxmlformats-officedocument.presentationml.tags+xml"/>
  <Override PartName="/ppt/charts/chart648.xml" ContentType="application/vnd.openxmlformats-officedocument.drawingml.chart+xml"/>
  <Override PartName="/ppt/tags/tag497.xml" ContentType="application/vnd.openxmlformats-officedocument.presentationml.tags+xml"/>
  <Override PartName="/ppt/charts/chart649.xml" ContentType="application/vnd.openxmlformats-officedocument.drawingml.chart+xml"/>
  <Override PartName="/ppt/tags/tag498.xml" ContentType="application/vnd.openxmlformats-officedocument.presentationml.tags+xml"/>
  <Override PartName="/ppt/charts/chart650.xml" ContentType="application/vnd.openxmlformats-officedocument.drawingml.chart+xml"/>
  <Override PartName="/ppt/tags/tag499.xml" ContentType="application/vnd.openxmlformats-officedocument.presentationml.tags+xml"/>
  <Override PartName="/ppt/charts/chart651.xml" ContentType="application/vnd.openxmlformats-officedocument.drawingml.chart+xml"/>
  <Override PartName="/ppt/tags/tag500.xml" ContentType="application/vnd.openxmlformats-officedocument.presentationml.tags+xml"/>
  <Override PartName="/ppt/charts/chart652.xml" ContentType="application/vnd.openxmlformats-officedocument.drawingml.chart+xml"/>
  <Override PartName="/ppt/tags/tag501.xml" ContentType="application/vnd.openxmlformats-officedocument.presentationml.tags+xml"/>
  <Override PartName="/ppt/charts/chart653.xml" ContentType="application/vnd.openxmlformats-officedocument.drawingml.chart+xml"/>
  <Override PartName="/ppt/tags/tag502.xml" ContentType="application/vnd.openxmlformats-officedocument.presentationml.tags+xml"/>
  <Override PartName="/ppt/charts/chart654.xml" ContentType="application/vnd.openxmlformats-officedocument.drawingml.chart+xml"/>
  <Override PartName="/ppt/tags/tag503.xml" ContentType="application/vnd.openxmlformats-officedocument.presentationml.tags+xml"/>
  <Override PartName="/ppt/charts/chart655.xml" ContentType="application/vnd.openxmlformats-officedocument.drawingml.chart+xml"/>
  <Override PartName="/ppt/tags/tag504.xml" ContentType="application/vnd.openxmlformats-officedocument.presentationml.tags+xml"/>
  <Override PartName="/ppt/charts/chart656.xml" ContentType="application/vnd.openxmlformats-officedocument.drawingml.chart+xml"/>
  <Override PartName="/ppt/tags/tag505.xml" ContentType="application/vnd.openxmlformats-officedocument.presentationml.tags+xml"/>
  <Override PartName="/ppt/charts/chart657.xml" ContentType="application/vnd.openxmlformats-officedocument.drawingml.chart+xml"/>
  <Override PartName="/ppt/tags/tag506.xml" ContentType="application/vnd.openxmlformats-officedocument.presentationml.tags+xml"/>
  <Override PartName="/ppt/charts/chart658.xml" ContentType="application/vnd.openxmlformats-officedocument.drawingml.chart+xml"/>
  <Override PartName="/ppt/tags/tag507.xml" ContentType="application/vnd.openxmlformats-officedocument.presentationml.tags+xml"/>
  <Override PartName="/ppt/charts/chart659.xml" ContentType="application/vnd.openxmlformats-officedocument.drawingml.chart+xml"/>
  <Override PartName="/ppt/tags/tag508.xml" ContentType="application/vnd.openxmlformats-officedocument.presentationml.tags+xml"/>
  <Override PartName="/ppt/charts/chart660.xml" ContentType="application/vnd.openxmlformats-officedocument.drawingml.chart+xml"/>
  <Override PartName="/ppt/tags/tag509.xml" ContentType="application/vnd.openxmlformats-officedocument.presentationml.tags+xml"/>
  <Override PartName="/ppt/charts/chart661.xml" ContentType="application/vnd.openxmlformats-officedocument.drawingml.chart+xml"/>
  <Override PartName="/ppt/tags/tag510.xml" ContentType="application/vnd.openxmlformats-officedocument.presentationml.tags+xml"/>
  <Override PartName="/ppt/charts/chart662.xml" ContentType="application/vnd.openxmlformats-officedocument.drawingml.chart+xml"/>
  <Override PartName="/ppt/tags/tag511.xml" ContentType="application/vnd.openxmlformats-officedocument.presentationml.tags+xml"/>
  <Override PartName="/ppt/charts/chart663.xml" ContentType="application/vnd.openxmlformats-officedocument.drawingml.chart+xml"/>
  <Override PartName="/ppt/tags/tag512.xml" ContentType="application/vnd.openxmlformats-officedocument.presentationml.tags+xml"/>
  <Override PartName="/ppt/charts/chart664.xml" ContentType="application/vnd.openxmlformats-officedocument.drawingml.chart+xml"/>
  <Override PartName="/ppt/tags/tag513.xml" ContentType="application/vnd.openxmlformats-officedocument.presentationml.tags+xml"/>
  <Override PartName="/ppt/charts/chart665.xml" ContentType="application/vnd.openxmlformats-officedocument.drawingml.chart+xml"/>
  <Override PartName="/ppt/tags/tag514.xml" ContentType="application/vnd.openxmlformats-officedocument.presentationml.tags+xml"/>
  <Override PartName="/ppt/charts/chart666.xml" ContentType="application/vnd.openxmlformats-officedocument.drawingml.chart+xml"/>
  <Override PartName="/ppt/tags/tag515.xml" ContentType="application/vnd.openxmlformats-officedocument.presentationml.tags+xml"/>
  <Override PartName="/ppt/charts/chart667.xml" ContentType="application/vnd.openxmlformats-officedocument.drawingml.chart+xml"/>
  <Override PartName="/ppt/tags/tag516.xml" ContentType="application/vnd.openxmlformats-officedocument.presentationml.tags+xml"/>
  <Override PartName="/ppt/charts/chart668.xml" ContentType="application/vnd.openxmlformats-officedocument.drawingml.chart+xml"/>
  <Override PartName="/ppt/tags/tag517.xml" ContentType="application/vnd.openxmlformats-officedocument.presentationml.tags+xml"/>
  <Override PartName="/ppt/charts/chart669.xml" ContentType="application/vnd.openxmlformats-officedocument.drawingml.chart+xml"/>
  <Override PartName="/ppt/tags/tag518.xml" ContentType="application/vnd.openxmlformats-officedocument.presentationml.tags+xml"/>
  <Override PartName="/ppt/charts/chart670.xml" ContentType="application/vnd.openxmlformats-officedocument.drawingml.chart+xml"/>
  <Override PartName="/ppt/tags/tag519.xml" ContentType="application/vnd.openxmlformats-officedocument.presentationml.tags+xml"/>
  <Override PartName="/ppt/charts/chart671.xml" ContentType="application/vnd.openxmlformats-officedocument.drawingml.chart+xml"/>
  <Override PartName="/ppt/tags/tag520.xml" ContentType="application/vnd.openxmlformats-officedocument.presentationml.tags+xml"/>
  <Override PartName="/ppt/charts/chart672.xml" ContentType="application/vnd.openxmlformats-officedocument.drawingml.chart+xml"/>
  <Override PartName="/ppt/tags/tag521.xml" ContentType="application/vnd.openxmlformats-officedocument.presentationml.tags+xml"/>
  <Override PartName="/ppt/charts/chart673.xml" ContentType="application/vnd.openxmlformats-officedocument.drawingml.chart+xml"/>
  <Override PartName="/ppt/tags/tag522.xml" ContentType="application/vnd.openxmlformats-officedocument.presentationml.tags+xml"/>
  <Override PartName="/ppt/charts/chart674.xml" ContentType="application/vnd.openxmlformats-officedocument.drawingml.chart+xml"/>
  <Override PartName="/ppt/tags/tag523.xml" ContentType="application/vnd.openxmlformats-officedocument.presentationml.tags+xml"/>
  <Override PartName="/ppt/charts/chart675.xml" ContentType="application/vnd.openxmlformats-officedocument.drawingml.chart+xml"/>
  <Override PartName="/ppt/tags/tag524.xml" ContentType="application/vnd.openxmlformats-officedocument.presentationml.tags+xml"/>
  <Override PartName="/ppt/charts/chart676.xml" ContentType="application/vnd.openxmlformats-officedocument.drawingml.chart+xml"/>
  <Override PartName="/ppt/tags/tag525.xml" ContentType="application/vnd.openxmlformats-officedocument.presentationml.tags+xml"/>
  <Override PartName="/ppt/charts/chart677.xml" ContentType="application/vnd.openxmlformats-officedocument.drawingml.chart+xml"/>
  <Override PartName="/ppt/tags/tag526.xml" ContentType="application/vnd.openxmlformats-officedocument.presentationml.tags+xml"/>
  <Override PartName="/ppt/charts/chart678.xml" ContentType="application/vnd.openxmlformats-officedocument.drawingml.chart+xml"/>
  <Override PartName="/ppt/tags/tag527.xml" ContentType="application/vnd.openxmlformats-officedocument.presentationml.tags+xml"/>
  <Override PartName="/ppt/charts/chart679.xml" ContentType="application/vnd.openxmlformats-officedocument.drawingml.chart+xml"/>
  <Override PartName="/ppt/tags/tag528.xml" ContentType="application/vnd.openxmlformats-officedocument.presentationml.tags+xml"/>
  <Override PartName="/ppt/charts/chart680.xml" ContentType="application/vnd.openxmlformats-officedocument.drawingml.chart+xml"/>
  <Override PartName="/ppt/tags/tag529.xml" ContentType="application/vnd.openxmlformats-officedocument.presentationml.tags+xml"/>
  <Override PartName="/ppt/charts/chart681.xml" ContentType="application/vnd.openxmlformats-officedocument.drawingml.chart+xml"/>
  <Override PartName="/ppt/tags/tag530.xml" ContentType="application/vnd.openxmlformats-officedocument.presentationml.tags+xml"/>
  <Override PartName="/ppt/charts/chart682.xml" ContentType="application/vnd.openxmlformats-officedocument.drawingml.chart+xml"/>
  <Override PartName="/ppt/tags/tag531.xml" ContentType="application/vnd.openxmlformats-officedocument.presentationml.tags+xml"/>
  <Override PartName="/ppt/charts/chart683.xml" ContentType="application/vnd.openxmlformats-officedocument.drawingml.chart+xml"/>
  <Override PartName="/ppt/tags/tag532.xml" ContentType="application/vnd.openxmlformats-officedocument.presentationml.tags+xml"/>
  <Override PartName="/ppt/charts/chart684.xml" ContentType="application/vnd.openxmlformats-officedocument.drawingml.chart+xml"/>
  <Override PartName="/ppt/tags/tag533.xml" ContentType="application/vnd.openxmlformats-officedocument.presentationml.tags+xml"/>
  <Override PartName="/ppt/charts/chart685.xml" ContentType="application/vnd.openxmlformats-officedocument.drawingml.chart+xml"/>
  <Override PartName="/ppt/tags/tag534.xml" ContentType="application/vnd.openxmlformats-officedocument.presentationml.tags+xml"/>
  <Override PartName="/ppt/charts/chart686.xml" ContentType="application/vnd.openxmlformats-officedocument.drawingml.chart+xml"/>
  <Override PartName="/ppt/tags/tag535.xml" ContentType="application/vnd.openxmlformats-officedocument.presentationml.tags+xml"/>
  <Override PartName="/ppt/charts/chart687.xml" ContentType="application/vnd.openxmlformats-officedocument.drawingml.chart+xml"/>
  <Override PartName="/ppt/tags/tag536.xml" ContentType="application/vnd.openxmlformats-officedocument.presentationml.tags+xml"/>
  <Override PartName="/ppt/charts/chart688.xml" ContentType="application/vnd.openxmlformats-officedocument.drawingml.chart+xml"/>
  <Override PartName="/ppt/tags/tag537.xml" ContentType="application/vnd.openxmlformats-officedocument.presentationml.tags+xml"/>
  <Override PartName="/ppt/charts/chart689.xml" ContentType="application/vnd.openxmlformats-officedocument.drawingml.chart+xml"/>
  <Override PartName="/ppt/tags/tag538.xml" ContentType="application/vnd.openxmlformats-officedocument.presentationml.tags+xml"/>
  <Override PartName="/ppt/charts/chart690.xml" ContentType="application/vnd.openxmlformats-officedocument.drawingml.chart+xml"/>
  <Override PartName="/ppt/tags/tag539.xml" ContentType="application/vnd.openxmlformats-officedocument.presentationml.tags+xml"/>
  <Override PartName="/ppt/charts/chart691.xml" ContentType="application/vnd.openxmlformats-officedocument.drawingml.chart+xml"/>
  <Override PartName="/ppt/tags/tag540.xml" ContentType="application/vnd.openxmlformats-officedocument.presentationml.tags+xml"/>
  <Override PartName="/ppt/charts/chart692.xml" ContentType="application/vnd.openxmlformats-officedocument.drawingml.chart+xml"/>
  <Override PartName="/ppt/tags/tag541.xml" ContentType="application/vnd.openxmlformats-officedocument.presentationml.tags+xml"/>
  <Override PartName="/ppt/charts/chart693.xml" ContentType="application/vnd.openxmlformats-officedocument.drawingml.chart+xml"/>
  <Override PartName="/ppt/tags/tag542.xml" ContentType="application/vnd.openxmlformats-officedocument.presentationml.tags+xml"/>
  <Override PartName="/ppt/charts/chart694.xml" ContentType="application/vnd.openxmlformats-officedocument.drawingml.chart+xml"/>
  <Override PartName="/ppt/tags/tag543.xml" ContentType="application/vnd.openxmlformats-officedocument.presentationml.tags+xml"/>
  <Override PartName="/ppt/charts/chart695.xml" ContentType="application/vnd.openxmlformats-officedocument.drawingml.chart+xml"/>
  <Override PartName="/ppt/tags/tag544.xml" ContentType="application/vnd.openxmlformats-officedocument.presentationml.tags+xml"/>
  <Override PartName="/ppt/charts/chart696.xml" ContentType="application/vnd.openxmlformats-officedocument.drawingml.chart+xml"/>
  <Override PartName="/ppt/tags/tag545.xml" ContentType="application/vnd.openxmlformats-officedocument.presentationml.tags+xml"/>
  <Override PartName="/ppt/charts/chart697.xml" ContentType="application/vnd.openxmlformats-officedocument.drawingml.chart+xml"/>
  <Override PartName="/ppt/tags/tag546.xml" ContentType="application/vnd.openxmlformats-officedocument.presentationml.tags+xml"/>
  <Override PartName="/ppt/charts/chart698.xml" ContentType="application/vnd.openxmlformats-officedocument.drawingml.chart+xml"/>
  <Override PartName="/ppt/tags/tag547.xml" ContentType="application/vnd.openxmlformats-officedocument.presentationml.tags+xml"/>
  <Override PartName="/ppt/charts/chart699.xml" ContentType="application/vnd.openxmlformats-officedocument.drawingml.chart+xml"/>
  <Override PartName="/ppt/tags/tag548.xml" ContentType="application/vnd.openxmlformats-officedocument.presentationml.tags+xml"/>
  <Override PartName="/ppt/charts/chart700.xml" ContentType="application/vnd.openxmlformats-officedocument.drawingml.chart+xml"/>
  <Override PartName="/ppt/tags/tag549.xml" ContentType="application/vnd.openxmlformats-officedocument.presentationml.tags+xml"/>
  <Override PartName="/ppt/charts/chart701.xml" ContentType="application/vnd.openxmlformats-officedocument.drawingml.chart+xml"/>
  <Override PartName="/ppt/tags/tag550.xml" ContentType="application/vnd.openxmlformats-officedocument.presentationml.tags+xml"/>
  <Override PartName="/ppt/charts/chart702.xml" ContentType="application/vnd.openxmlformats-officedocument.drawingml.chart+xml"/>
  <Override PartName="/ppt/tags/tag551.xml" ContentType="application/vnd.openxmlformats-officedocument.presentationml.tags+xml"/>
  <Override PartName="/ppt/charts/chart703.xml" ContentType="application/vnd.openxmlformats-officedocument.drawingml.chart+xml"/>
  <Override PartName="/ppt/tags/tag552.xml" ContentType="application/vnd.openxmlformats-officedocument.presentationml.tags+xml"/>
  <Override PartName="/ppt/charts/chart704.xml" ContentType="application/vnd.openxmlformats-officedocument.drawingml.chart+xml"/>
  <Override PartName="/ppt/tags/tag553.xml" ContentType="application/vnd.openxmlformats-officedocument.presentationml.tags+xml"/>
  <Override PartName="/ppt/charts/chart705.xml" ContentType="application/vnd.openxmlformats-officedocument.drawingml.chart+xml"/>
  <Override PartName="/ppt/tags/tag554.xml" ContentType="application/vnd.openxmlformats-officedocument.presentationml.tags+xml"/>
  <Override PartName="/ppt/charts/chart706.xml" ContentType="application/vnd.openxmlformats-officedocument.drawingml.chart+xml"/>
  <Override PartName="/ppt/tags/tag555.xml" ContentType="application/vnd.openxmlformats-officedocument.presentationml.tags+xml"/>
  <Override PartName="/ppt/charts/chart707.xml" ContentType="application/vnd.openxmlformats-officedocument.drawingml.chart+xml"/>
  <Override PartName="/ppt/tags/tag556.xml" ContentType="application/vnd.openxmlformats-officedocument.presentationml.tags+xml"/>
  <Override PartName="/ppt/charts/chart708.xml" ContentType="application/vnd.openxmlformats-officedocument.drawingml.chart+xml"/>
  <Override PartName="/ppt/tags/tag557.xml" ContentType="application/vnd.openxmlformats-officedocument.presentationml.tags+xml"/>
  <Override PartName="/ppt/charts/chart709.xml" ContentType="application/vnd.openxmlformats-officedocument.drawingml.chart+xml"/>
  <Override PartName="/ppt/tags/tag558.xml" ContentType="application/vnd.openxmlformats-officedocument.presentationml.tags+xml"/>
  <Override PartName="/ppt/charts/chart710.xml" ContentType="application/vnd.openxmlformats-officedocument.drawingml.chart+xml"/>
  <Override PartName="/ppt/tags/tag559.xml" ContentType="application/vnd.openxmlformats-officedocument.presentationml.tags+xml"/>
  <Override PartName="/ppt/charts/chart711.xml" ContentType="application/vnd.openxmlformats-officedocument.drawingml.chart+xml"/>
  <Override PartName="/ppt/tags/tag560.xml" ContentType="application/vnd.openxmlformats-officedocument.presentationml.tags+xml"/>
  <Override PartName="/ppt/charts/chart712.xml" ContentType="application/vnd.openxmlformats-officedocument.drawingml.chart+xml"/>
  <Override PartName="/ppt/tags/tag561.xml" ContentType="application/vnd.openxmlformats-officedocument.presentationml.tags+xml"/>
  <Override PartName="/ppt/charts/chart713.xml" ContentType="application/vnd.openxmlformats-officedocument.drawingml.chart+xml"/>
  <Override PartName="/ppt/tags/tag562.xml" ContentType="application/vnd.openxmlformats-officedocument.presentationml.tags+xml"/>
  <Override PartName="/ppt/charts/chart714.xml" ContentType="application/vnd.openxmlformats-officedocument.drawingml.chart+xml"/>
  <Override PartName="/ppt/tags/tag563.xml" ContentType="application/vnd.openxmlformats-officedocument.presentationml.tags+xml"/>
  <Override PartName="/ppt/charts/chart715.xml" ContentType="application/vnd.openxmlformats-officedocument.drawingml.chart+xml"/>
  <Override PartName="/ppt/tags/tag564.xml" ContentType="application/vnd.openxmlformats-officedocument.presentationml.tags+xml"/>
  <Override PartName="/ppt/charts/chart716.xml" ContentType="application/vnd.openxmlformats-officedocument.drawingml.chart+xml"/>
  <Override PartName="/ppt/tags/tag565.xml" ContentType="application/vnd.openxmlformats-officedocument.presentationml.tags+xml"/>
  <Override PartName="/ppt/charts/chart717.xml" ContentType="application/vnd.openxmlformats-officedocument.drawingml.chart+xml"/>
  <Override PartName="/ppt/tags/tag566.xml" ContentType="application/vnd.openxmlformats-officedocument.presentationml.tags+xml"/>
  <Override PartName="/ppt/charts/chart718.xml" ContentType="application/vnd.openxmlformats-officedocument.drawingml.chart+xml"/>
  <Override PartName="/ppt/tags/tag567.xml" ContentType="application/vnd.openxmlformats-officedocument.presentationml.tags+xml"/>
  <Override PartName="/ppt/charts/chart719.xml" ContentType="application/vnd.openxmlformats-officedocument.drawingml.chart+xml"/>
  <Override PartName="/ppt/tags/tag568.xml" ContentType="application/vnd.openxmlformats-officedocument.presentationml.tags+xml"/>
  <Override PartName="/ppt/charts/chart720.xml" ContentType="application/vnd.openxmlformats-officedocument.drawingml.chart+xml"/>
  <Override PartName="/ppt/tags/tag569.xml" ContentType="application/vnd.openxmlformats-officedocument.presentationml.tags+xml"/>
  <Override PartName="/ppt/charts/chart721.xml" ContentType="application/vnd.openxmlformats-officedocument.drawingml.chart+xml"/>
  <Override PartName="/ppt/tags/tag570.xml" ContentType="application/vnd.openxmlformats-officedocument.presentationml.tags+xml"/>
  <Override PartName="/ppt/charts/chart722.xml" ContentType="application/vnd.openxmlformats-officedocument.drawingml.chart+xml"/>
  <Override PartName="/ppt/tags/tag571.xml" ContentType="application/vnd.openxmlformats-officedocument.presentationml.tags+xml"/>
  <Override PartName="/ppt/charts/chart723.xml" ContentType="application/vnd.openxmlformats-officedocument.drawingml.chart+xml"/>
  <Override PartName="/ppt/tags/tag572.xml" ContentType="application/vnd.openxmlformats-officedocument.presentationml.tags+xml"/>
  <Override PartName="/ppt/charts/chart724.xml" ContentType="application/vnd.openxmlformats-officedocument.drawingml.chart+xml"/>
  <Override PartName="/ppt/tags/tag573.xml" ContentType="application/vnd.openxmlformats-officedocument.presentationml.tags+xml"/>
  <Override PartName="/ppt/charts/chart725.xml" ContentType="application/vnd.openxmlformats-officedocument.drawingml.chart+xml"/>
  <Override PartName="/ppt/tags/tag574.xml" ContentType="application/vnd.openxmlformats-officedocument.presentationml.tags+xml"/>
  <Override PartName="/ppt/charts/chart726.xml" ContentType="application/vnd.openxmlformats-officedocument.drawingml.chart+xml"/>
  <Override PartName="/ppt/tags/tag575.xml" ContentType="application/vnd.openxmlformats-officedocument.presentationml.tags+xml"/>
  <Override PartName="/ppt/charts/chart727.xml" ContentType="application/vnd.openxmlformats-officedocument.drawingml.chart+xml"/>
  <Override PartName="/ppt/tags/tag576.xml" ContentType="application/vnd.openxmlformats-officedocument.presentationml.tags+xml"/>
  <Override PartName="/ppt/charts/chart728.xml" ContentType="application/vnd.openxmlformats-officedocument.drawingml.chart+xml"/>
  <Override PartName="/ppt/tags/tag577.xml" ContentType="application/vnd.openxmlformats-officedocument.presentationml.tags+xml"/>
  <Override PartName="/ppt/charts/chart729.xml" ContentType="application/vnd.openxmlformats-officedocument.drawingml.chart+xml"/>
  <Override PartName="/ppt/tags/tag578.xml" ContentType="application/vnd.openxmlformats-officedocument.presentationml.tags+xml"/>
  <Override PartName="/ppt/charts/chart730.xml" ContentType="application/vnd.openxmlformats-officedocument.drawingml.chart+xml"/>
  <Override PartName="/ppt/tags/tag579.xml" ContentType="application/vnd.openxmlformats-officedocument.presentationml.tags+xml"/>
  <Override PartName="/ppt/charts/chart731.xml" ContentType="application/vnd.openxmlformats-officedocument.drawingml.chart+xml"/>
  <Override PartName="/ppt/tags/tag580.xml" ContentType="application/vnd.openxmlformats-officedocument.presentationml.tags+xml"/>
  <Override PartName="/ppt/charts/chart732.xml" ContentType="application/vnd.openxmlformats-officedocument.drawingml.chart+xml"/>
  <Override PartName="/ppt/tags/tag581.xml" ContentType="application/vnd.openxmlformats-officedocument.presentationml.tags+xml"/>
  <Override PartName="/ppt/charts/chart733.xml" ContentType="application/vnd.openxmlformats-officedocument.drawingml.chart+xml"/>
  <Override PartName="/ppt/tags/tag582.xml" ContentType="application/vnd.openxmlformats-officedocument.presentationml.tags+xml"/>
  <Override PartName="/ppt/charts/chart734.xml" ContentType="application/vnd.openxmlformats-officedocument.drawingml.chart+xml"/>
  <Override PartName="/ppt/tags/tag583.xml" ContentType="application/vnd.openxmlformats-officedocument.presentationml.tags+xml"/>
  <Override PartName="/ppt/charts/chart735.xml" ContentType="application/vnd.openxmlformats-officedocument.drawingml.chart+xml"/>
  <Override PartName="/ppt/tags/tag584.xml" ContentType="application/vnd.openxmlformats-officedocument.presentationml.tags+xml"/>
  <Override PartName="/ppt/charts/chart736.xml" ContentType="application/vnd.openxmlformats-officedocument.drawingml.chart+xml"/>
  <Override PartName="/ppt/tags/tag585.xml" ContentType="application/vnd.openxmlformats-officedocument.presentationml.tags+xml"/>
  <Override PartName="/ppt/charts/chart737.xml" ContentType="application/vnd.openxmlformats-officedocument.drawingml.chart+xml"/>
  <Override PartName="/ppt/tags/tag586.xml" ContentType="application/vnd.openxmlformats-officedocument.presentationml.tags+xml"/>
  <Override PartName="/ppt/charts/chart738.xml" ContentType="application/vnd.openxmlformats-officedocument.drawingml.chart+xml"/>
  <Override PartName="/ppt/tags/tag587.xml" ContentType="application/vnd.openxmlformats-officedocument.presentationml.tags+xml"/>
  <Override PartName="/ppt/charts/chart739.xml" ContentType="application/vnd.openxmlformats-officedocument.drawingml.chart+xml"/>
  <Override PartName="/ppt/tags/tag588.xml" ContentType="application/vnd.openxmlformats-officedocument.presentationml.tags+xml"/>
  <Override PartName="/ppt/charts/chart740.xml" ContentType="application/vnd.openxmlformats-officedocument.drawingml.chart+xml"/>
  <Override PartName="/ppt/tags/tag589.xml" ContentType="application/vnd.openxmlformats-officedocument.presentationml.tags+xml"/>
  <Override PartName="/ppt/charts/chart741.xml" ContentType="application/vnd.openxmlformats-officedocument.drawingml.chart+xml"/>
  <Override PartName="/ppt/tags/tag590.xml" ContentType="application/vnd.openxmlformats-officedocument.presentationml.tags+xml"/>
  <Override PartName="/ppt/charts/chart742.xml" ContentType="application/vnd.openxmlformats-officedocument.drawingml.chart+xml"/>
  <Override PartName="/ppt/tags/tag591.xml" ContentType="application/vnd.openxmlformats-officedocument.presentationml.tags+xml"/>
  <Override PartName="/ppt/charts/chart743.xml" ContentType="application/vnd.openxmlformats-officedocument.drawingml.chart+xml"/>
  <Override PartName="/ppt/tags/tag592.xml" ContentType="application/vnd.openxmlformats-officedocument.presentationml.tags+xml"/>
  <Override PartName="/ppt/charts/chart744.xml" ContentType="application/vnd.openxmlformats-officedocument.drawingml.chart+xml"/>
  <Override PartName="/ppt/tags/tag593.xml" ContentType="application/vnd.openxmlformats-officedocument.presentationml.tags+xml"/>
  <Override PartName="/ppt/charts/chart745.xml" ContentType="application/vnd.openxmlformats-officedocument.drawingml.chart+xml"/>
  <Override PartName="/ppt/tags/tag594.xml" ContentType="application/vnd.openxmlformats-officedocument.presentationml.tags+xml"/>
  <Override PartName="/ppt/charts/chart746.xml" ContentType="application/vnd.openxmlformats-officedocument.drawingml.chart+xml"/>
  <Override PartName="/ppt/tags/tag595.xml" ContentType="application/vnd.openxmlformats-officedocument.presentationml.tags+xml"/>
  <Override PartName="/ppt/charts/chart747.xml" ContentType="application/vnd.openxmlformats-officedocument.drawingml.chart+xml"/>
  <Override PartName="/ppt/tags/tag596.xml" ContentType="application/vnd.openxmlformats-officedocument.presentationml.tags+xml"/>
  <Override PartName="/ppt/charts/chart748.xml" ContentType="application/vnd.openxmlformats-officedocument.drawingml.chart+xml"/>
  <Override PartName="/ppt/tags/tag597.xml" ContentType="application/vnd.openxmlformats-officedocument.presentationml.tags+xml"/>
  <Override PartName="/ppt/charts/chart749.xml" ContentType="application/vnd.openxmlformats-officedocument.drawingml.chart+xml"/>
  <Override PartName="/ppt/tags/tag598.xml" ContentType="application/vnd.openxmlformats-officedocument.presentationml.tags+xml"/>
  <Override PartName="/ppt/charts/chart750.xml" ContentType="application/vnd.openxmlformats-officedocument.drawingml.chart+xml"/>
  <Override PartName="/ppt/tags/tag599.xml" ContentType="application/vnd.openxmlformats-officedocument.presentationml.tags+xml"/>
  <Override PartName="/ppt/charts/chart751.xml" ContentType="application/vnd.openxmlformats-officedocument.drawingml.chart+xml"/>
  <Override PartName="/ppt/tags/tag600.xml" ContentType="application/vnd.openxmlformats-officedocument.presentationml.tags+xml"/>
  <Override PartName="/ppt/charts/chart752.xml" ContentType="application/vnd.openxmlformats-officedocument.drawingml.chart+xml"/>
  <Override PartName="/ppt/tags/tag601.xml" ContentType="application/vnd.openxmlformats-officedocument.presentationml.tags+xml"/>
  <Override PartName="/ppt/charts/chart753.xml" ContentType="application/vnd.openxmlformats-officedocument.drawingml.chart+xml"/>
  <Override PartName="/ppt/tags/tag602.xml" ContentType="application/vnd.openxmlformats-officedocument.presentationml.tags+xml"/>
  <Override PartName="/ppt/charts/chart754.xml" ContentType="application/vnd.openxmlformats-officedocument.drawingml.chart+xml"/>
  <Override PartName="/ppt/tags/tag603.xml" ContentType="application/vnd.openxmlformats-officedocument.presentationml.tags+xml"/>
  <Override PartName="/ppt/charts/chart755.xml" ContentType="application/vnd.openxmlformats-officedocument.drawingml.chart+xml"/>
  <Override PartName="/ppt/tags/tag604.xml" ContentType="application/vnd.openxmlformats-officedocument.presentationml.tags+xml"/>
  <Override PartName="/ppt/charts/chart756.xml" ContentType="application/vnd.openxmlformats-officedocument.drawingml.chart+xml"/>
  <Override PartName="/ppt/tags/tag605.xml" ContentType="application/vnd.openxmlformats-officedocument.presentationml.tags+xml"/>
  <Override PartName="/ppt/charts/chart757.xml" ContentType="application/vnd.openxmlformats-officedocument.drawingml.chart+xml"/>
  <Override PartName="/ppt/tags/tag606.xml" ContentType="application/vnd.openxmlformats-officedocument.presentationml.tags+xml"/>
  <Override PartName="/ppt/charts/chart758.xml" ContentType="application/vnd.openxmlformats-officedocument.drawingml.chart+xml"/>
  <Override PartName="/ppt/tags/tag607.xml" ContentType="application/vnd.openxmlformats-officedocument.presentationml.tags+xml"/>
  <Override PartName="/ppt/charts/chart759.xml" ContentType="application/vnd.openxmlformats-officedocument.drawingml.chart+xml"/>
  <Override PartName="/ppt/tags/tag608.xml" ContentType="application/vnd.openxmlformats-officedocument.presentationml.tags+xml"/>
  <Override PartName="/ppt/charts/chart760.xml" ContentType="application/vnd.openxmlformats-officedocument.drawingml.chart+xml"/>
  <Override PartName="/ppt/tags/tag609.xml" ContentType="application/vnd.openxmlformats-officedocument.presentationml.tags+xml"/>
  <Override PartName="/ppt/charts/chart761.xml" ContentType="application/vnd.openxmlformats-officedocument.drawingml.chart+xml"/>
  <Override PartName="/ppt/tags/tag610.xml" ContentType="application/vnd.openxmlformats-officedocument.presentationml.tags+xml"/>
  <Override PartName="/ppt/charts/chart762.xml" ContentType="application/vnd.openxmlformats-officedocument.drawingml.chart+xml"/>
  <Override PartName="/ppt/tags/tag611.xml" ContentType="application/vnd.openxmlformats-officedocument.presentationml.tags+xml"/>
  <Override PartName="/ppt/charts/chart763.xml" ContentType="application/vnd.openxmlformats-officedocument.drawingml.chart+xml"/>
  <Override PartName="/ppt/tags/tag612.xml" ContentType="application/vnd.openxmlformats-officedocument.presentationml.tags+xml"/>
  <Override PartName="/ppt/charts/chart764.xml" ContentType="application/vnd.openxmlformats-officedocument.drawingml.chart+xml"/>
  <Override PartName="/ppt/tags/tag613.xml" ContentType="application/vnd.openxmlformats-officedocument.presentationml.tags+xml"/>
  <Override PartName="/ppt/charts/chart765.xml" ContentType="application/vnd.openxmlformats-officedocument.drawingml.chart+xml"/>
  <Override PartName="/ppt/tags/tag614.xml" ContentType="application/vnd.openxmlformats-officedocument.presentationml.tags+xml"/>
  <Override PartName="/ppt/charts/chart766.xml" ContentType="application/vnd.openxmlformats-officedocument.drawingml.chart+xml"/>
  <Override PartName="/ppt/tags/tag615.xml" ContentType="application/vnd.openxmlformats-officedocument.presentationml.tags+xml"/>
  <Override PartName="/ppt/charts/chart767.xml" ContentType="application/vnd.openxmlformats-officedocument.drawingml.chart+xml"/>
  <Override PartName="/ppt/tags/tag616.xml" ContentType="application/vnd.openxmlformats-officedocument.presentationml.tags+xml"/>
  <Override PartName="/ppt/charts/chart768.xml" ContentType="application/vnd.openxmlformats-officedocument.drawingml.chart+xml"/>
  <Override PartName="/ppt/tags/tag617.xml" ContentType="application/vnd.openxmlformats-officedocument.presentationml.tags+xml"/>
  <Override PartName="/ppt/charts/chart769.xml" ContentType="application/vnd.openxmlformats-officedocument.drawingml.chart+xml"/>
  <Override PartName="/ppt/tags/tag618.xml" ContentType="application/vnd.openxmlformats-officedocument.presentationml.tags+xml"/>
  <Override PartName="/ppt/charts/chart770.xml" ContentType="application/vnd.openxmlformats-officedocument.drawingml.chart+xml"/>
  <Override PartName="/ppt/tags/tag619.xml" ContentType="application/vnd.openxmlformats-officedocument.presentationml.tags+xml"/>
  <Override PartName="/ppt/charts/chart771.xml" ContentType="application/vnd.openxmlformats-officedocument.drawingml.chart+xml"/>
  <Override PartName="/ppt/tags/tag620.xml" ContentType="application/vnd.openxmlformats-officedocument.presentationml.tags+xml"/>
  <Override PartName="/ppt/charts/chart772.xml" ContentType="application/vnd.openxmlformats-officedocument.drawingml.chart+xml"/>
  <Override PartName="/ppt/tags/tag621.xml" ContentType="application/vnd.openxmlformats-officedocument.presentationml.tags+xml"/>
  <Override PartName="/ppt/charts/chart773.xml" ContentType="application/vnd.openxmlformats-officedocument.drawingml.chart+xml"/>
  <Override PartName="/ppt/tags/tag622.xml" ContentType="application/vnd.openxmlformats-officedocument.presentationml.tags+xml"/>
  <Override PartName="/ppt/charts/chart774.xml" ContentType="application/vnd.openxmlformats-officedocument.drawingml.chart+xml"/>
  <Override PartName="/ppt/tags/tag623.xml" ContentType="application/vnd.openxmlformats-officedocument.presentationml.tags+xml"/>
  <Override PartName="/ppt/charts/chart775.xml" ContentType="application/vnd.openxmlformats-officedocument.drawingml.chart+xml"/>
  <Override PartName="/ppt/tags/tag624.xml" ContentType="application/vnd.openxmlformats-officedocument.presentationml.tags+xml"/>
  <Override PartName="/ppt/charts/chart776.xml" ContentType="application/vnd.openxmlformats-officedocument.drawingml.chart+xml"/>
  <Override PartName="/ppt/tags/tag625.xml" ContentType="application/vnd.openxmlformats-officedocument.presentationml.tags+xml"/>
  <Override PartName="/ppt/charts/chart777.xml" ContentType="application/vnd.openxmlformats-officedocument.drawingml.chart+xml"/>
  <Override PartName="/ppt/tags/tag626.xml" ContentType="application/vnd.openxmlformats-officedocument.presentationml.tags+xml"/>
  <Override PartName="/ppt/charts/chart778.xml" ContentType="application/vnd.openxmlformats-officedocument.drawingml.chart+xml"/>
  <Override PartName="/ppt/tags/tag627.xml" ContentType="application/vnd.openxmlformats-officedocument.presentationml.tags+xml"/>
  <Override PartName="/ppt/charts/chart779.xml" ContentType="application/vnd.openxmlformats-officedocument.drawingml.chart+xml"/>
  <Override PartName="/ppt/tags/tag628.xml" ContentType="application/vnd.openxmlformats-officedocument.presentationml.tags+xml"/>
  <Override PartName="/ppt/charts/chart780.xml" ContentType="application/vnd.openxmlformats-officedocument.drawingml.chart+xml"/>
  <Override PartName="/ppt/tags/tag629.xml" ContentType="application/vnd.openxmlformats-officedocument.presentationml.tags+xml"/>
  <Override PartName="/ppt/charts/chart781.xml" ContentType="application/vnd.openxmlformats-officedocument.drawingml.chart+xml"/>
  <Override PartName="/ppt/tags/tag630.xml" ContentType="application/vnd.openxmlformats-officedocument.presentationml.tags+xml"/>
  <Override PartName="/ppt/charts/chart782.xml" ContentType="application/vnd.openxmlformats-officedocument.drawingml.chart+xml"/>
  <Override PartName="/ppt/tags/tag631.xml" ContentType="application/vnd.openxmlformats-officedocument.presentationml.tags+xml"/>
  <Override PartName="/ppt/charts/chart783.xml" ContentType="application/vnd.openxmlformats-officedocument.drawingml.chart+xml"/>
  <Override PartName="/ppt/tags/tag632.xml" ContentType="application/vnd.openxmlformats-officedocument.presentationml.tags+xml"/>
  <Override PartName="/ppt/charts/chart784.xml" ContentType="application/vnd.openxmlformats-officedocument.drawingml.chart+xml"/>
  <Override PartName="/ppt/tags/tag633.xml" ContentType="application/vnd.openxmlformats-officedocument.presentationml.tags+xml"/>
  <Override PartName="/ppt/charts/chart785.xml" ContentType="application/vnd.openxmlformats-officedocument.drawingml.chart+xml"/>
  <Override PartName="/ppt/tags/tag634.xml" ContentType="application/vnd.openxmlformats-officedocument.presentationml.tags+xml"/>
  <Override PartName="/ppt/charts/chart786.xml" ContentType="application/vnd.openxmlformats-officedocument.drawingml.chart+xml"/>
  <Override PartName="/ppt/tags/tag635.xml" ContentType="application/vnd.openxmlformats-officedocument.presentationml.tags+xml"/>
  <Override PartName="/ppt/charts/chart787.xml" ContentType="application/vnd.openxmlformats-officedocument.drawingml.chart+xml"/>
  <Override PartName="/ppt/tags/tag636.xml" ContentType="application/vnd.openxmlformats-officedocument.presentationml.tags+xml"/>
  <Override PartName="/ppt/charts/chart788.xml" ContentType="application/vnd.openxmlformats-officedocument.drawingml.chart+xml"/>
  <Override PartName="/ppt/tags/tag637.xml" ContentType="application/vnd.openxmlformats-officedocument.presentationml.tags+xml"/>
  <Override PartName="/ppt/charts/chart789.xml" ContentType="application/vnd.openxmlformats-officedocument.drawingml.chart+xml"/>
  <Override PartName="/ppt/tags/tag638.xml" ContentType="application/vnd.openxmlformats-officedocument.presentationml.tags+xml"/>
  <Override PartName="/ppt/charts/chart790.xml" ContentType="application/vnd.openxmlformats-officedocument.drawingml.chart+xml"/>
  <Override PartName="/ppt/tags/tag639.xml" ContentType="application/vnd.openxmlformats-officedocument.presentationml.tags+xml"/>
  <Override PartName="/ppt/charts/chart791.xml" ContentType="application/vnd.openxmlformats-officedocument.drawingml.chart+xml"/>
  <Override PartName="/ppt/tags/tag640.xml" ContentType="application/vnd.openxmlformats-officedocument.presentationml.tags+xml"/>
  <Override PartName="/ppt/charts/chart792.xml" ContentType="application/vnd.openxmlformats-officedocument.drawingml.chart+xml"/>
  <Override PartName="/ppt/tags/tag641.xml" ContentType="application/vnd.openxmlformats-officedocument.presentationml.tags+xml"/>
  <Override PartName="/ppt/charts/chart793.xml" ContentType="application/vnd.openxmlformats-officedocument.drawingml.chart+xml"/>
  <Override PartName="/ppt/tags/tag642.xml" ContentType="application/vnd.openxmlformats-officedocument.presentationml.tags+xml"/>
  <Override PartName="/ppt/charts/chart794.xml" ContentType="application/vnd.openxmlformats-officedocument.drawingml.chart+xml"/>
  <Override PartName="/ppt/tags/tag643.xml" ContentType="application/vnd.openxmlformats-officedocument.presentationml.tags+xml"/>
  <Override PartName="/ppt/charts/chart795.xml" ContentType="application/vnd.openxmlformats-officedocument.drawingml.chart+xml"/>
  <Override PartName="/ppt/tags/tag644.xml" ContentType="application/vnd.openxmlformats-officedocument.presentationml.tags+xml"/>
  <Override PartName="/ppt/charts/chart796.xml" ContentType="application/vnd.openxmlformats-officedocument.drawingml.chart+xml"/>
  <Override PartName="/ppt/tags/tag645.xml" ContentType="application/vnd.openxmlformats-officedocument.presentationml.tags+xml"/>
  <Override PartName="/ppt/charts/chart797.xml" ContentType="application/vnd.openxmlformats-officedocument.drawingml.chart+xml"/>
  <Override PartName="/ppt/tags/tag646.xml" ContentType="application/vnd.openxmlformats-officedocument.presentationml.tags+xml"/>
  <Override PartName="/ppt/charts/chart798.xml" ContentType="application/vnd.openxmlformats-officedocument.drawingml.chart+xml"/>
  <Override PartName="/ppt/tags/tag647.xml" ContentType="application/vnd.openxmlformats-officedocument.presentationml.tags+xml"/>
  <Override PartName="/ppt/charts/chart799.xml" ContentType="application/vnd.openxmlformats-officedocument.drawingml.chart+xml"/>
  <Override PartName="/ppt/tags/tag648.xml" ContentType="application/vnd.openxmlformats-officedocument.presentationml.tags+xml"/>
  <Override PartName="/ppt/charts/chart800.xml" ContentType="application/vnd.openxmlformats-officedocument.drawingml.chart+xml"/>
  <Override PartName="/ppt/tags/tag649.xml" ContentType="application/vnd.openxmlformats-officedocument.presentationml.tags+xml"/>
  <Override PartName="/ppt/charts/chart801.xml" ContentType="application/vnd.openxmlformats-officedocument.drawingml.chart+xml"/>
  <Override PartName="/ppt/tags/tag650.xml" ContentType="application/vnd.openxmlformats-officedocument.presentationml.tags+xml"/>
  <Override PartName="/ppt/charts/chart802.xml" ContentType="application/vnd.openxmlformats-officedocument.drawingml.chart+xml"/>
  <Override PartName="/ppt/tags/tag651.xml" ContentType="application/vnd.openxmlformats-officedocument.presentationml.tags+xml"/>
  <Override PartName="/ppt/charts/chart803.xml" ContentType="application/vnd.openxmlformats-officedocument.drawingml.chart+xml"/>
  <Override PartName="/ppt/tags/tag652.xml" ContentType="application/vnd.openxmlformats-officedocument.presentationml.tags+xml"/>
  <Override PartName="/ppt/charts/chart804.xml" ContentType="application/vnd.openxmlformats-officedocument.drawingml.chart+xml"/>
  <Override PartName="/ppt/tags/tag653.xml" ContentType="application/vnd.openxmlformats-officedocument.presentationml.tags+xml"/>
  <Override PartName="/ppt/charts/chart805.xml" ContentType="application/vnd.openxmlformats-officedocument.drawingml.chart+xml"/>
  <Override PartName="/ppt/tags/tag654.xml" ContentType="application/vnd.openxmlformats-officedocument.presentationml.tags+xml"/>
  <Override PartName="/ppt/charts/chart806.xml" ContentType="application/vnd.openxmlformats-officedocument.drawingml.chart+xml"/>
  <Override PartName="/ppt/tags/tag655.xml" ContentType="application/vnd.openxmlformats-officedocument.presentationml.tags+xml"/>
  <Override PartName="/ppt/charts/chart807.xml" ContentType="application/vnd.openxmlformats-officedocument.drawingml.chart+xml"/>
  <Override PartName="/ppt/tags/tag656.xml" ContentType="application/vnd.openxmlformats-officedocument.presentationml.tags+xml"/>
  <Override PartName="/ppt/notesSlides/notesSlide1.xml" ContentType="application/vnd.openxmlformats-officedocument.presentationml.notesSlide+xml"/>
  <Override PartName="/ppt/tags/tag657.xml" ContentType="application/vnd.openxmlformats-officedocument.presentationml.tags+xml"/>
  <Override PartName="/ppt/notesSlides/notesSlide2.xml" ContentType="application/vnd.openxmlformats-officedocument.presentationml.notesSlide+xml"/>
  <Override PartName="/ppt/tags/tag658.xml" ContentType="application/vnd.openxmlformats-officedocument.presentationml.tags+xml"/>
  <Override PartName="/ppt/notesSlides/notesSlide3.xml" ContentType="application/vnd.openxmlformats-officedocument.presentationml.notesSlide+xml"/>
  <Override PartName="/ppt/tags/tag659.xml" ContentType="application/vnd.openxmlformats-officedocument.presentationml.tags+xml"/>
  <Override PartName="/ppt/notesSlides/notesSlide4.xml" ContentType="application/vnd.openxmlformats-officedocument.presentationml.notesSlide+xml"/>
  <Override PartName="/ppt/tags/tag660.xml" ContentType="application/vnd.openxmlformats-officedocument.presentationml.tags+xml"/>
  <Override PartName="/ppt/notesSlides/notesSlide5.xml" ContentType="application/vnd.openxmlformats-officedocument.presentationml.notesSlide+xml"/>
  <Override PartName="/ppt/tags/tag661.xml" ContentType="application/vnd.openxmlformats-officedocument.presentationml.tags+xml"/>
  <Override PartName="/ppt/notesSlides/notesSlide6.xml" ContentType="application/vnd.openxmlformats-officedocument.presentationml.notesSlide+xml"/>
  <Override PartName="/ppt/tags/tag662.xml" ContentType="application/vnd.openxmlformats-officedocument.presentationml.tags+xml"/>
  <Override PartName="/ppt/notesSlides/notesSlide7.xml" ContentType="application/vnd.openxmlformats-officedocument.presentationml.notesSlide+xml"/>
  <Override PartName="/ppt/tags/tag663.xml" ContentType="application/vnd.openxmlformats-officedocument.presentationml.tags+xml"/>
  <Override PartName="/ppt/notesSlides/notesSlide8.xml" ContentType="application/vnd.openxmlformats-officedocument.presentationml.notesSlide+xml"/>
  <Override PartName="/ppt/tags/tag664.xml" ContentType="application/vnd.openxmlformats-officedocument.presentationml.tags+xml"/>
  <Override PartName="/ppt/notesSlides/notesSlide9.xml" ContentType="application/vnd.openxmlformats-officedocument.presentationml.notesSlide+xml"/>
  <Override PartName="/ppt/tags/tag665.xml" ContentType="application/vnd.openxmlformats-officedocument.presentationml.tags+xml"/>
  <Override PartName="/ppt/notesSlides/notesSlide10.xml" ContentType="application/vnd.openxmlformats-officedocument.presentationml.notesSlide+xml"/>
  <Override PartName="/ppt/tags/tag666.xml" ContentType="application/vnd.openxmlformats-officedocument.presentationml.tags+xml"/>
  <Override PartName="/ppt/notesSlides/notesSlide11.xml" ContentType="application/vnd.openxmlformats-officedocument.presentationml.notesSlide+xml"/>
  <Override PartName="/ppt/tags/tag667.xml" ContentType="application/vnd.openxmlformats-officedocument.presentationml.tags+xml"/>
  <Override PartName="/ppt/notesSlides/notesSlide12.xml" ContentType="application/vnd.openxmlformats-officedocument.presentationml.notesSlide+xml"/>
  <Override PartName="/ppt/tags/tag668.xml" ContentType="application/vnd.openxmlformats-officedocument.presentationml.tags+xml"/>
  <Override PartName="/ppt/notesSlides/notesSlide13.xml" ContentType="application/vnd.openxmlformats-officedocument.presentationml.notesSlide+xml"/>
  <Override PartName="/ppt/tags/tag669.xml" ContentType="application/vnd.openxmlformats-officedocument.presentationml.tags+xml"/>
  <Override PartName="/ppt/notesSlides/notesSlide14.xml" ContentType="application/vnd.openxmlformats-officedocument.presentationml.notesSlide+xml"/>
  <Override PartName="/ppt/tags/tag670.xml" ContentType="application/vnd.openxmlformats-officedocument.presentationml.tags+xml"/>
  <Override PartName="/ppt/notesSlides/notesSlide15.xml" ContentType="application/vnd.openxmlformats-officedocument.presentationml.notesSlide+xml"/>
  <Override PartName="/ppt/tags/tag671.xml" ContentType="application/vnd.openxmlformats-officedocument.presentationml.tags+xml"/>
  <Override PartName="/ppt/notesSlides/notesSlide16.xml" ContentType="application/vnd.openxmlformats-officedocument.presentationml.notesSlide+xml"/>
  <Override PartName="/ppt/tags/tag672.xml" ContentType="application/vnd.openxmlformats-officedocument.presentationml.tags+xml"/>
  <Override PartName="/ppt/notesSlides/notesSlide17.xml" ContentType="application/vnd.openxmlformats-officedocument.presentationml.notesSlide+xml"/>
  <Override PartName="/ppt/tags/tag673.xml" ContentType="application/vnd.openxmlformats-officedocument.presentationml.tags+xml"/>
  <Override PartName="/ppt/notesSlides/notesSlide18.xml" ContentType="application/vnd.openxmlformats-officedocument.presentationml.notesSlide+xml"/>
  <Override PartName="/ppt/tags/tag674.xml" ContentType="application/vnd.openxmlformats-officedocument.presentationml.tags+xml"/>
  <Override PartName="/ppt/notesSlides/notesSlide19.xml" ContentType="application/vnd.openxmlformats-officedocument.presentationml.notesSlide+xml"/>
  <Override PartName="/ppt/tags/tag675.xml" ContentType="application/vnd.openxmlformats-officedocument.presentationml.tags+xml"/>
  <Override PartName="/ppt/notesSlides/notesSlide20.xml" ContentType="application/vnd.openxmlformats-officedocument.presentationml.notesSlide+xml"/>
  <Override PartName="/ppt/tags/tag676.xml" ContentType="application/vnd.openxmlformats-officedocument.presentationml.tags+xml"/>
  <Override PartName="/ppt/notesSlides/notesSlide21.xml" ContentType="application/vnd.openxmlformats-officedocument.presentationml.notesSlide+xml"/>
  <Override PartName="/ppt/tags/tag677.xml" ContentType="application/vnd.openxmlformats-officedocument.presentationml.tags+xml"/>
  <Override PartName="/ppt/notesSlides/notesSlide22.xml" ContentType="application/vnd.openxmlformats-officedocument.presentationml.notesSlide+xml"/>
  <Override PartName="/ppt/tags/tag678.xml" ContentType="application/vnd.openxmlformats-officedocument.presentationml.tags+xml"/>
  <Override PartName="/ppt/notesSlides/notesSlide23.xml" ContentType="application/vnd.openxmlformats-officedocument.presentationml.notesSlide+xml"/>
  <Override PartName="/ppt/tags/tag679.xml" ContentType="application/vnd.openxmlformats-officedocument.presentationml.tags+xml"/>
  <Override PartName="/ppt/notesSlides/notesSlide24.xml" ContentType="application/vnd.openxmlformats-officedocument.presentationml.notesSlide+xml"/>
  <Override PartName="/ppt/tags/tag680.xml" ContentType="application/vnd.openxmlformats-officedocument.presentationml.tags+xml"/>
  <Override PartName="/ppt/notesSlides/notesSlide25.xml" ContentType="application/vnd.openxmlformats-officedocument.presentationml.notesSlide+xml"/>
  <Override PartName="/ppt/tags/tag681.xml" ContentType="application/vnd.openxmlformats-officedocument.presentationml.tags+xml"/>
  <Override PartName="/ppt/notesSlides/notesSlide26.xml" ContentType="application/vnd.openxmlformats-officedocument.presentationml.notesSlide+xml"/>
  <Override PartName="/ppt/tags/tag682.xml" ContentType="application/vnd.openxmlformats-officedocument.presentationml.tags+xml"/>
  <Override PartName="/ppt/notesSlides/notesSlide27.xml" ContentType="application/vnd.openxmlformats-officedocument.presentationml.notesSlide+xml"/>
  <Override PartName="/ppt/tags/tag683.xml" ContentType="application/vnd.openxmlformats-officedocument.presentationml.tags+xml"/>
  <Override PartName="/ppt/notesSlides/notesSlide28.xml" ContentType="application/vnd.openxmlformats-officedocument.presentationml.notesSlide+xml"/>
  <Override PartName="/ppt/tags/tag684.xml" ContentType="application/vnd.openxmlformats-officedocument.presentationml.tags+xml"/>
  <Override PartName="/ppt/notesSlides/notesSlide29.xml" ContentType="application/vnd.openxmlformats-officedocument.presentationml.notesSlide+xml"/>
  <Override PartName="/ppt/tags/tag685.xml" ContentType="application/vnd.openxmlformats-officedocument.presentationml.tags+xml"/>
  <Override PartName="/ppt/notesSlides/notesSlide30.xml" ContentType="application/vnd.openxmlformats-officedocument.presentationml.notesSlide+xml"/>
  <Override PartName="/ppt/tags/tag686.xml" ContentType="application/vnd.openxmlformats-officedocument.presentationml.tags+xml"/>
  <Override PartName="/ppt/notesSlides/notesSlide31.xml" ContentType="application/vnd.openxmlformats-officedocument.presentationml.notesSlide+xml"/>
  <Override PartName="/ppt/tags/tag687.xml" ContentType="application/vnd.openxmlformats-officedocument.presentationml.tags+xml"/>
  <Override PartName="/ppt/notesSlides/notesSlide32.xml" ContentType="application/vnd.openxmlformats-officedocument.presentationml.notesSlide+xml"/>
  <Override PartName="/ppt/tags/tag688.xml" ContentType="application/vnd.openxmlformats-officedocument.presentationml.tags+xml"/>
  <Override PartName="/ppt/notesSlides/notesSlide33.xml" ContentType="application/vnd.openxmlformats-officedocument.presentationml.notesSlide+xml"/>
  <Override PartName="/ppt/tags/tag689.xml" ContentType="application/vnd.openxmlformats-officedocument.presentationml.tags+xml"/>
  <Override PartName="/ppt/notesSlides/notesSlide34.xml" ContentType="application/vnd.openxmlformats-officedocument.presentationml.notesSlide+xml"/>
  <Override PartName="/ppt/tags/tag690.xml" ContentType="application/vnd.openxmlformats-officedocument.presentationml.tags+xml"/>
  <Override PartName="/ppt/notesSlides/notesSlide35.xml" ContentType="application/vnd.openxmlformats-officedocument.presentationml.notesSlide+xml"/>
  <Override PartName="/ppt/tags/tag691.xml" ContentType="application/vnd.openxmlformats-officedocument.presentationml.tags+xml"/>
  <Override PartName="/ppt/notesSlides/notesSlide36.xml" ContentType="application/vnd.openxmlformats-officedocument.presentationml.notesSlide+xml"/>
  <Override PartName="/ppt/tags/tag692.xml" ContentType="application/vnd.openxmlformats-officedocument.presentationml.tags+xml"/>
  <Override PartName="/ppt/notesSlides/notesSlide37.xml" ContentType="application/vnd.openxmlformats-officedocument.presentationml.notesSlide+xml"/>
  <Override PartName="/ppt/tags/tag693.xml" ContentType="application/vnd.openxmlformats-officedocument.presentationml.tags+xml"/>
  <Override PartName="/ppt/notesSlides/notesSlide38.xml" ContentType="application/vnd.openxmlformats-officedocument.presentationml.notesSlide+xml"/>
  <Override PartName="/ppt/tags/tag694.xml" ContentType="application/vnd.openxmlformats-officedocument.presentationml.tags+xml"/>
  <Override PartName="/ppt/notesSlides/notesSlide39.xml" ContentType="application/vnd.openxmlformats-officedocument.presentationml.notesSlide+xml"/>
  <Override PartName="/ppt/tags/tag695.xml" ContentType="application/vnd.openxmlformats-officedocument.presentationml.tags+xml"/>
  <Override PartName="/ppt/notesSlides/notesSlide40.xml" ContentType="application/vnd.openxmlformats-officedocument.presentationml.notesSlide+xml"/>
  <Override PartName="/ppt/tags/tag696.xml" ContentType="application/vnd.openxmlformats-officedocument.presentationml.tags+xml"/>
  <Override PartName="/ppt/notesSlides/notesSlide41.xml" ContentType="application/vnd.openxmlformats-officedocument.presentationml.notesSlide+xml"/>
  <Override PartName="/ppt/tags/tag697.xml" ContentType="application/vnd.openxmlformats-officedocument.presentationml.tags+xml"/>
  <Override PartName="/ppt/notesSlides/notesSlide42.xml" ContentType="application/vnd.openxmlformats-officedocument.presentationml.notesSlide+xml"/>
  <Override PartName="/ppt/tags/tag698.xml" ContentType="application/vnd.openxmlformats-officedocument.presentationml.tags+xml"/>
  <Override PartName="/ppt/notesSlides/notesSlide43.xml" ContentType="application/vnd.openxmlformats-officedocument.presentationml.notesSlide+xml"/>
  <Override PartName="/ppt/tags/tag699.xml" ContentType="application/vnd.openxmlformats-officedocument.presentationml.tags+xml"/>
  <Override PartName="/ppt/notesSlides/notesSlide44.xml" ContentType="application/vnd.openxmlformats-officedocument.presentationml.notesSlide+xml"/>
  <Override PartName="/ppt/tags/tag700.xml" ContentType="application/vnd.openxmlformats-officedocument.presentationml.tags+xml"/>
  <Override PartName="/ppt/notesSlides/notesSlide45.xml" ContentType="application/vnd.openxmlformats-officedocument.presentationml.notesSlide+xml"/>
  <Override PartName="/ppt/tags/tag701.xml" ContentType="application/vnd.openxmlformats-officedocument.presentationml.tags+xml"/>
  <Override PartName="/ppt/notesSlides/notesSlide46.xml" ContentType="application/vnd.openxmlformats-officedocument.presentationml.notesSlide+xml"/>
  <Override PartName="/ppt/tags/tag702.xml" ContentType="application/vnd.openxmlformats-officedocument.presentationml.tags+xml"/>
  <Override PartName="/ppt/notesSlides/notesSlide47.xml" ContentType="application/vnd.openxmlformats-officedocument.presentationml.notesSlide+xml"/>
  <Override PartName="/ppt/tags/tag703.xml" ContentType="application/vnd.openxmlformats-officedocument.presentationml.tags+xml"/>
  <Override PartName="/ppt/notesSlides/notesSlide48.xml" ContentType="application/vnd.openxmlformats-officedocument.presentationml.notesSlide+xml"/>
  <Override PartName="/ppt/tags/tag704.xml" ContentType="application/vnd.openxmlformats-officedocument.presentationml.tags+xml"/>
  <Override PartName="/ppt/notesSlides/notesSlide49.xml" ContentType="application/vnd.openxmlformats-officedocument.presentationml.notesSlide+xml"/>
  <Override PartName="/ppt/tags/tag705.xml" ContentType="application/vnd.openxmlformats-officedocument.presentationml.tags+xml"/>
  <Override PartName="/ppt/notesSlides/notesSlide50.xml" ContentType="application/vnd.openxmlformats-officedocument.presentationml.notesSlide+xml"/>
  <Override PartName="/ppt/tags/tag706.xml" ContentType="application/vnd.openxmlformats-officedocument.presentationml.tags+xml"/>
  <Override PartName="/ppt/notesSlides/notesSlide51.xml" ContentType="application/vnd.openxmlformats-officedocument.presentationml.notesSlide+xml"/>
  <Override PartName="/ppt/tags/tag707.xml" ContentType="application/vnd.openxmlformats-officedocument.presentationml.tags+xml"/>
  <Override PartName="/ppt/notesSlides/notesSlide52.xml" ContentType="application/vnd.openxmlformats-officedocument.presentationml.notesSlide+xml"/>
  <Override PartName="/ppt/tags/tag708.xml" ContentType="application/vnd.openxmlformats-officedocument.presentationml.tags+xml"/>
  <Override PartName="/ppt/notesSlides/notesSlide53.xml" ContentType="application/vnd.openxmlformats-officedocument.presentationml.notesSlide+xml"/>
  <Override PartName="/ppt/tags/tag709.xml" ContentType="application/vnd.openxmlformats-officedocument.presentationml.tags+xml"/>
  <Override PartName="/ppt/notesSlides/notesSlide54.xml" ContentType="application/vnd.openxmlformats-officedocument.presentationml.notesSlide+xml"/>
  <Override PartName="/ppt/tags/tag710.xml" ContentType="application/vnd.openxmlformats-officedocument.presentationml.tags+xml"/>
  <Override PartName="/ppt/notesSlides/notesSlide55.xml" ContentType="application/vnd.openxmlformats-officedocument.presentationml.notesSlide+xml"/>
  <Override PartName="/ppt/tags/tag711.xml" ContentType="application/vnd.openxmlformats-officedocument.presentationml.tags+xml"/>
  <Override PartName="/ppt/notesSlides/notesSlide56.xml" ContentType="application/vnd.openxmlformats-officedocument.presentationml.notesSlide+xml"/>
  <Override PartName="/ppt/tags/tag712.xml" ContentType="application/vnd.openxmlformats-officedocument.presentationml.tags+xml"/>
  <Override PartName="/ppt/notesSlides/notesSlide57.xml" ContentType="application/vnd.openxmlformats-officedocument.presentationml.notesSlide+xml"/>
  <Override PartName="/ppt/tags/tag713.xml" ContentType="application/vnd.openxmlformats-officedocument.presentationml.tags+xml"/>
  <Override PartName="/ppt/notesSlides/notesSlide58.xml" ContentType="application/vnd.openxmlformats-officedocument.presentationml.notesSlide+xml"/>
  <Override PartName="/ppt/tags/tag714.xml" ContentType="application/vnd.openxmlformats-officedocument.presentationml.tags+xml"/>
  <Override PartName="/ppt/notesSlides/notesSlide59.xml" ContentType="application/vnd.openxmlformats-officedocument.presentationml.notesSlide+xml"/>
  <Override PartName="/ppt/tags/tag715.xml" ContentType="application/vnd.openxmlformats-officedocument.presentationml.tags+xml"/>
  <Override PartName="/ppt/notesSlides/notesSlide60.xml" ContentType="application/vnd.openxmlformats-officedocument.presentationml.notesSlide+xml"/>
  <Override PartName="/ppt/tags/tag716.xml" ContentType="application/vnd.openxmlformats-officedocument.presentationml.tags+xml"/>
  <Override PartName="/ppt/notesSlides/notesSlide61.xml" ContentType="application/vnd.openxmlformats-officedocument.presentationml.notesSlide+xml"/>
  <Override PartName="/ppt/tags/tag717.xml" ContentType="application/vnd.openxmlformats-officedocument.presentationml.tags+xml"/>
  <Override PartName="/ppt/notesSlides/notesSlide62.xml" ContentType="application/vnd.openxmlformats-officedocument.presentationml.notesSlide+xml"/>
  <Override PartName="/ppt/tags/tag718.xml" ContentType="application/vnd.openxmlformats-officedocument.presentationml.tags+xml"/>
  <Override PartName="/ppt/notesSlides/notesSlide63.xml" ContentType="application/vnd.openxmlformats-officedocument.presentationml.notesSlide+xml"/>
  <Override PartName="/ppt/tags/tag719.xml" ContentType="application/vnd.openxmlformats-officedocument.presentationml.tags+xml"/>
  <Override PartName="/ppt/notesSlides/notesSlide64.xml" ContentType="application/vnd.openxmlformats-officedocument.presentationml.notesSlide+xml"/>
  <Override PartName="/ppt/tags/tag720.xml" ContentType="application/vnd.openxmlformats-officedocument.presentationml.tags+xml"/>
  <Override PartName="/ppt/notesSlides/notesSlide65.xml" ContentType="application/vnd.openxmlformats-officedocument.presentationml.notesSlide+xml"/>
  <Override PartName="/ppt/tags/tag721.xml" ContentType="application/vnd.openxmlformats-officedocument.presentationml.tags+xml"/>
  <Override PartName="/ppt/notesSlides/notesSlide66.xml" ContentType="application/vnd.openxmlformats-officedocument.presentationml.notesSlide+xml"/>
  <Override PartName="/ppt/tags/tag722.xml" ContentType="application/vnd.openxmlformats-officedocument.presentationml.tags+xml"/>
  <Override PartName="/ppt/notesSlides/notesSlide67.xml" ContentType="application/vnd.openxmlformats-officedocument.presentationml.notesSlide+xml"/>
  <Override PartName="/ppt/charts/chart808.xml" ContentType="application/vnd.openxmlformats-officedocument.drawingml.chart+xml"/>
  <Override PartName="/ppt/charts/style1.xml" ContentType="application/vnd.ms-office.chartstyle+xml"/>
  <Override PartName="/ppt/charts/colors1.xml" ContentType="application/vnd.ms-office.chartcolorstyle+xml"/>
  <Override PartName="/ppt/tags/tag723.xml" ContentType="application/vnd.openxmlformats-officedocument.presentationml.tags+xml"/>
  <Override PartName="/ppt/notesSlides/notesSlide68.xml" ContentType="application/vnd.openxmlformats-officedocument.presentationml.notesSlide+xml"/>
  <Override PartName="/ppt/charts/chart809.xml" ContentType="application/vnd.openxmlformats-officedocument.drawingml.chart+xml"/>
  <Override PartName="/ppt/charts/style2.xml" ContentType="application/vnd.ms-office.chartstyle+xml"/>
  <Override PartName="/ppt/charts/colors2.xml" ContentType="application/vnd.ms-office.chartcolorstyle+xml"/>
  <Override PartName="/ppt/tags/tag724.xml" ContentType="application/vnd.openxmlformats-officedocument.presentationml.tags+xml"/>
  <Override PartName="/ppt/notesSlides/notesSlide69.xml" ContentType="application/vnd.openxmlformats-officedocument.presentationml.notesSlide+xml"/>
  <Override PartName="/ppt/charts/chart810.xml" ContentType="application/vnd.openxmlformats-officedocument.drawingml.chart+xml"/>
  <Override PartName="/ppt/charts/style3.xml" ContentType="application/vnd.ms-office.chartstyle+xml"/>
  <Override PartName="/ppt/charts/colors3.xml" ContentType="application/vnd.ms-office.chartcolorstyle+xml"/>
  <Override PartName="/ppt/tags/tag725.xml" ContentType="application/vnd.openxmlformats-officedocument.presentationml.tags+xml"/>
  <Override PartName="/ppt/notesSlides/notesSlide70.xml" ContentType="application/vnd.openxmlformats-officedocument.presentationml.notesSlide+xml"/>
  <Override PartName="/ppt/charts/chart811.xml" ContentType="application/vnd.openxmlformats-officedocument.drawingml.chart+xml"/>
  <Override PartName="/ppt/charts/style4.xml" ContentType="application/vnd.ms-office.chartstyle+xml"/>
  <Override PartName="/ppt/charts/colors4.xml" ContentType="application/vnd.ms-office.chartcolorstyle+xml"/>
  <Override PartName="/ppt/tags/tag726.xml" ContentType="application/vnd.openxmlformats-officedocument.presentationml.tags+xml"/>
  <Override PartName="/ppt/notesSlides/notesSlide71.xml" ContentType="application/vnd.openxmlformats-officedocument.presentationml.notesSlide+xml"/>
  <Override PartName="/ppt/charts/chart812.xml" ContentType="application/vnd.openxmlformats-officedocument.drawingml.chart+xml"/>
  <Override PartName="/ppt/charts/style5.xml" ContentType="application/vnd.ms-office.chartstyle+xml"/>
  <Override PartName="/ppt/charts/colors5.xml" ContentType="application/vnd.ms-office.chartcolorstyle+xml"/>
  <Override PartName="/ppt/tags/tag727.xml" ContentType="application/vnd.openxmlformats-officedocument.presentationml.tags+xml"/>
  <Override PartName="/ppt/notesSlides/notesSlide72.xml" ContentType="application/vnd.openxmlformats-officedocument.presentationml.notesSlide+xml"/>
  <Override PartName="/ppt/charts/chart813.xml" ContentType="application/vnd.openxmlformats-officedocument.drawingml.chart+xml"/>
  <Override PartName="/ppt/charts/style6.xml" ContentType="application/vnd.ms-office.chartstyle+xml"/>
  <Override PartName="/ppt/charts/colors6.xml" ContentType="application/vnd.ms-office.chartcolorstyle+xml"/>
  <Override PartName="/ppt/tags/tag728.xml" ContentType="application/vnd.openxmlformats-officedocument.presentationml.tags+xml"/>
  <Override PartName="/ppt/notesSlides/notesSlide73.xml" ContentType="application/vnd.openxmlformats-officedocument.presentationml.notesSlide+xml"/>
  <Override PartName="/ppt/charts/chart814.xml" ContentType="application/vnd.openxmlformats-officedocument.drawingml.chart+xml"/>
  <Override PartName="/ppt/charts/style7.xml" ContentType="application/vnd.ms-office.chartstyle+xml"/>
  <Override PartName="/ppt/charts/colors7.xml" ContentType="application/vnd.ms-office.chartcolorstyle+xml"/>
  <Override PartName="/ppt/tags/tag729.xml" ContentType="application/vnd.openxmlformats-officedocument.presentationml.tags+xml"/>
  <Override PartName="/ppt/notesSlides/notesSlide74.xml" ContentType="application/vnd.openxmlformats-officedocument.presentationml.notesSlide+xml"/>
  <Override PartName="/ppt/charts/chart815.xml" ContentType="application/vnd.openxmlformats-officedocument.drawingml.chart+xml"/>
  <Override PartName="/ppt/charts/style8.xml" ContentType="application/vnd.ms-office.chartstyle+xml"/>
  <Override PartName="/ppt/charts/colors8.xml" ContentType="application/vnd.ms-office.chartcolorstyle+xml"/>
  <Override PartName="/ppt/tags/tag730.xml" ContentType="application/vnd.openxmlformats-officedocument.presentationml.tags+xml"/>
  <Override PartName="/ppt/notesSlides/notesSlide75.xml" ContentType="application/vnd.openxmlformats-officedocument.presentationml.notesSlide+xml"/>
  <Override PartName="/ppt/charts/chart816.xml" ContentType="application/vnd.openxmlformats-officedocument.drawingml.chart+xml"/>
  <Override PartName="/ppt/charts/style9.xml" ContentType="application/vnd.ms-office.chartstyle+xml"/>
  <Override PartName="/ppt/charts/colors9.xml" ContentType="application/vnd.ms-office.chartcolorstyle+xml"/>
  <Override PartName="/ppt/tags/tag731.xml" ContentType="application/vnd.openxmlformats-officedocument.presentationml.tags+xml"/>
  <Override PartName="/ppt/notesSlides/notesSlide76.xml" ContentType="application/vnd.openxmlformats-officedocument.presentationml.notesSlide+xml"/>
  <Override PartName="/ppt/charts/chart817.xml" ContentType="application/vnd.openxmlformats-officedocument.drawingml.chart+xml"/>
  <Override PartName="/ppt/charts/style10.xml" ContentType="application/vnd.ms-office.chartstyle+xml"/>
  <Override PartName="/ppt/charts/colors10.xml" ContentType="application/vnd.ms-office.chartcolorstyle+xml"/>
  <Override PartName="/ppt/tags/tag732.xml" ContentType="application/vnd.openxmlformats-officedocument.presentationml.tags+xml"/>
  <Override PartName="/ppt/notesSlides/notesSlide77.xml" ContentType="application/vnd.openxmlformats-officedocument.presentationml.notesSlide+xml"/>
  <Override PartName="/ppt/charts/chart818.xml" ContentType="application/vnd.openxmlformats-officedocument.drawingml.chart+xml"/>
  <Override PartName="/ppt/charts/style11.xml" ContentType="application/vnd.ms-office.chartstyle+xml"/>
  <Override PartName="/ppt/charts/colors11.xml" ContentType="application/vnd.ms-office.chartcolorstyle+xml"/>
  <Override PartName="/ppt/tags/tag733.xml" ContentType="application/vnd.openxmlformats-officedocument.presentationml.tags+xml"/>
  <Override PartName="/ppt/notesSlides/notesSlide78.xml" ContentType="application/vnd.openxmlformats-officedocument.presentationml.notesSlide+xml"/>
  <Override PartName="/ppt/charts/chart819.xml" ContentType="application/vnd.openxmlformats-officedocument.drawingml.chart+xml"/>
  <Override PartName="/ppt/charts/style12.xml" ContentType="application/vnd.ms-office.chartstyle+xml"/>
  <Override PartName="/ppt/charts/colors12.xml" ContentType="application/vnd.ms-office.chartcolorstyle+xml"/>
  <Override PartName="/ppt/tags/tag734.xml" ContentType="application/vnd.openxmlformats-officedocument.presentationml.tags+xml"/>
  <Override PartName="/ppt/notesSlides/notesSlide79.xml" ContentType="application/vnd.openxmlformats-officedocument.presentationml.notesSlide+xml"/>
  <Override PartName="/ppt/charts/chart820.xml" ContentType="application/vnd.openxmlformats-officedocument.drawingml.chart+xml"/>
  <Override PartName="/ppt/charts/style13.xml" ContentType="application/vnd.ms-office.chartstyle+xml"/>
  <Override PartName="/ppt/charts/colors13.xml" ContentType="application/vnd.ms-office.chartcolorstyle+xml"/>
  <Override PartName="/ppt/tags/tag735.xml" ContentType="application/vnd.openxmlformats-officedocument.presentationml.tags+xml"/>
  <Override PartName="/ppt/notesSlides/notesSlide80.xml" ContentType="application/vnd.openxmlformats-officedocument.presentationml.notesSlide+xml"/>
  <Override PartName="/ppt/charts/chart821.xml" ContentType="application/vnd.openxmlformats-officedocument.drawingml.chart+xml"/>
  <Override PartName="/ppt/charts/style14.xml" ContentType="application/vnd.ms-office.chartstyle+xml"/>
  <Override PartName="/ppt/charts/colors14.xml" ContentType="application/vnd.ms-office.chartcolorstyle+xml"/>
  <Override PartName="/ppt/tags/tag736.xml" ContentType="application/vnd.openxmlformats-officedocument.presentationml.tags+xml"/>
  <Override PartName="/ppt/notesSlides/notesSlide81.xml" ContentType="application/vnd.openxmlformats-officedocument.presentationml.notesSlide+xml"/>
  <Override PartName="/ppt/charts/chart822.xml" ContentType="application/vnd.openxmlformats-officedocument.drawingml.chart+xml"/>
  <Override PartName="/ppt/charts/style15.xml" ContentType="application/vnd.ms-office.chartstyle+xml"/>
  <Override PartName="/ppt/charts/colors15.xml" ContentType="application/vnd.ms-office.chartcolorstyle+xml"/>
  <Override PartName="/ppt/tags/tag737.xml" ContentType="application/vnd.openxmlformats-officedocument.presentationml.tags+xml"/>
  <Override PartName="/ppt/notesSlides/notesSlide82.xml" ContentType="application/vnd.openxmlformats-officedocument.presentationml.notesSlide+xml"/>
  <Override PartName="/ppt/charts/chart823.xml" ContentType="application/vnd.openxmlformats-officedocument.drawingml.chart+xml"/>
  <Override PartName="/ppt/charts/style16.xml" ContentType="application/vnd.ms-office.chartstyle+xml"/>
  <Override PartName="/ppt/charts/colors16.xml" ContentType="application/vnd.ms-office.chartcolorstyle+xml"/>
  <Override PartName="/ppt/tags/tag738.xml" ContentType="application/vnd.openxmlformats-officedocument.presentationml.tags+xml"/>
  <Override PartName="/ppt/notesSlides/notesSlide83.xml" ContentType="application/vnd.openxmlformats-officedocument.presentationml.notesSlide+xml"/>
  <Override PartName="/ppt/charts/chart824.xml" ContentType="application/vnd.openxmlformats-officedocument.drawingml.chart+xml"/>
  <Override PartName="/ppt/charts/style17.xml" ContentType="application/vnd.ms-office.chartstyle+xml"/>
  <Override PartName="/ppt/charts/colors17.xml" ContentType="application/vnd.ms-office.chartcolorstyle+xml"/>
  <Override PartName="/ppt/tags/tag739.xml" ContentType="application/vnd.openxmlformats-officedocument.presentationml.tags+xml"/>
  <Override PartName="/ppt/notesSlides/notesSlide84.xml" ContentType="application/vnd.openxmlformats-officedocument.presentationml.notesSlide+xml"/>
  <Override PartName="/ppt/charts/chart825.xml" ContentType="application/vnd.openxmlformats-officedocument.drawingml.chart+xml"/>
  <Override PartName="/ppt/charts/style18.xml" ContentType="application/vnd.ms-office.chartstyle+xml"/>
  <Override PartName="/ppt/charts/colors18.xml" ContentType="application/vnd.ms-office.chartcolorstyle+xml"/>
  <Override PartName="/ppt/tags/tag740.xml" ContentType="application/vnd.openxmlformats-officedocument.presentationml.tags+xml"/>
  <Override PartName="/ppt/notesSlides/notesSlide85.xml" ContentType="application/vnd.openxmlformats-officedocument.presentationml.notesSlide+xml"/>
  <Override PartName="/ppt/charts/chart826.xml" ContentType="application/vnd.openxmlformats-officedocument.drawingml.chart+xml"/>
  <Override PartName="/ppt/charts/style19.xml" ContentType="application/vnd.ms-office.chartstyle+xml"/>
  <Override PartName="/ppt/charts/colors19.xml" ContentType="application/vnd.ms-office.chartcolorstyle+xml"/>
  <Override PartName="/ppt/tags/tag741.xml" ContentType="application/vnd.openxmlformats-officedocument.presentationml.tags+xml"/>
  <Override PartName="/ppt/notesSlides/notesSlide86.xml" ContentType="application/vnd.openxmlformats-officedocument.presentationml.notesSlide+xml"/>
  <Override PartName="/ppt/charts/chart827.xml" ContentType="application/vnd.openxmlformats-officedocument.drawingml.chart+xml"/>
  <Override PartName="/ppt/charts/style20.xml" ContentType="application/vnd.ms-office.chartstyle+xml"/>
  <Override PartName="/ppt/charts/colors20.xml" ContentType="application/vnd.ms-office.chartcolorstyle+xml"/>
  <Override PartName="/ppt/tags/tag742.xml" ContentType="application/vnd.openxmlformats-officedocument.presentationml.tags+xml"/>
  <Override PartName="/ppt/notesSlides/notesSlide87.xml" ContentType="application/vnd.openxmlformats-officedocument.presentationml.notesSlide+xml"/>
  <Override PartName="/ppt/charts/chart828.xml" ContentType="application/vnd.openxmlformats-officedocument.drawingml.chart+xml"/>
  <Override PartName="/ppt/charts/style21.xml" ContentType="application/vnd.ms-office.chartstyle+xml"/>
  <Override PartName="/ppt/charts/colors21.xml" ContentType="application/vnd.ms-office.chartcolorstyle+xml"/>
  <Override PartName="/ppt/tags/tag743.xml" ContentType="application/vnd.openxmlformats-officedocument.presentationml.tags+xml"/>
  <Override PartName="/ppt/notesSlides/notesSlide88.xml" ContentType="application/vnd.openxmlformats-officedocument.presentationml.notesSlide+xml"/>
  <Override PartName="/ppt/charts/chart829.xml" ContentType="application/vnd.openxmlformats-officedocument.drawingml.chart+xml"/>
  <Override PartName="/ppt/charts/style22.xml" ContentType="application/vnd.ms-office.chartstyle+xml"/>
  <Override PartName="/ppt/charts/colors22.xml" ContentType="application/vnd.ms-office.chartcolorstyle+xml"/>
  <Override PartName="/ppt/tags/tag744.xml" ContentType="application/vnd.openxmlformats-officedocument.presentationml.tags+xml"/>
  <Override PartName="/ppt/notesSlides/notesSlide89.xml" ContentType="application/vnd.openxmlformats-officedocument.presentationml.notesSlide+xml"/>
  <Override PartName="/ppt/charts/chart830.xml" ContentType="application/vnd.openxmlformats-officedocument.drawingml.chart+xml"/>
  <Override PartName="/ppt/charts/style23.xml" ContentType="application/vnd.ms-office.chartstyle+xml"/>
  <Override PartName="/ppt/charts/colors23.xml" ContentType="application/vnd.ms-office.chartcolorstyle+xml"/>
  <Override PartName="/ppt/tags/tag745.xml" ContentType="application/vnd.openxmlformats-officedocument.presentationml.tags+xml"/>
  <Override PartName="/ppt/notesSlides/notesSlide90.xml" ContentType="application/vnd.openxmlformats-officedocument.presentationml.notesSlide+xml"/>
  <Override PartName="/ppt/charts/chart831.xml" ContentType="application/vnd.openxmlformats-officedocument.drawingml.chart+xml"/>
  <Override PartName="/ppt/charts/style24.xml" ContentType="application/vnd.ms-office.chartstyle+xml"/>
  <Override PartName="/ppt/charts/colors24.xml" ContentType="application/vnd.ms-office.chartcolorstyle+xml"/>
  <Override PartName="/ppt/tags/tag746.xml" ContentType="application/vnd.openxmlformats-officedocument.presentationml.tags+xml"/>
  <Override PartName="/ppt/notesSlides/notesSlide91.xml" ContentType="application/vnd.openxmlformats-officedocument.presentationml.notesSlide+xml"/>
  <Override PartName="/ppt/charts/chart832.xml" ContentType="application/vnd.openxmlformats-officedocument.drawingml.chart+xml"/>
  <Override PartName="/ppt/charts/style25.xml" ContentType="application/vnd.ms-office.chartstyle+xml"/>
  <Override PartName="/ppt/charts/colors25.xml" ContentType="application/vnd.ms-office.chartcolorstyle+xml"/>
  <Override PartName="/ppt/tags/tag747.xml" ContentType="application/vnd.openxmlformats-officedocument.presentationml.tags+xml"/>
  <Override PartName="/ppt/notesSlides/notesSlide92.xml" ContentType="application/vnd.openxmlformats-officedocument.presentationml.notesSlide+xml"/>
  <Override PartName="/ppt/charts/chart833.xml" ContentType="application/vnd.openxmlformats-officedocument.drawingml.chart+xml"/>
  <Override PartName="/ppt/charts/style26.xml" ContentType="application/vnd.ms-office.chartstyle+xml"/>
  <Override PartName="/ppt/charts/colors26.xml" ContentType="application/vnd.ms-office.chartcolorstyle+xml"/>
  <Override PartName="/ppt/tags/tag748.xml" ContentType="application/vnd.openxmlformats-officedocument.presentationml.tags+xml"/>
  <Override PartName="/ppt/notesSlides/notesSlide93.xml" ContentType="application/vnd.openxmlformats-officedocument.presentationml.notesSlide+xml"/>
  <Override PartName="/ppt/charts/chart834.xml" ContentType="application/vnd.openxmlformats-officedocument.drawingml.chart+xml"/>
  <Override PartName="/ppt/charts/style27.xml" ContentType="application/vnd.ms-office.chartstyle+xml"/>
  <Override PartName="/ppt/charts/colors27.xml" ContentType="application/vnd.ms-office.chartcolorstyle+xml"/>
  <Override PartName="/ppt/tags/tag749.xml" ContentType="application/vnd.openxmlformats-officedocument.presentationml.tags+xml"/>
  <Override PartName="/ppt/notesSlides/notesSlide94.xml" ContentType="application/vnd.openxmlformats-officedocument.presentationml.notesSlide+xml"/>
  <Override PartName="/ppt/charts/chart835.xml" ContentType="application/vnd.openxmlformats-officedocument.drawingml.chart+xml"/>
  <Override PartName="/ppt/charts/style28.xml" ContentType="application/vnd.ms-office.chartstyle+xml"/>
  <Override PartName="/ppt/charts/colors28.xml" ContentType="application/vnd.ms-office.chartcolorstyle+xml"/>
  <Override PartName="/ppt/tags/tag750.xml" ContentType="application/vnd.openxmlformats-officedocument.presentationml.tags+xml"/>
  <Override PartName="/ppt/notesSlides/notesSlide95.xml" ContentType="application/vnd.openxmlformats-officedocument.presentationml.notesSlide+xml"/>
  <Override PartName="/ppt/charts/chart836.xml" ContentType="application/vnd.openxmlformats-officedocument.drawingml.chart+xml"/>
  <Override PartName="/ppt/charts/style29.xml" ContentType="application/vnd.ms-office.chartstyle+xml"/>
  <Override PartName="/ppt/charts/colors29.xml" ContentType="application/vnd.ms-office.chartcolorstyle+xml"/>
  <Override PartName="/ppt/tags/tag751.xml" ContentType="application/vnd.openxmlformats-officedocument.presentationml.tags+xml"/>
  <Override PartName="/ppt/notesSlides/notesSlide96.xml" ContentType="application/vnd.openxmlformats-officedocument.presentationml.notesSlide+xml"/>
  <Override PartName="/ppt/charts/chart837.xml" ContentType="application/vnd.openxmlformats-officedocument.drawingml.chart+xml"/>
  <Override PartName="/ppt/charts/style30.xml" ContentType="application/vnd.ms-office.chartstyle+xml"/>
  <Override PartName="/ppt/charts/colors30.xml" ContentType="application/vnd.ms-office.chartcolorstyle+xml"/>
  <Override PartName="/ppt/tags/tag752.xml" ContentType="application/vnd.openxmlformats-officedocument.presentationml.tags+xml"/>
  <Override PartName="/ppt/notesSlides/notesSlide97.xml" ContentType="application/vnd.openxmlformats-officedocument.presentationml.notesSlide+xml"/>
  <Override PartName="/ppt/charts/chart838.xml" ContentType="application/vnd.openxmlformats-officedocument.drawingml.chart+xml"/>
  <Override PartName="/ppt/charts/style31.xml" ContentType="application/vnd.ms-office.chartstyle+xml"/>
  <Override PartName="/ppt/charts/colors31.xml" ContentType="application/vnd.ms-office.chartcolorstyle+xml"/>
  <Override PartName="/ppt/tags/tag753.xml" ContentType="application/vnd.openxmlformats-officedocument.presentationml.tags+xml"/>
  <Override PartName="/ppt/notesSlides/notesSlide98.xml" ContentType="application/vnd.openxmlformats-officedocument.presentationml.notesSlide+xml"/>
  <Override PartName="/ppt/charts/chart839.xml" ContentType="application/vnd.openxmlformats-officedocument.drawingml.chart+xml"/>
  <Override PartName="/ppt/charts/style32.xml" ContentType="application/vnd.ms-office.chartstyle+xml"/>
  <Override PartName="/ppt/charts/colors32.xml" ContentType="application/vnd.ms-office.chartcolorstyle+xml"/>
  <Override PartName="/ppt/tags/tag754.xml" ContentType="application/vnd.openxmlformats-officedocument.presentationml.tags+xml"/>
  <Override PartName="/ppt/notesSlides/notesSlide99.xml" ContentType="application/vnd.openxmlformats-officedocument.presentationml.notesSlide+xml"/>
  <Override PartName="/ppt/charts/chart840.xml" ContentType="application/vnd.openxmlformats-officedocument.drawingml.chart+xml"/>
  <Override PartName="/ppt/charts/style33.xml" ContentType="application/vnd.ms-office.chartstyle+xml"/>
  <Override PartName="/ppt/charts/colors33.xml" ContentType="application/vnd.ms-office.chartcolorstyle+xml"/>
  <Override PartName="/ppt/tags/tag755.xml" ContentType="application/vnd.openxmlformats-officedocument.presentationml.tags+xml"/>
  <Override PartName="/ppt/notesSlides/notesSlide100.xml" ContentType="application/vnd.openxmlformats-officedocument.presentationml.notesSlide+xml"/>
  <Override PartName="/ppt/charts/chart841.xml" ContentType="application/vnd.openxmlformats-officedocument.drawingml.chart+xml"/>
  <Override PartName="/ppt/charts/style34.xml" ContentType="application/vnd.ms-office.chartstyle+xml"/>
  <Override PartName="/ppt/charts/colors34.xml" ContentType="application/vnd.ms-office.chartcolorstyle+xml"/>
  <Override PartName="/ppt/tags/tag756.xml" ContentType="application/vnd.openxmlformats-officedocument.presentationml.tags+xml"/>
  <Override PartName="/ppt/notesSlides/notesSlide101.xml" ContentType="application/vnd.openxmlformats-officedocument.presentationml.notesSlide+xml"/>
  <Override PartName="/ppt/charts/chart842.xml" ContentType="application/vnd.openxmlformats-officedocument.drawingml.chart+xml"/>
  <Override PartName="/ppt/charts/style35.xml" ContentType="application/vnd.ms-office.chartstyle+xml"/>
  <Override PartName="/ppt/charts/colors35.xml" ContentType="application/vnd.ms-office.chartcolorstyle+xml"/>
  <Override PartName="/ppt/tags/tag757.xml" ContentType="application/vnd.openxmlformats-officedocument.presentationml.tags+xml"/>
  <Override PartName="/ppt/notesSlides/notesSlide102.xml" ContentType="application/vnd.openxmlformats-officedocument.presentationml.notesSlide+xml"/>
  <Override PartName="/ppt/charts/chart843.xml" ContentType="application/vnd.openxmlformats-officedocument.drawingml.chart+xml"/>
  <Override PartName="/ppt/charts/style36.xml" ContentType="application/vnd.ms-office.chartstyle+xml"/>
  <Override PartName="/ppt/charts/colors36.xml" ContentType="application/vnd.ms-office.chartcolorstyle+xml"/>
  <Override PartName="/ppt/tags/tag758.xml" ContentType="application/vnd.openxmlformats-officedocument.presentationml.tags+xml"/>
  <Override PartName="/ppt/notesSlides/notesSlide103.xml" ContentType="application/vnd.openxmlformats-officedocument.presentationml.notesSlide+xml"/>
  <Override PartName="/ppt/charts/chart844.xml" ContentType="application/vnd.openxmlformats-officedocument.drawingml.chart+xml"/>
  <Override PartName="/ppt/charts/style37.xml" ContentType="application/vnd.ms-office.chartstyle+xml"/>
  <Override PartName="/ppt/charts/colors37.xml" ContentType="application/vnd.ms-office.chartcolorstyle+xml"/>
  <Override PartName="/ppt/tags/tag759.xml" ContentType="application/vnd.openxmlformats-officedocument.presentationml.tags+xml"/>
  <Override PartName="/ppt/notesSlides/notesSlide104.xml" ContentType="application/vnd.openxmlformats-officedocument.presentationml.notesSlide+xml"/>
  <Override PartName="/ppt/charts/chart845.xml" ContentType="application/vnd.openxmlformats-officedocument.drawingml.chart+xml"/>
  <Override PartName="/ppt/charts/style38.xml" ContentType="application/vnd.ms-office.chartstyle+xml"/>
  <Override PartName="/ppt/charts/colors38.xml" ContentType="application/vnd.ms-office.chartcolorstyle+xml"/>
  <Override PartName="/ppt/tags/tag760.xml" ContentType="application/vnd.openxmlformats-officedocument.presentationml.tags+xml"/>
  <Override PartName="/ppt/notesSlides/notesSlide105.xml" ContentType="application/vnd.openxmlformats-officedocument.presentationml.notesSlide+xml"/>
  <Override PartName="/ppt/charts/chart846.xml" ContentType="application/vnd.openxmlformats-officedocument.drawingml.chart+xml"/>
  <Override PartName="/ppt/charts/style39.xml" ContentType="application/vnd.ms-office.chartstyle+xml"/>
  <Override PartName="/ppt/charts/colors39.xml" ContentType="application/vnd.ms-office.chartcolorstyle+xml"/>
  <Override PartName="/ppt/tags/tag761.xml" ContentType="application/vnd.openxmlformats-officedocument.presentationml.tags+xml"/>
  <Override PartName="/ppt/notesSlides/notesSlide106.xml" ContentType="application/vnd.openxmlformats-officedocument.presentationml.notesSlide+xml"/>
  <Override PartName="/ppt/charts/chart847.xml" ContentType="application/vnd.openxmlformats-officedocument.drawingml.chart+xml"/>
  <Override PartName="/ppt/charts/style40.xml" ContentType="application/vnd.ms-office.chartstyle+xml"/>
  <Override PartName="/ppt/charts/colors40.xml" ContentType="application/vnd.ms-office.chartcolorstyle+xml"/>
  <Override PartName="/ppt/tags/tag762.xml" ContentType="application/vnd.openxmlformats-officedocument.presentationml.tags+xml"/>
  <Override PartName="/ppt/notesSlides/notesSlide107.xml" ContentType="application/vnd.openxmlformats-officedocument.presentationml.notesSlide+xml"/>
  <Override PartName="/ppt/charts/chart848.xml" ContentType="application/vnd.openxmlformats-officedocument.drawingml.chart+xml"/>
  <Override PartName="/ppt/charts/style41.xml" ContentType="application/vnd.ms-office.chartstyle+xml"/>
  <Override PartName="/ppt/charts/colors41.xml" ContentType="application/vnd.ms-office.chartcolorstyle+xml"/>
  <Override PartName="/ppt/tags/tag763.xml" ContentType="application/vnd.openxmlformats-officedocument.presentationml.tags+xml"/>
  <Override PartName="/ppt/notesSlides/notesSlide108.xml" ContentType="application/vnd.openxmlformats-officedocument.presentationml.notesSlide+xml"/>
  <Override PartName="/ppt/charts/chart849.xml" ContentType="application/vnd.openxmlformats-officedocument.drawingml.chart+xml"/>
  <Override PartName="/ppt/charts/style42.xml" ContentType="application/vnd.ms-office.chartstyle+xml"/>
  <Override PartName="/ppt/charts/colors42.xml" ContentType="application/vnd.ms-office.chartcolorstyle+xml"/>
  <Override PartName="/ppt/tags/tag764.xml" ContentType="application/vnd.openxmlformats-officedocument.presentationml.tags+xml"/>
  <Override PartName="/ppt/notesSlides/notesSlide109.xml" ContentType="application/vnd.openxmlformats-officedocument.presentationml.notesSlide+xml"/>
  <Override PartName="/ppt/charts/chart850.xml" ContentType="application/vnd.openxmlformats-officedocument.drawingml.chart+xml"/>
  <Override PartName="/ppt/charts/style43.xml" ContentType="application/vnd.ms-office.chartstyle+xml"/>
  <Override PartName="/ppt/charts/colors43.xml" ContentType="application/vnd.ms-office.chartcolorstyle+xml"/>
  <Override PartName="/ppt/tags/tag765.xml" ContentType="application/vnd.openxmlformats-officedocument.presentationml.tags+xml"/>
  <Override PartName="/ppt/notesSlides/notesSlide110.xml" ContentType="application/vnd.openxmlformats-officedocument.presentationml.notesSlide+xml"/>
  <Override PartName="/ppt/charts/chart851.xml" ContentType="application/vnd.openxmlformats-officedocument.drawingml.chart+xml"/>
  <Override PartName="/ppt/charts/style44.xml" ContentType="application/vnd.ms-office.chartstyle+xml"/>
  <Override PartName="/ppt/charts/colors44.xml" ContentType="application/vnd.ms-office.chartcolorstyle+xml"/>
  <Override PartName="/ppt/tags/tag766.xml" ContentType="application/vnd.openxmlformats-officedocument.presentationml.tags+xml"/>
  <Override PartName="/ppt/notesSlides/notesSlide111.xml" ContentType="application/vnd.openxmlformats-officedocument.presentationml.notesSlide+xml"/>
  <Override PartName="/ppt/charts/chart852.xml" ContentType="application/vnd.openxmlformats-officedocument.drawingml.chart+xml"/>
  <Override PartName="/ppt/charts/style45.xml" ContentType="application/vnd.ms-office.chartstyle+xml"/>
  <Override PartName="/ppt/charts/colors45.xml" ContentType="application/vnd.ms-office.chartcolorstyle+xml"/>
  <Override PartName="/ppt/tags/tag767.xml" ContentType="application/vnd.openxmlformats-officedocument.presentationml.tags+xml"/>
  <Override PartName="/ppt/notesSlides/notesSlide112.xml" ContentType="application/vnd.openxmlformats-officedocument.presentationml.notesSlide+xml"/>
  <Override PartName="/ppt/charts/chart853.xml" ContentType="application/vnd.openxmlformats-officedocument.drawingml.chart+xml"/>
  <Override PartName="/ppt/charts/style46.xml" ContentType="application/vnd.ms-office.chartstyle+xml"/>
  <Override PartName="/ppt/charts/colors46.xml" ContentType="application/vnd.ms-office.chartcolorstyle+xml"/>
  <Override PartName="/ppt/tags/tag768.xml" ContentType="application/vnd.openxmlformats-officedocument.presentationml.tags+xml"/>
  <Override PartName="/ppt/notesSlides/notesSlide113.xml" ContentType="application/vnd.openxmlformats-officedocument.presentationml.notesSlide+xml"/>
  <Override PartName="/ppt/charts/chart854.xml" ContentType="application/vnd.openxmlformats-officedocument.drawingml.chart+xml"/>
  <Override PartName="/ppt/charts/style47.xml" ContentType="application/vnd.ms-office.chartstyle+xml"/>
  <Override PartName="/ppt/charts/colors47.xml" ContentType="application/vnd.ms-office.chartcolorstyle+xml"/>
  <Override PartName="/ppt/tags/tag769.xml" ContentType="application/vnd.openxmlformats-officedocument.presentationml.tags+xml"/>
  <Override PartName="/ppt/notesSlides/notesSlide114.xml" ContentType="application/vnd.openxmlformats-officedocument.presentationml.notesSlide+xml"/>
  <Override PartName="/ppt/charts/chart855.xml" ContentType="application/vnd.openxmlformats-officedocument.drawingml.chart+xml"/>
  <Override PartName="/ppt/charts/style48.xml" ContentType="application/vnd.ms-office.chartstyle+xml"/>
  <Override PartName="/ppt/charts/colors48.xml" ContentType="application/vnd.ms-office.chartcolorstyle+xml"/>
  <Override PartName="/ppt/tags/tag770.xml" ContentType="application/vnd.openxmlformats-officedocument.presentationml.tags+xml"/>
  <Override PartName="/ppt/notesSlides/notesSlide115.xml" ContentType="application/vnd.openxmlformats-officedocument.presentationml.notesSlide+xml"/>
  <Override PartName="/ppt/charts/chart856.xml" ContentType="application/vnd.openxmlformats-officedocument.drawingml.chart+xml"/>
  <Override PartName="/ppt/charts/style49.xml" ContentType="application/vnd.ms-office.chartstyle+xml"/>
  <Override PartName="/ppt/charts/colors49.xml" ContentType="application/vnd.ms-office.chartcolorstyle+xml"/>
  <Override PartName="/ppt/tags/tag771.xml" ContentType="application/vnd.openxmlformats-officedocument.presentationml.tags+xml"/>
  <Override PartName="/ppt/notesSlides/notesSlide116.xml" ContentType="application/vnd.openxmlformats-officedocument.presentationml.notesSlide+xml"/>
  <Override PartName="/ppt/charts/chart857.xml" ContentType="application/vnd.openxmlformats-officedocument.drawingml.chart+xml"/>
  <Override PartName="/ppt/charts/style50.xml" ContentType="application/vnd.ms-office.chartstyle+xml"/>
  <Override PartName="/ppt/charts/colors50.xml" ContentType="application/vnd.ms-office.chartcolorstyle+xml"/>
  <Override PartName="/ppt/tags/tag772.xml" ContentType="application/vnd.openxmlformats-officedocument.presentationml.tags+xml"/>
  <Override PartName="/ppt/notesSlides/notesSlide117.xml" ContentType="application/vnd.openxmlformats-officedocument.presentationml.notesSlide+xml"/>
  <Override PartName="/ppt/charts/chart858.xml" ContentType="application/vnd.openxmlformats-officedocument.drawingml.chart+xml"/>
  <Override PartName="/ppt/charts/style51.xml" ContentType="application/vnd.ms-office.chartstyle+xml"/>
  <Override PartName="/ppt/charts/colors51.xml" ContentType="application/vnd.ms-office.chartcolorstyle+xml"/>
  <Override PartName="/ppt/tags/tag773.xml" ContentType="application/vnd.openxmlformats-officedocument.presentationml.tags+xml"/>
  <Override PartName="/ppt/notesSlides/notesSlide118.xml" ContentType="application/vnd.openxmlformats-officedocument.presentationml.notesSlide+xml"/>
  <Override PartName="/ppt/charts/chart859.xml" ContentType="application/vnd.openxmlformats-officedocument.drawingml.chart+xml"/>
  <Override PartName="/ppt/charts/style52.xml" ContentType="application/vnd.ms-office.chartstyle+xml"/>
  <Override PartName="/ppt/charts/colors52.xml" ContentType="application/vnd.ms-office.chartcolorstyle+xml"/>
  <Override PartName="/ppt/tags/tag774.xml" ContentType="application/vnd.openxmlformats-officedocument.presentationml.tags+xml"/>
  <Override PartName="/ppt/notesSlides/notesSlide119.xml" ContentType="application/vnd.openxmlformats-officedocument.presentationml.notesSlide+xml"/>
  <Override PartName="/ppt/charts/chart860.xml" ContentType="application/vnd.openxmlformats-officedocument.drawingml.chart+xml"/>
  <Override PartName="/ppt/charts/style53.xml" ContentType="application/vnd.ms-office.chartstyle+xml"/>
  <Override PartName="/ppt/charts/colors53.xml" ContentType="application/vnd.ms-office.chartcolorstyle+xml"/>
  <Override PartName="/ppt/tags/tag775.xml" ContentType="application/vnd.openxmlformats-officedocument.presentationml.tags+xml"/>
  <Override PartName="/ppt/notesSlides/notesSlide120.xml" ContentType="application/vnd.openxmlformats-officedocument.presentationml.notesSlide+xml"/>
  <Override PartName="/ppt/charts/chart861.xml" ContentType="application/vnd.openxmlformats-officedocument.drawingml.chart+xml"/>
  <Override PartName="/ppt/charts/style54.xml" ContentType="application/vnd.ms-office.chartstyle+xml"/>
  <Override PartName="/ppt/charts/colors54.xml" ContentType="application/vnd.ms-office.chartcolorstyle+xml"/>
  <Override PartName="/ppt/tags/tag776.xml" ContentType="application/vnd.openxmlformats-officedocument.presentationml.tags+xml"/>
  <Override PartName="/ppt/notesSlides/notesSlide121.xml" ContentType="application/vnd.openxmlformats-officedocument.presentationml.notesSlide+xml"/>
  <Override PartName="/ppt/charts/chart862.xml" ContentType="application/vnd.openxmlformats-officedocument.drawingml.chart+xml"/>
  <Override PartName="/ppt/charts/style55.xml" ContentType="application/vnd.ms-office.chartstyle+xml"/>
  <Override PartName="/ppt/charts/colors55.xml" ContentType="application/vnd.ms-office.chartcolorstyle+xml"/>
  <Override PartName="/ppt/tags/tag777.xml" ContentType="application/vnd.openxmlformats-officedocument.presentationml.tags+xml"/>
  <Override PartName="/ppt/notesSlides/notesSlide122.xml" ContentType="application/vnd.openxmlformats-officedocument.presentationml.notesSlide+xml"/>
  <Override PartName="/ppt/charts/chart863.xml" ContentType="application/vnd.openxmlformats-officedocument.drawingml.chart+xml"/>
  <Override PartName="/ppt/charts/style56.xml" ContentType="application/vnd.ms-office.chartstyle+xml"/>
  <Override PartName="/ppt/charts/colors56.xml" ContentType="application/vnd.ms-office.chartcolorstyle+xml"/>
  <Override PartName="/ppt/tags/tag778.xml" ContentType="application/vnd.openxmlformats-officedocument.presentationml.tags+xml"/>
  <Override PartName="/ppt/notesSlides/notesSlide123.xml" ContentType="application/vnd.openxmlformats-officedocument.presentationml.notesSlide+xml"/>
  <Override PartName="/ppt/charts/chart864.xml" ContentType="application/vnd.openxmlformats-officedocument.drawingml.chart+xml"/>
  <Override PartName="/ppt/charts/style57.xml" ContentType="application/vnd.ms-office.chartstyle+xml"/>
  <Override PartName="/ppt/charts/colors57.xml" ContentType="application/vnd.ms-office.chartcolorstyle+xml"/>
  <Override PartName="/ppt/tags/tag779.xml" ContentType="application/vnd.openxmlformats-officedocument.presentationml.tags+xml"/>
  <Override PartName="/ppt/notesSlides/notesSlide124.xml" ContentType="application/vnd.openxmlformats-officedocument.presentationml.notesSlide+xml"/>
  <Override PartName="/ppt/charts/chart865.xml" ContentType="application/vnd.openxmlformats-officedocument.drawingml.chart+xml"/>
  <Override PartName="/ppt/charts/style58.xml" ContentType="application/vnd.ms-office.chartstyle+xml"/>
  <Override PartName="/ppt/charts/colors58.xml" ContentType="application/vnd.ms-office.chartcolorstyle+xml"/>
  <Override PartName="/ppt/tags/tag780.xml" ContentType="application/vnd.openxmlformats-officedocument.presentationml.tags+xml"/>
  <Override PartName="/ppt/notesSlides/notesSlide125.xml" ContentType="application/vnd.openxmlformats-officedocument.presentationml.notesSlide+xml"/>
  <Override PartName="/ppt/charts/chart866.xml" ContentType="application/vnd.openxmlformats-officedocument.drawingml.chart+xml"/>
  <Override PartName="/ppt/charts/style59.xml" ContentType="application/vnd.ms-office.chartstyle+xml"/>
  <Override PartName="/ppt/charts/colors59.xml" ContentType="application/vnd.ms-office.chartcolorstyle+xml"/>
  <Override PartName="/ppt/tags/tag781.xml" ContentType="application/vnd.openxmlformats-officedocument.presentationml.tags+xml"/>
  <Override PartName="/ppt/notesSlides/notesSlide126.xml" ContentType="application/vnd.openxmlformats-officedocument.presentationml.notesSlide+xml"/>
  <Override PartName="/ppt/charts/chart867.xml" ContentType="application/vnd.openxmlformats-officedocument.drawingml.chart+xml"/>
  <Override PartName="/ppt/charts/style60.xml" ContentType="application/vnd.ms-office.chartstyle+xml"/>
  <Override PartName="/ppt/charts/colors60.xml" ContentType="application/vnd.ms-office.chartcolorstyle+xml"/>
  <Override PartName="/ppt/tags/tag782.xml" ContentType="application/vnd.openxmlformats-officedocument.presentationml.tags+xml"/>
  <Override PartName="/ppt/notesSlides/notesSlide127.xml" ContentType="application/vnd.openxmlformats-officedocument.presentationml.notesSlide+xml"/>
  <Override PartName="/ppt/charts/chart868.xml" ContentType="application/vnd.openxmlformats-officedocument.drawingml.chart+xml"/>
  <Override PartName="/ppt/charts/style61.xml" ContentType="application/vnd.ms-office.chartstyle+xml"/>
  <Override PartName="/ppt/charts/colors61.xml" ContentType="application/vnd.ms-office.chartcolorstyle+xml"/>
  <Override PartName="/ppt/tags/tag783.xml" ContentType="application/vnd.openxmlformats-officedocument.presentationml.tags+xml"/>
  <Override PartName="/ppt/notesSlides/notesSlide128.xml" ContentType="application/vnd.openxmlformats-officedocument.presentationml.notesSlide+xml"/>
  <Override PartName="/ppt/charts/chart869.xml" ContentType="application/vnd.openxmlformats-officedocument.drawingml.chart+xml"/>
  <Override PartName="/ppt/charts/style62.xml" ContentType="application/vnd.ms-office.chartstyle+xml"/>
  <Override PartName="/ppt/charts/colors62.xml" ContentType="application/vnd.ms-office.chartcolorstyle+xml"/>
  <Override PartName="/ppt/tags/tag784.xml" ContentType="application/vnd.openxmlformats-officedocument.presentationml.tags+xml"/>
  <Override PartName="/ppt/notesSlides/notesSlide129.xml" ContentType="application/vnd.openxmlformats-officedocument.presentationml.notesSlide+xml"/>
  <Override PartName="/ppt/charts/chart870.xml" ContentType="application/vnd.openxmlformats-officedocument.drawingml.chart+xml"/>
  <Override PartName="/ppt/charts/style63.xml" ContentType="application/vnd.ms-office.chartstyle+xml"/>
  <Override PartName="/ppt/charts/colors63.xml" ContentType="application/vnd.ms-office.chartcolorstyle+xml"/>
  <Override PartName="/ppt/tags/tag785.xml" ContentType="application/vnd.openxmlformats-officedocument.presentationml.tags+xml"/>
  <Override PartName="/ppt/notesSlides/notesSlide130.xml" ContentType="application/vnd.openxmlformats-officedocument.presentationml.notesSlide+xml"/>
  <Override PartName="/ppt/charts/chart871.xml" ContentType="application/vnd.openxmlformats-officedocument.drawingml.chart+xml"/>
  <Override PartName="/ppt/charts/style64.xml" ContentType="application/vnd.ms-office.chartstyle+xml"/>
  <Override PartName="/ppt/charts/colors64.xml" ContentType="application/vnd.ms-office.chartcolorstyle+xml"/>
  <Override PartName="/ppt/tags/tag786.xml" ContentType="application/vnd.openxmlformats-officedocument.presentationml.tags+xml"/>
  <Override PartName="/ppt/notesSlides/notesSlide131.xml" ContentType="application/vnd.openxmlformats-officedocument.presentationml.notesSlide+xml"/>
  <Override PartName="/ppt/charts/chart872.xml" ContentType="application/vnd.openxmlformats-officedocument.drawingml.chart+xml"/>
  <Override PartName="/ppt/charts/style65.xml" ContentType="application/vnd.ms-office.chartstyle+xml"/>
  <Override PartName="/ppt/charts/colors65.xml" ContentType="application/vnd.ms-office.chartcolorstyle+xml"/>
  <Override PartName="/ppt/tags/tag787.xml" ContentType="application/vnd.openxmlformats-officedocument.presentationml.tags+xml"/>
  <Override PartName="/ppt/notesSlides/notesSlide132.xml" ContentType="application/vnd.openxmlformats-officedocument.presentationml.notesSlide+xml"/>
  <Override PartName="/ppt/charts/chart873.xml" ContentType="application/vnd.openxmlformats-officedocument.drawingml.chart+xml"/>
  <Override PartName="/ppt/charts/style66.xml" ContentType="application/vnd.ms-office.chartstyle+xml"/>
  <Override PartName="/ppt/charts/colors66.xml" ContentType="application/vnd.ms-office.chartcolorstyle+xml"/>
  <Override PartName="/ppt/tags/tag788.xml" ContentType="application/vnd.openxmlformats-officedocument.presentationml.tags+xml"/>
  <Override PartName="/ppt/notesSlides/notesSlide133.xml" ContentType="application/vnd.openxmlformats-officedocument.presentationml.notesSlide+xml"/>
  <Override PartName="/ppt/charts/chart874.xml" ContentType="application/vnd.openxmlformats-officedocument.drawingml.chart+xml"/>
  <Override PartName="/ppt/charts/style67.xml" ContentType="application/vnd.ms-office.chartstyle+xml"/>
  <Override PartName="/ppt/charts/colors67.xml" ContentType="application/vnd.ms-office.chartcolorstyle+xml"/>
  <Override PartName="/ppt/tags/tag789.xml" ContentType="application/vnd.openxmlformats-officedocument.presentationml.tags+xml"/>
  <Override PartName="/ppt/notesSlides/notesSlide134.xml" ContentType="application/vnd.openxmlformats-officedocument.presentationml.notesSlide+xml"/>
  <Override PartName="/ppt/charts/chart875.xml" ContentType="application/vnd.openxmlformats-officedocument.drawingml.chart+xml"/>
  <Override PartName="/ppt/charts/style68.xml" ContentType="application/vnd.ms-office.chartstyle+xml"/>
  <Override PartName="/ppt/charts/colors68.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76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 id="2147477807" r:id="rId447"/>
    <p:sldId id="2147477808" r:id="rId448"/>
    <p:sldId id="2147477809" r:id="rId449"/>
    <p:sldId id="2147477810" r:id="rId450"/>
    <p:sldId id="2147477811" r:id="rId451"/>
    <p:sldId id="2147477812" r:id="rId452"/>
    <p:sldId id="2147477813" r:id="rId453"/>
    <p:sldId id="2147477814" r:id="rId454"/>
    <p:sldId id="2147477815" r:id="rId455"/>
    <p:sldId id="2147477816" r:id="rId456"/>
    <p:sldId id="2147477817" r:id="rId457"/>
    <p:sldId id="2147477818" r:id="rId458"/>
    <p:sldId id="2147477819" r:id="rId459"/>
    <p:sldId id="2147477820" r:id="rId460"/>
    <p:sldId id="2147477821" r:id="rId461"/>
    <p:sldId id="2147477822" r:id="rId462"/>
    <p:sldId id="2147477823" r:id="rId463"/>
    <p:sldId id="2147477824" r:id="rId464"/>
    <p:sldId id="2147477825" r:id="rId465"/>
    <p:sldId id="2147477826" r:id="rId466"/>
    <p:sldId id="2147477827" r:id="rId467"/>
    <p:sldId id="2147477828" r:id="rId468"/>
    <p:sldId id="2147477829" r:id="rId469"/>
    <p:sldId id="2147477830" r:id="rId470"/>
    <p:sldId id="2147477831" r:id="rId471"/>
    <p:sldId id="2147477832" r:id="rId472"/>
    <p:sldId id="2147477833" r:id="rId473"/>
    <p:sldId id="2147477834" r:id="rId474"/>
    <p:sldId id="2147477835" r:id="rId475"/>
    <p:sldId id="2147477836" r:id="rId476"/>
    <p:sldId id="2147477837" r:id="rId477"/>
    <p:sldId id="2147477838" r:id="rId478"/>
    <p:sldId id="2147477839" r:id="rId479"/>
    <p:sldId id="2147477840" r:id="rId480"/>
    <p:sldId id="2147477841" r:id="rId481"/>
    <p:sldId id="2147477842" r:id="rId482"/>
    <p:sldId id="2147477843" r:id="rId483"/>
    <p:sldId id="2147477844" r:id="rId484"/>
    <p:sldId id="2147477845" r:id="rId485"/>
    <p:sldId id="2147477846" r:id="rId486"/>
    <p:sldId id="2147477847" r:id="rId487"/>
    <p:sldId id="2147477848" r:id="rId488"/>
    <p:sldId id="2147477849" r:id="rId489"/>
    <p:sldId id="2147477850" r:id="rId490"/>
    <p:sldId id="2147477851" r:id="rId491"/>
    <p:sldId id="2147477852" r:id="rId492"/>
    <p:sldId id="2147477853" r:id="rId493"/>
    <p:sldId id="2147477854" r:id="rId494"/>
    <p:sldId id="2147477855" r:id="rId495"/>
    <p:sldId id="2147477856" r:id="rId496"/>
    <p:sldId id="2147477857" r:id="rId497"/>
    <p:sldId id="2147477858" r:id="rId498"/>
    <p:sldId id="2147477859" r:id="rId499"/>
    <p:sldId id="2147477860" r:id="rId500"/>
    <p:sldId id="2147477861" r:id="rId501"/>
    <p:sldId id="2147477862" r:id="rId502"/>
    <p:sldId id="2147477863" r:id="rId503"/>
    <p:sldId id="2147477864" r:id="rId504"/>
    <p:sldId id="2147477865" r:id="rId505"/>
    <p:sldId id="2147477866" r:id="rId506"/>
    <p:sldId id="2147477867" r:id="rId507"/>
    <p:sldId id="2147477868" r:id="rId508"/>
    <p:sldId id="2147477869" r:id="rId509"/>
    <p:sldId id="2147477870" r:id="rId510"/>
    <p:sldId id="2147477871" r:id="rId511"/>
    <p:sldId id="2147477872" r:id="rId512"/>
    <p:sldId id="2147477873" r:id="rId513"/>
    <p:sldId id="2147477874" r:id="rId514"/>
    <p:sldId id="2147477875" r:id="rId515"/>
    <p:sldId id="2147477876" r:id="rId516"/>
    <p:sldId id="2147477877" r:id="rId517"/>
    <p:sldId id="2147477878" r:id="rId518"/>
    <p:sldId id="2147477879" r:id="rId519"/>
    <p:sldId id="2147477880" r:id="rId520"/>
    <p:sldId id="2147477881" r:id="rId521"/>
    <p:sldId id="2147477882" r:id="rId522"/>
    <p:sldId id="2147477883" r:id="rId523"/>
    <p:sldId id="2147477884" r:id="rId524"/>
    <p:sldId id="2147477885" r:id="rId525"/>
    <p:sldId id="2147477886" r:id="rId526"/>
    <p:sldId id="2147477887" r:id="rId527"/>
    <p:sldId id="2147477888" r:id="rId528"/>
    <p:sldId id="2147477889" r:id="rId529"/>
    <p:sldId id="2147477890" r:id="rId530"/>
    <p:sldId id="2147477891" r:id="rId531"/>
    <p:sldId id="2147477892" r:id="rId532"/>
    <p:sldId id="2147477893" r:id="rId533"/>
    <p:sldId id="2147477894" r:id="rId534"/>
    <p:sldId id="2147477895" r:id="rId535"/>
    <p:sldId id="2147477896" r:id="rId536"/>
    <p:sldId id="2147477897" r:id="rId537"/>
    <p:sldId id="2147477898" r:id="rId538"/>
    <p:sldId id="2147477899" r:id="rId539"/>
    <p:sldId id="2147477900" r:id="rId540"/>
    <p:sldId id="2147477901" r:id="rId541"/>
    <p:sldId id="2147477902" r:id="rId542"/>
    <p:sldId id="2147477903" r:id="rId543"/>
    <p:sldId id="2147477904" r:id="rId544"/>
    <p:sldId id="2147477905" r:id="rId545"/>
    <p:sldId id="2147477906" r:id="rId546"/>
    <p:sldId id="2147477907" r:id="rId547"/>
    <p:sldId id="2147477908" r:id="rId548"/>
    <p:sldId id="2147477909" r:id="rId549"/>
    <p:sldId id="2147477910" r:id="rId550"/>
    <p:sldId id="2147477911" r:id="rId551"/>
    <p:sldId id="2147477912" r:id="rId552"/>
    <p:sldId id="2147477913" r:id="rId553"/>
    <p:sldId id="2147477914" r:id="rId554"/>
    <p:sldId id="2147477915" r:id="rId555"/>
    <p:sldId id="2147477916" r:id="rId556"/>
    <p:sldId id="2147477917" r:id="rId557"/>
    <p:sldId id="2147477918" r:id="rId558"/>
    <p:sldId id="2147477919" r:id="rId559"/>
    <p:sldId id="2147477920" r:id="rId560"/>
    <p:sldId id="2147477921" r:id="rId561"/>
    <p:sldId id="2147477922" r:id="rId562"/>
    <p:sldId id="2147477923" r:id="rId563"/>
    <p:sldId id="2147477924" r:id="rId564"/>
    <p:sldId id="2147477925" r:id="rId565"/>
    <p:sldId id="2147477926" r:id="rId566"/>
    <p:sldId id="2147477927" r:id="rId567"/>
    <p:sldId id="2147477928" r:id="rId568"/>
    <p:sldId id="2147477929" r:id="rId569"/>
    <p:sldId id="2147477930" r:id="rId570"/>
    <p:sldId id="2147477931" r:id="rId571"/>
    <p:sldId id="2147477932" r:id="rId572"/>
    <p:sldId id="2147477933" r:id="rId573"/>
    <p:sldId id="2147477934" r:id="rId574"/>
    <p:sldId id="2147477935" r:id="rId575"/>
    <p:sldId id="2147477936" r:id="rId576"/>
    <p:sldId id="2147477937" r:id="rId577"/>
    <p:sldId id="2147477938" r:id="rId578"/>
    <p:sldId id="2147477939" r:id="rId579"/>
    <p:sldId id="2147477940" r:id="rId580"/>
    <p:sldId id="2147477941" r:id="rId581"/>
    <p:sldId id="2147477942" r:id="rId582"/>
    <p:sldId id="2147477943" r:id="rId583"/>
    <p:sldId id="2147477944" r:id="rId584"/>
    <p:sldId id="2147477945" r:id="rId585"/>
    <p:sldId id="2147477946" r:id="rId586"/>
    <p:sldId id="2147477947" r:id="rId587"/>
    <p:sldId id="2147477948" r:id="rId588"/>
    <p:sldId id="2147477949" r:id="rId589"/>
    <p:sldId id="2147477950" r:id="rId590"/>
    <p:sldId id="2147477951" r:id="rId591"/>
    <p:sldId id="2147477952" r:id="rId592"/>
    <p:sldId id="2147477953" r:id="rId593"/>
    <p:sldId id="2147477954" r:id="rId594"/>
    <p:sldId id="2147477955" r:id="rId595"/>
    <p:sldId id="2147477956" r:id="rId596"/>
    <p:sldId id="2147477957" r:id="rId597"/>
    <p:sldId id="2147477958" r:id="rId598"/>
    <p:sldId id="2147477959" r:id="rId599"/>
    <p:sldId id="2147477960" r:id="rId600"/>
    <p:sldId id="2147477961" r:id="rId601"/>
    <p:sldId id="2147477962" r:id="rId602"/>
    <p:sldId id="2147477963" r:id="rId603"/>
    <p:sldId id="2147477964" r:id="rId604"/>
    <p:sldId id="2147477965" r:id="rId605"/>
    <p:sldId id="2147477966" r:id="rId606"/>
    <p:sldId id="2147477967" r:id="rId607"/>
    <p:sldId id="2147477968" r:id="rId608"/>
    <p:sldId id="2147477969" r:id="rId609"/>
    <p:sldId id="2147477970" r:id="rId610"/>
    <p:sldId id="2147477971" r:id="rId611"/>
    <p:sldId id="2147477972" r:id="rId612"/>
    <p:sldId id="2147477973" r:id="rId613"/>
    <p:sldId id="2147477974" r:id="rId614"/>
    <p:sldId id="2147477975" r:id="rId615"/>
    <p:sldId id="2147477976" r:id="rId616"/>
    <p:sldId id="2147477977" r:id="rId617"/>
    <p:sldId id="2147477978" r:id="rId618"/>
    <p:sldId id="2147477979" r:id="rId619"/>
    <p:sldId id="2147477980" r:id="rId620"/>
    <p:sldId id="2147477981" r:id="rId621"/>
    <p:sldId id="2147477982" r:id="rId622"/>
    <p:sldId id="2147477983" r:id="rId623"/>
    <p:sldId id="2147477984" r:id="rId624"/>
    <p:sldId id="2147477985" r:id="rId625"/>
    <p:sldId id="2147477986" r:id="rId626"/>
    <p:sldId id="2147477987" r:id="rId627"/>
    <p:sldId id="2147477988" r:id="rId628"/>
    <p:sldId id="2147477989" r:id="rId629"/>
    <p:sldId id="2147477990" r:id="rId630"/>
    <p:sldId id="2147477991" r:id="rId631"/>
    <p:sldId id="2147477992" r:id="rId632"/>
    <p:sldId id="2147477993" r:id="rId633"/>
    <p:sldId id="2147477994" r:id="rId634"/>
    <p:sldId id="2147477995" r:id="rId635"/>
    <p:sldId id="2147477996" r:id="rId636"/>
    <p:sldId id="2147477997" r:id="rId637"/>
    <p:sldId id="2147477998" r:id="rId638"/>
    <p:sldId id="2147477999" r:id="rId639"/>
    <p:sldId id="2147478000" r:id="rId640"/>
    <p:sldId id="2147478001" r:id="rId641"/>
    <p:sldId id="2147478002" r:id="rId642"/>
    <p:sldId id="2147478003" r:id="rId643"/>
    <p:sldId id="2147478004" r:id="rId644"/>
    <p:sldId id="2147478005" r:id="rId645"/>
    <p:sldId id="2147478006" r:id="rId646"/>
    <p:sldId id="2147478007" r:id="rId647"/>
    <p:sldId id="2147478008" r:id="rId648"/>
    <p:sldId id="2147478009" r:id="rId649"/>
    <p:sldId id="2147478010" r:id="rId650"/>
    <p:sldId id="2147478011" r:id="rId651"/>
    <p:sldId id="2147478012" r:id="rId652"/>
    <p:sldId id="2147478013" r:id="rId653"/>
    <p:sldId id="2147478014" r:id="rId654"/>
    <p:sldId id="2147478015" r:id="rId655"/>
    <p:sldId id="2147478016" r:id="rId656"/>
    <p:sldId id="2147478017" r:id="rId657"/>
    <p:sldId id="2147478018" r:id="rId658"/>
    <p:sldId id="2147478019" r:id="rId659"/>
    <p:sldId id="2147478020" r:id="rId660"/>
    <p:sldId id="2147478021" r:id="rId661"/>
    <p:sldId id="2147478022" r:id="rId662"/>
    <p:sldId id="2147478023" r:id="rId663"/>
    <p:sldId id="2147478024" r:id="rId664"/>
    <p:sldId id="2147478025" r:id="rId665"/>
    <p:sldId id="2147478026" r:id="rId666"/>
    <p:sldId id="2147478027" r:id="rId667"/>
    <p:sldId id="2147478028" r:id="rId668"/>
    <p:sldId id="2147478029" r:id="rId669"/>
    <p:sldId id="2147478030" r:id="rId670"/>
    <p:sldId id="2147478031" r:id="rId671"/>
    <p:sldId id="2147478032" r:id="rId672"/>
    <p:sldId id="2147478033" r:id="rId673"/>
    <p:sldId id="2147478034" r:id="rId674"/>
    <p:sldId id="2147478035" r:id="rId675"/>
    <p:sldId id="2147478036" r:id="rId676"/>
    <p:sldId id="2147478037" r:id="rId677"/>
    <p:sldId id="2147478038" r:id="rId678"/>
    <p:sldId id="2147478039" r:id="rId679"/>
    <p:sldId id="2147478040" r:id="rId680"/>
    <p:sldId id="2147478041" r:id="rId681"/>
    <p:sldId id="2147478042" r:id="rId682"/>
    <p:sldId id="2147478043" r:id="rId683"/>
    <p:sldId id="2147478044" r:id="rId684"/>
    <p:sldId id="2147478045" r:id="rId685"/>
    <p:sldId id="2147478046" r:id="rId686"/>
    <p:sldId id="2147478047" r:id="rId687"/>
    <p:sldId id="2147478048" r:id="rId688"/>
    <p:sldId id="2147478049" r:id="rId689"/>
    <p:sldId id="2147478050" r:id="rId690"/>
    <p:sldId id="2147478051" r:id="rId691"/>
    <p:sldId id="2147478052" r:id="rId692"/>
    <p:sldId id="2147478053" r:id="rId693"/>
    <p:sldId id="2147478054" r:id="rId694"/>
    <p:sldId id="2147478055" r:id="rId695"/>
    <p:sldId id="2147478056" r:id="rId696"/>
    <p:sldId id="2147478057" r:id="rId697"/>
    <p:sldId id="2147478058" r:id="rId698"/>
    <p:sldId id="2147478059" r:id="rId699"/>
    <p:sldId id="2147478060" r:id="rId700"/>
    <p:sldId id="2147478061" r:id="rId701"/>
    <p:sldId id="2147478062" r:id="rId702"/>
    <p:sldId id="2147478063" r:id="rId703"/>
    <p:sldId id="2147478064" r:id="rId704"/>
    <p:sldId id="2147478065" r:id="rId705"/>
    <p:sldId id="2147478066" r:id="rId706"/>
    <p:sldId id="2147478067" r:id="rId707"/>
    <p:sldId id="2147478068" r:id="rId708"/>
    <p:sldId id="2147478069" r:id="rId709"/>
    <p:sldId id="2147478070" r:id="rId710"/>
    <p:sldId id="2147478071" r:id="rId711"/>
    <p:sldId id="2147478072" r:id="rId712"/>
    <p:sldId id="2147478073" r:id="rId713"/>
    <p:sldId id="2147478074" r:id="rId714"/>
    <p:sldId id="2147478075" r:id="rId715"/>
    <p:sldId id="2147478076" r:id="rId716"/>
    <p:sldId id="2147478077" r:id="rId717"/>
    <p:sldId id="2147478078" r:id="rId718"/>
    <p:sldId id="2147478079" r:id="rId719"/>
    <p:sldId id="2147478080" r:id="rId720"/>
    <p:sldId id="2147478081" r:id="rId721"/>
    <p:sldId id="2147478082" r:id="rId722"/>
    <p:sldId id="2147478083" r:id="rId723"/>
    <p:sldId id="2147478084" r:id="rId724"/>
    <p:sldId id="2147478085" r:id="rId725"/>
    <p:sldId id="2147478086" r:id="rId726"/>
    <p:sldId id="2147478087" r:id="rId727"/>
    <p:sldId id="2147478088" r:id="rId728"/>
    <p:sldId id="2147478089" r:id="rId729"/>
    <p:sldId id="2147478090" r:id="rId730"/>
    <p:sldId id="2147478091" r:id="rId731"/>
    <p:sldId id="2147478092" r:id="rId732"/>
    <p:sldId id="2147478093" r:id="rId733"/>
    <p:sldId id="2147478094" r:id="rId734"/>
    <p:sldId id="2147478095" r:id="rId735"/>
    <p:sldId id="2147478096" r:id="rId736"/>
    <p:sldId id="2147478097" r:id="rId737"/>
    <p:sldId id="2147478098" r:id="rId738"/>
    <p:sldId id="2147478099" r:id="rId739"/>
    <p:sldId id="2147478100" r:id="rId740"/>
    <p:sldId id="2147478101" r:id="rId741"/>
    <p:sldId id="2147478102" r:id="rId742"/>
    <p:sldId id="2147478103" r:id="rId743"/>
    <p:sldId id="2147478104" r:id="rId744"/>
    <p:sldId id="2147478105" r:id="rId745"/>
    <p:sldId id="2147478106" r:id="rId746"/>
    <p:sldId id="2147478107" r:id="rId747"/>
    <p:sldId id="2147478108" r:id="rId748"/>
    <p:sldId id="2147478109" r:id="rId749"/>
    <p:sldId id="2147478110" r:id="rId750"/>
    <p:sldId id="2147478111" r:id="rId751"/>
    <p:sldId id="2147478112" r:id="rId752"/>
    <p:sldId id="2147478113" r:id="rId753"/>
    <p:sldId id="2147478114" r:id="rId754"/>
    <p:sldId id="2147478115" r:id="rId755"/>
    <p:sldId id="2147478116" r:id="rId756"/>
    <p:sldId id="2147478117" r:id="rId757"/>
    <p:sldId id="2147478118" r:id="rId758"/>
    <p:sldId id="2147478119" r:id="rId759"/>
    <p:sldId id="2147478120" r:id="rId760"/>
    <p:sldId id="2147478121" r:id="rId761"/>
    <p:sldId id="2147478122" r:id="rId762"/>
    <p:sldId id="2147478123" r:id="rId763"/>
    <p:sldId id="2147478124" r:id="rId764"/>
    <p:sldId id="2147478125" r:id="rId765"/>
    <p:sldId id="2147478126" r:id="rId76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D5914874-4E48-4757-AC8F-9D2FBFAD6B99}">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Lst>
        </p14:section>
        <p14:section name="Price Positioning Summary Sector" id="{0795E866-68EF-451A-B0ED-B3514B304DB2}">
          <p14:sldIdLst>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Lst>
        </p14:section>
        <p14:section name="Price Positioning Summary Segment" id="{6B1242D2-0F2D-4F58-A84B-8F6E3BF6547D}">
          <p14:sldIdLst>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Lst>
        </p14:section>
        <p14:section name="Price Positioning Analysis By Brands" id="{D47050D5-F1FB-49EA-8FB8-12157903843A}">
          <p14:sldIdLst>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Lst>
        </p14:section>
        <p14:section name="Price Positioning Analysis By Manufacturer" id="{A45FC5FF-1413-45FD-86B3-922F2815AC0D}">
          <p14:sldIdLst>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Lst>
        </p14:section>
        <p14:section name="Sectors Share and Growth By Brands" id="{4471BC14-2B50-401C-98BC-B4CE0353C355}">
          <p14:sldIdLst>
            <p14:sldId id="2147477993"/>
            <p14:sldId id="2147477994"/>
            <p14:sldId id="2147477995"/>
            <p14:sldId id="2147477996"/>
            <p14:sldId id="2147477997"/>
            <p14:sldId id="2147477998"/>
            <p14:sldId id="2147477999"/>
            <p14:sldId id="2147478000"/>
            <p14:sldId id="2147478001"/>
            <p14:sldId id="2147478002"/>
            <p14:sldId id="2147478003"/>
          </p14:sldIdLst>
        </p14:section>
        <p14:section name="Segments Share and Growth By Brands" id="{C3AF053A-D8AB-4EF4-9B5F-3F452F2CC72D}">
          <p14:sldIdLst>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Lst>
        </p14:section>
        <p14:section name="Sectors Share and Growth By Manufacturer" id="{62FE0416-894A-4F44-BE54-758AC35E9F65}">
          <p14:sldIdLst>
            <p14:sldId id="2147478026"/>
            <p14:sldId id="2147478027"/>
            <p14:sldId id="2147478028"/>
            <p14:sldId id="2147478029"/>
            <p14:sldId id="2147478030"/>
            <p14:sldId id="2147478031"/>
            <p14:sldId id="2147478032"/>
            <p14:sldId id="2147478033"/>
            <p14:sldId id="2147478034"/>
            <p14:sldId id="2147478035"/>
            <p14:sldId id="2147478036"/>
          </p14:sldIdLst>
        </p14:section>
        <p14:section name="Segments Share and Growth By Manufacturer" id="{6613E301-3062-4FF2-861E-81B8B94B74AF}">
          <p14:sldIdLst>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Lst>
        </p14:section>
        <p14:section name="Sec/Seg Value Sales Vs Avg Price By Manufacturer" id="{6F8252BC-AB48-4F00-90B1-324E53B1179C}">
          <p14:sldIdLst>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Lst>
        </p14:section>
        <p14:section name="Sec/Seg Value Sales Vs Avg Price" id="{622DAADE-2F5F-4610-8F08-D45DFA4E6FEA}">
          <p14:sldIdLst>
            <p14:sldId id="2147478076"/>
            <p14:sldId id="2147478077"/>
            <p14:sldId id="2147478078"/>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 id="2147478092"/>
          </p14:sldIdLst>
        </p14:section>
        <p14:section name="Sectors Value Sales Vs Avg Price" id="{6E85A190-095A-4937-A7C7-8E181F5B1AE3}">
          <p14:sldIdLst>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Lst>
        </p14:section>
        <p14:section name="Segment Value Sales Vs Avg Price" id="{5F6C24C8-2D15-4836-BE6D-9248DAA4E990}">
          <p14:sldIdLst>
            <p14:sldId id="2147478110"/>
            <p14:sldId id="2147478111"/>
            <p14:sldId id="2147478112"/>
            <p14:sldId id="2147478113"/>
            <p14:sldId id="2147478114"/>
            <p14:sldId id="2147478115"/>
            <p14:sldId id="2147478116"/>
            <p14:sldId id="2147478117"/>
            <p14:sldId id="2147478118"/>
            <p14:sldId id="2147478119"/>
            <p14:sldId id="2147478120"/>
            <p14:sldId id="2147478121"/>
            <p14:sldId id="2147478122"/>
            <p14:sldId id="2147478123"/>
            <p14:sldId id="2147478124"/>
            <p14:sldId id="2147478125"/>
            <p14:sldId id="21474781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326" y="43"/>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viewProps" Target="viewProps.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707" Type="http://schemas.openxmlformats.org/officeDocument/2006/relationships/slide" Target="slides/slide703.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slide" Target="slides/slide616.xml"/><Relationship Id="rId718" Type="http://schemas.openxmlformats.org/officeDocument/2006/relationships/slide" Target="slides/slide714.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tableStyles" Target="tableStyles.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720" Type="http://schemas.openxmlformats.org/officeDocument/2006/relationships/slide" Target="slides/slide716.xml"/><Relationship Id="rId152" Type="http://schemas.openxmlformats.org/officeDocument/2006/relationships/slide" Target="slides/slide148.xml"/><Relationship Id="rId457" Type="http://schemas.openxmlformats.org/officeDocument/2006/relationships/slide" Target="slides/slide453.xml"/><Relationship Id="rId664" Type="http://schemas.openxmlformats.org/officeDocument/2006/relationships/slide" Target="slides/slide660.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697" Type="http://schemas.openxmlformats.org/officeDocument/2006/relationships/slide" Target="slides/slide693.xml"/><Relationship Id="rId252" Type="http://schemas.openxmlformats.org/officeDocument/2006/relationships/slide" Target="slides/slide248.xml"/><Relationship Id="rId47" Type="http://schemas.openxmlformats.org/officeDocument/2006/relationships/slide" Target="slides/slide4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196" Type="http://schemas.openxmlformats.org/officeDocument/2006/relationships/slide" Target="slides/slide192.xml"/><Relationship Id="rId417" Type="http://schemas.openxmlformats.org/officeDocument/2006/relationships/slide" Target="slides/slide413.xml"/><Relationship Id="rId624" Type="http://schemas.openxmlformats.org/officeDocument/2006/relationships/slide" Target="slides/slide620.xml"/><Relationship Id="rId263" Type="http://schemas.openxmlformats.org/officeDocument/2006/relationships/slide" Target="slides/slide259.xml"/><Relationship Id="rId470" Type="http://schemas.openxmlformats.org/officeDocument/2006/relationships/slide" Target="slides/slide466.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428" Type="http://schemas.openxmlformats.org/officeDocument/2006/relationships/slide" Target="slides/slide424.xml"/><Relationship Id="rId635" Type="http://schemas.openxmlformats.org/officeDocument/2006/relationships/slide" Target="slides/slide631.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492" Type="http://schemas.openxmlformats.org/officeDocument/2006/relationships/slide" Target="slides/slide488.xml"/><Relationship Id="rId713" Type="http://schemas.openxmlformats.org/officeDocument/2006/relationships/slide" Target="slides/slide709.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78" Type="http://schemas.openxmlformats.org/officeDocument/2006/relationships/slide" Target="slides/slide174.xml"/><Relationship Id="rId301" Type="http://schemas.openxmlformats.org/officeDocument/2006/relationships/slide" Target="slides/slide297.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245" Type="http://schemas.openxmlformats.org/officeDocument/2006/relationships/slide" Target="slides/slide241.xml"/><Relationship Id="rId452" Type="http://schemas.openxmlformats.org/officeDocument/2006/relationships/slide" Target="slides/slide44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presProps" Target="presProps.xml"/><Relationship Id="rId20" Type="http://schemas.openxmlformats.org/officeDocument/2006/relationships/slide" Target="slides/slide16.xml"/><Relationship Id="rId628" Type="http://schemas.openxmlformats.org/officeDocument/2006/relationships/slide" Target="slides/slide624.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510" Type="http://schemas.openxmlformats.org/officeDocument/2006/relationships/slide" Target="slides/slide506.xml"/><Relationship Id="rId552" Type="http://schemas.openxmlformats.org/officeDocument/2006/relationships/slide" Target="slides/slide548.xml"/><Relationship Id="rId594" Type="http://schemas.openxmlformats.org/officeDocument/2006/relationships/slide" Target="slides/slide590.xml"/><Relationship Id="rId608" Type="http://schemas.openxmlformats.org/officeDocument/2006/relationships/slide" Target="slides/slide60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slide" Target="slides/slide492.xml"/><Relationship Id="rId661" Type="http://schemas.openxmlformats.org/officeDocument/2006/relationships/slide" Target="slides/slide657.xml"/><Relationship Id="rId717" Type="http://schemas.openxmlformats.org/officeDocument/2006/relationships/slide" Target="slides/slide713.xml"/><Relationship Id="rId759" Type="http://schemas.openxmlformats.org/officeDocument/2006/relationships/slide" Target="slides/slide75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521" Type="http://schemas.openxmlformats.org/officeDocument/2006/relationships/slide" Target="slides/slide517.xml"/><Relationship Id="rId563" Type="http://schemas.openxmlformats.org/officeDocument/2006/relationships/slide" Target="slides/slide559.xml"/><Relationship Id="rId619" Type="http://schemas.openxmlformats.org/officeDocument/2006/relationships/slide" Target="slides/slide615.xml"/><Relationship Id="rId770" Type="http://schemas.openxmlformats.org/officeDocument/2006/relationships/theme" Target="theme/theme1.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630" Type="http://schemas.openxmlformats.org/officeDocument/2006/relationships/slide" Target="slides/slide626.xml"/><Relationship Id="rId672" Type="http://schemas.openxmlformats.org/officeDocument/2006/relationships/slide" Target="slides/slide668.xml"/><Relationship Id="rId728" Type="http://schemas.openxmlformats.org/officeDocument/2006/relationships/slide" Target="slides/slide72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slide" Target="slides/slide570.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641" Type="http://schemas.openxmlformats.org/officeDocument/2006/relationships/slide" Target="slides/slide637.xml"/><Relationship Id="rId683" Type="http://schemas.openxmlformats.org/officeDocument/2006/relationships/slide" Target="slides/slide679.xml"/><Relationship Id="rId739" Type="http://schemas.openxmlformats.org/officeDocument/2006/relationships/slide" Target="slides/slide73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585" Type="http://schemas.openxmlformats.org/officeDocument/2006/relationships/slide" Target="slides/slide581.xml"/><Relationship Id="rId750" Type="http://schemas.openxmlformats.org/officeDocument/2006/relationships/slide" Target="slides/slide746.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610" Type="http://schemas.openxmlformats.org/officeDocument/2006/relationships/slide" Target="slides/slide606.xml"/><Relationship Id="rId652" Type="http://schemas.openxmlformats.org/officeDocument/2006/relationships/slide" Target="slides/slide648.xml"/><Relationship Id="rId694" Type="http://schemas.openxmlformats.org/officeDocument/2006/relationships/slide" Target="slides/slide690.xml"/><Relationship Id="rId708" Type="http://schemas.openxmlformats.org/officeDocument/2006/relationships/slide" Target="slides/slide704.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596" Type="http://schemas.openxmlformats.org/officeDocument/2006/relationships/slide" Target="slides/slide592.xml"/><Relationship Id="rId761" Type="http://schemas.openxmlformats.org/officeDocument/2006/relationships/slide" Target="slides/slide757.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621" Type="http://schemas.openxmlformats.org/officeDocument/2006/relationships/slide" Target="slides/slide617.xml"/><Relationship Id="rId663" Type="http://schemas.openxmlformats.org/officeDocument/2006/relationships/slide" Target="slides/slide659.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719" Type="http://schemas.openxmlformats.org/officeDocument/2006/relationships/slide" Target="slides/slide715.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30" Type="http://schemas.openxmlformats.org/officeDocument/2006/relationships/slide" Target="slides/slide726.xml"/><Relationship Id="rId772" Type="http://schemas.microsoft.com/office/2015/10/relationships/revisionInfo" Target="revisionInfo.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632" Type="http://schemas.openxmlformats.org/officeDocument/2006/relationships/slide" Target="slides/slide628.xml"/><Relationship Id="rId271" Type="http://schemas.openxmlformats.org/officeDocument/2006/relationships/slide" Target="slides/slide267.xml"/><Relationship Id="rId674" Type="http://schemas.openxmlformats.org/officeDocument/2006/relationships/slide" Target="slides/slide670.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741" Type="http://schemas.openxmlformats.org/officeDocument/2006/relationships/slide" Target="slides/slide737.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643" Type="http://schemas.openxmlformats.org/officeDocument/2006/relationships/slide" Target="slides/slide639.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710" Type="http://schemas.openxmlformats.org/officeDocument/2006/relationships/slide" Target="slides/slide706.xml"/><Relationship Id="rId752" Type="http://schemas.openxmlformats.org/officeDocument/2006/relationships/slide" Target="slides/slide748.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251" Type="http://schemas.openxmlformats.org/officeDocument/2006/relationships/slide" Target="slides/slide247.xml"/><Relationship Id="rId489" Type="http://schemas.openxmlformats.org/officeDocument/2006/relationships/slide" Target="slides/slide485.xml"/><Relationship Id="rId654" Type="http://schemas.openxmlformats.org/officeDocument/2006/relationships/slide" Target="slides/slide650.xml"/><Relationship Id="rId696" Type="http://schemas.openxmlformats.org/officeDocument/2006/relationships/slide" Target="slides/slide692.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721" Type="http://schemas.openxmlformats.org/officeDocument/2006/relationships/slide" Target="slides/slide717.xml"/><Relationship Id="rId763" Type="http://schemas.openxmlformats.org/officeDocument/2006/relationships/slide" Target="slides/slide759.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slide" Target="slides/slide619.xml"/><Relationship Id="rId665" Type="http://schemas.openxmlformats.org/officeDocument/2006/relationships/slide" Target="slides/slide661.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732" Type="http://schemas.openxmlformats.org/officeDocument/2006/relationships/slide" Target="slides/slide728.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634" Type="http://schemas.openxmlformats.org/officeDocument/2006/relationships/slide" Target="slides/slide630.xml"/><Relationship Id="rId676" Type="http://schemas.openxmlformats.org/officeDocument/2006/relationships/slide" Target="slides/slide672.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701" Type="http://schemas.openxmlformats.org/officeDocument/2006/relationships/slide" Target="slides/slide697.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743" Type="http://schemas.openxmlformats.org/officeDocument/2006/relationships/slide" Target="slides/slide739.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645" Type="http://schemas.openxmlformats.org/officeDocument/2006/relationships/slide" Target="slides/slide641.xml"/><Relationship Id="rId687" Type="http://schemas.openxmlformats.org/officeDocument/2006/relationships/slide" Target="slides/slide683.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754" Type="http://schemas.openxmlformats.org/officeDocument/2006/relationships/slide" Target="slides/slide750.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656" Type="http://schemas.openxmlformats.org/officeDocument/2006/relationships/slide" Target="slides/slide652.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698" Type="http://schemas.openxmlformats.org/officeDocument/2006/relationships/slide" Target="slides/slide694.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23" Type="http://schemas.openxmlformats.org/officeDocument/2006/relationships/slide" Target="slides/slide719.xml"/><Relationship Id="rId765" Type="http://schemas.openxmlformats.org/officeDocument/2006/relationships/slide" Target="slides/slide761.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625" Type="http://schemas.openxmlformats.org/officeDocument/2006/relationships/slide" Target="slides/slide621.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667" Type="http://schemas.openxmlformats.org/officeDocument/2006/relationships/slide" Target="slides/slide663.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34" Type="http://schemas.openxmlformats.org/officeDocument/2006/relationships/slide" Target="slides/slide730.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636" Type="http://schemas.openxmlformats.org/officeDocument/2006/relationships/slide" Target="slides/slide632.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703" Type="http://schemas.openxmlformats.org/officeDocument/2006/relationships/slide" Target="slides/slide699.xml"/><Relationship Id="rId745" Type="http://schemas.openxmlformats.org/officeDocument/2006/relationships/slide" Target="slides/slide741.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202" Type="http://schemas.openxmlformats.org/officeDocument/2006/relationships/slide" Target="slides/slide198.xml"/><Relationship Id="rId244" Type="http://schemas.openxmlformats.org/officeDocument/2006/relationships/slide" Target="slides/slide240.xml"/><Relationship Id="rId647" Type="http://schemas.openxmlformats.org/officeDocument/2006/relationships/slide" Target="slides/slide643.xml"/><Relationship Id="rId689" Type="http://schemas.openxmlformats.org/officeDocument/2006/relationships/slide" Target="slides/slide685.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714" Type="http://schemas.openxmlformats.org/officeDocument/2006/relationships/slide" Target="slides/slide710.xml"/><Relationship Id="rId756" Type="http://schemas.openxmlformats.org/officeDocument/2006/relationships/slide" Target="slides/slide752.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658" Type="http://schemas.openxmlformats.org/officeDocument/2006/relationships/slide" Target="slides/slide654.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725" Type="http://schemas.openxmlformats.org/officeDocument/2006/relationships/slide" Target="slides/slide721.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767" Type="http://schemas.openxmlformats.org/officeDocument/2006/relationships/notesMaster" Target="notesMasters/notesMaster1.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669" Type="http://schemas.openxmlformats.org/officeDocument/2006/relationships/slide" Target="slides/slide665.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680" Type="http://schemas.openxmlformats.org/officeDocument/2006/relationships/slide" Target="slides/slide676.xml"/><Relationship Id="rId736" Type="http://schemas.openxmlformats.org/officeDocument/2006/relationships/slide" Target="slides/slide732.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slide" Target="slides/slide634.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705" Type="http://schemas.openxmlformats.org/officeDocument/2006/relationships/slide" Target="slides/slide701.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691" Type="http://schemas.openxmlformats.org/officeDocument/2006/relationships/slide" Target="slides/slide687.xml"/><Relationship Id="rId747" Type="http://schemas.openxmlformats.org/officeDocument/2006/relationships/slide" Target="slides/slide743.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649" Type="http://schemas.openxmlformats.org/officeDocument/2006/relationships/slide" Target="slides/slide645.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660" Type="http://schemas.openxmlformats.org/officeDocument/2006/relationships/slide" Target="slides/slide656.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716" Type="http://schemas.openxmlformats.org/officeDocument/2006/relationships/slide" Target="slides/slide712.xml"/><Relationship Id="rId758" Type="http://schemas.openxmlformats.org/officeDocument/2006/relationships/slide" Target="slides/slide754.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727" Type="http://schemas.openxmlformats.org/officeDocument/2006/relationships/slide" Target="slides/slide723.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226" Type="http://schemas.openxmlformats.org/officeDocument/2006/relationships/slide" Target="slides/slide222.xml"/><Relationship Id="rId433" Type="http://schemas.openxmlformats.org/officeDocument/2006/relationships/slide" Target="slides/slide429.xml"/><Relationship Id="rId640" Type="http://schemas.openxmlformats.org/officeDocument/2006/relationships/slide" Target="slides/slide636.xml"/><Relationship Id="rId738" Type="http://schemas.openxmlformats.org/officeDocument/2006/relationships/slide" Target="slides/slide734.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740" Type="http://schemas.openxmlformats.org/officeDocument/2006/relationships/slide" Target="slides/slide736.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32" Type="http://schemas.openxmlformats.org/officeDocument/2006/relationships/slide" Target="slides/slide128.xml"/><Relationship Id="rId437" Type="http://schemas.openxmlformats.org/officeDocument/2006/relationships/slide" Target="slides/slide433.xml"/><Relationship Id="rId644" Type="http://schemas.openxmlformats.org/officeDocument/2006/relationships/slide" Target="slides/slide64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459" Type="http://schemas.openxmlformats.org/officeDocument/2006/relationships/slide" Target="slides/slide455.xml"/><Relationship Id="rId666" Type="http://schemas.openxmlformats.org/officeDocument/2006/relationships/slide" Target="slides/slide662.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733" Type="http://schemas.openxmlformats.org/officeDocument/2006/relationships/slide" Target="slides/slide729.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232" Type="http://schemas.openxmlformats.org/officeDocument/2006/relationships/slide" Target="slides/slide228.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254" Type="http://schemas.openxmlformats.org/officeDocument/2006/relationships/slide" Target="slides/slide250.xml"/><Relationship Id="rId699" Type="http://schemas.openxmlformats.org/officeDocument/2006/relationships/slide" Target="slides/slide695.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265" Type="http://schemas.openxmlformats.org/officeDocument/2006/relationships/slide" Target="slides/slide261.xml"/><Relationship Id="rId472" Type="http://schemas.openxmlformats.org/officeDocument/2006/relationships/slide" Target="slides/slide468.xml"/><Relationship Id="rId125" Type="http://schemas.openxmlformats.org/officeDocument/2006/relationships/slide" Target="slides/slide121.xml"/><Relationship Id="rId332" Type="http://schemas.openxmlformats.org/officeDocument/2006/relationships/slide" Target="slides/slide328.xml"/><Relationship Id="rId637" Type="http://schemas.openxmlformats.org/officeDocument/2006/relationships/slide" Target="slides/slide633.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203" Type="http://schemas.openxmlformats.org/officeDocument/2006/relationships/slide" Target="slides/slide199.xml"/><Relationship Id="rId648" Type="http://schemas.openxmlformats.org/officeDocument/2006/relationships/slide" Target="slides/slide644.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147" Type="http://schemas.openxmlformats.org/officeDocument/2006/relationships/slide" Target="slides/slide143.xml"/><Relationship Id="rId354" Type="http://schemas.openxmlformats.org/officeDocument/2006/relationships/slide" Target="slides/slide350.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58" Type="http://schemas.openxmlformats.org/officeDocument/2006/relationships/slide" Target="slides/slide154.xml"/><Relationship Id="rId726" Type="http://schemas.openxmlformats.org/officeDocument/2006/relationships/slide" Target="slides/slide722.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737" Type="http://schemas.openxmlformats.org/officeDocument/2006/relationships/slide" Target="slides/slide733.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303" Type="http://schemas.openxmlformats.org/officeDocument/2006/relationships/slide" Target="slides/slide299.xml"/><Relationship Id="rId748" Type="http://schemas.openxmlformats.org/officeDocument/2006/relationships/slide" Target="slides/slide74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3" Type="http://schemas.openxmlformats.org/officeDocument/2006/relationships/package" Target="../embeddings/Microsoft_Excel_Worksheet807.xlsx"/><Relationship Id="rId2" Type="http://schemas.microsoft.com/office/2011/relationships/chartColorStyle" Target="colors1.xml"/><Relationship Id="rId1" Type="http://schemas.microsoft.com/office/2011/relationships/chartStyle" Target="style1.xml"/></Relationships>
</file>

<file path=ppt/charts/_rels/chart809.xml.rels><?xml version="1.0" encoding="UTF-8" standalone="yes"?>
<Relationships xmlns="http://schemas.openxmlformats.org/package/2006/relationships"><Relationship Id="rId3" Type="http://schemas.openxmlformats.org/officeDocument/2006/relationships/package" Target="../embeddings/Microsoft_Excel_Worksheet808.xlsx"/><Relationship Id="rId2" Type="http://schemas.microsoft.com/office/2011/relationships/chartColorStyle" Target="colors2.xml"/><Relationship Id="rId1" Type="http://schemas.microsoft.com/office/2011/relationships/chartStyle" Target="style2.xml"/></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3" Type="http://schemas.openxmlformats.org/officeDocument/2006/relationships/package" Target="../embeddings/Microsoft_Excel_Worksheet809.xlsx"/><Relationship Id="rId2" Type="http://schemas.microsoft.com/office/2011/relationships/chartColorStyle" Target="colors3.xml"/><Relationship Id="rId1" Type="http://schemas.microsoft.com/office/2011/relationships/chartStyle" Target="style3.xml"/></Relationships>
</file>

<file path=ppt/charts/_rels/chart811.xml.rels><?xml version="1.0" encoding="UTF-8" standalone="yes"?>
<Relationships xmlns="http://schemas.openxmlformats.org/package/2006/relationships"><Relationship Id="rId3" Type="http://schemas.openxmlformats.org/officeDocument/2006/relationships/package" Target="../embeddings/Microsoft_Excel_Worksheet810.xlsx"/><Relationship Id="rId2" Type="http://schemas.microsoft.com/office/2011/relationships/chartColorStyle" Target="colors4.xml"/><Relationship Id="rId1" Type="http://schemas.microsoft.com/office/2011/relationships/chartStyle" Target="style4.xml"/></Relationships>
</file>

<file path=ppt/charts/_rels/chart812.xml.rels><?xml version="1.0" encoding="UTF-8" standalone="yes"?>
<Relationships xmlns="http://schemas.openxmlformats.org/package/2006/relationships"><Relationship Id="rId3" Type="http://schemas.openxmlformats.org/officeDocument/2006/relationships/package" Target="../embeddings/Microsoft_Excel_Worksheet811.xlsx"/><Relationship Id="rId2" Type="http://schemas.microsoft.com/office/2011/relationships/chartColorStyle" Target="colors5.xml"/><Relationship Id="rId1" Type="http://schemas.microsoft.com/office/2011/relationships/chartStyle" Target="style5.xml"/></Relationships>
</file>

<file path=ppt/charts/_rels/chart813.xml.rels><?xml version="1.0" encoding="UTF-8" standalone="yes"?>
<Relationships xmlns="http://schemas.openxmlformats.org/package/2006/relationships"><Relationship Id="rId3" Type="http://schemas.openxmlformats.org/officeDocument/2006/relationships/package" Target="../embeddings/Microsoft_Excel_Worksheet812.xlsx"/><Relationship Id="rId2" Type="http://schemas.microsoft.com/office/2011/relationships/chartColorStyle" Target="colors6.xml"/><Relationship Id="rId1" Type="http://schemas.microsoft.com/office/2011/relationships/chartStyle" Target="style6.xml"/></Relationships>
</file>

<file path=ppt/charts/_rels/chart814.xml.rels><?xml version="1.0" encoding="UTF-8" standalone="yes"?>
<Relationships xmlns="http://schemas.openxmlformats.org/package/2006/relationships"><Relationship Id="rId3" Type="http://schemas.openxmlformats.org/officeDocument/2006/relationships/package" Target="../embeddings/Microsoft_Excel_Worksheet813.xlsx"/><Relationship Id="rId2" Type="http://schemas.microsoft.com/office/2011/relationships/chartColorStyle" Target="colors7.xml"/><Relationship Id="rId1" Type="http://schemas.microsoft.com/office/2011/relationships/chartStyle" Target="style7.xml"/></Relationships>
</file>

<file path=ppt/charts/_rels/chart815.xml.rels><?xml version="1.0" encoding="UTF-8" standalone="yes"?>
<Relationships xmlns="http://schemas.openxmlformats.org/package/2006/relationships"><Relationship Id="rId3" Type="http://schemas.openxmlformats.org/officeDocument/2006/relationships/package" Target="../embeddings/Microsoft_Excel_Worksheet814.xlsx"/><Relationship Id="rId2" Type="http://schemas.microsoft.com/office/2011/relationships/chartColorStyle" Target="colors8.xml"/><Relationship Id="rId1" Type="http://schemas.microsoft.com/office/2011/relationships/chartStyle" Target="style8.xml"/></Relationships>
</file>

<file path=ppt/charts/_rels/chart816.xml.rels><?xml version="1.0" encoding="UTF-8" standalone="yes"?>
<Relationships xmlns="http://schemas.openxmlformats.org/package/2006/relationships"><Relationship Id="rId3" Type="http://schemas.openxmlformats.org/officeDocument/2006/relationships/package" Target="../embeddings/Microsoft_Excel_Worksheet815.xlsx"/><Relationship Id="rId2" Type="http://schemas.microsoft.com/office/2011/relationships/chartColorStyle" Target="colors9.xml"/><Relationship Id="rId1" Type="http://schemas.microsoft.com/office/2011/relationships/chartStyle" Target="style9.xml"/></Relationships>
</file>

<file path=ppt/charts/_rels/chart817.xml.rels><?xml version="1.0" encoding="UTF-8" standalone="yes"?>
<Relationships xmlns="http://schemas.openxmlformats.org/package/2006/relationships"><Relationship Id="rId3" Type="http://schemas.openxmlformats.org/officeDocument/2006/relationships/package" Target="../embeddings/Microsoft_Excel_Worksheet816.xlsx"/><Relationship Id="rId2" Type="http://schemas.microsoft.com/office/2011/relationships/chartColorStyle" Target="colors10.xml"/><Relationship Id="rId1" Type="http://schemas.microsoft.com/office/2011/relationships/chartStyle" Target="style10.xml"/></Relationships>
</file>

<file path=ppt/charts/_rels/chart818.xml.rels><?xml version="1.0" encoding="UTF-8" standalone="yes"?>
<Relationships xmlns="http://schemas.openxmlformats.org/package/2006/relationships"><Relationship Id="rId3" Type="http://schemas.openxmlformats.org/officeDocument/2006/relationships/package" Target="../embeddings/Microsoft_Excel_Worksheet817.xlsx"/><Relationship Id="rId2" Type="http://schemas.microsoft.com/office/2011/relationships/chartColorStyle" Target="colors11.xml"/><Relationship Id="rId1" Type="http://schemas.microsoft.com/office/2011/relationships/chartStyle" Target="style11.xml"/></Relationships>
</file>

<file path=ppt/charts/_rels/chart819.xml.rels><?xml version="1.0" encoding="UTF-8" standalone="yes"?>
<Relationships xmlns="http://schemas.openxmlformats.org/package/2006/relationships"><Relationship Id="rId3" Type="http://schemas.openxmlformats.org/officeDocument/2006/relationships/package" Target="../embeddings/Microsoft_Excel_Worksheet818.xlsx"/><Relationship Id="rId2" Type="http://schemas.microsoft.com/office/2011/relationships/chartColorStyle" Target="colors12.xml"/><Relationship Id="rId1" Type="http://schemas.microsoft.com/office/2011/relationships/chartStyle" Target="style12.xml"/></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3" Type="http://schemas.openxmlformats.org/officeDocument/2006/relationships/package" Target="../embeddings/Microsoft_Excel_Worksheet819.xlsx"/><Relationship Id="rId2" Type="http://schemas.microsoft.com/office/2011/relationships/chartColorStyle" Target="colors13.xml"/><Relationship Id="rId1" Type="http://schemas.microsoft.com/office/2011/relationships/chartStyle" Target="style13.xml"/></Relationships>
</file>

<file path=ppt/charts/_rels/chart821.xml.rels><?xml version="1.0" encoding="UTF-8" standalone="yes"?>
<Relationships xmlns="http://schemas.openxmlformats.org/package/2006/relationships"><Relationship Id="rId3" Type="http://schemas.openxmlformats.org/officeDocument/2006/relationships/package" Target="../embeddings/Microsoft_Excel_Worksheet820.xlsx"/><Relationship Id="rId2" Type="http://schemas.microsoft.com/office/2011/relationships/chartColorStyle" Target="colors14.xml"/><Relationship Id="rId1" Type="http://schemas.microsoft.com/office/2011/relationships/chartStyle" Target="style14.xml"/></Relationships>
</file>

<file path=ppt/charts/_rels/chart822.xml.rels><?xml version="1.0" encoding="UTF-8" standalone="yes"?>
<Relationships xmlns="http://schemas.openxmlformats.org/package/2006/relationships"><Relationship Id="rId3" Type="http://schemas.openxmlformats.org/officeDocument/2006/relationships/package" Target="../embeddings/Microsoft_Excel_Worksheet821.xlsx"/><Relationship Id="rId2" Type="http://schemas.microsoft.com/office/2011/relationships/chartColorStyle" Target="colors15.xml"/><Relationship Id="rId1" Type="http://schemas.microsoft.com/office/2011/relationships/chartStyle" Target="style15.xml"/></Relationships>
</file>

<file path=ppt/charts/_rels/chart823.xml.rels><?xml version="1.0" encoding="UTF-8" standalone="yes"?>
<Relationships xmlns="http://schemas.openxmlformats.org/package/2006/relationships"><Relationship Id="rId3" Type="http://schemas.openxmlformats.org/officeDocument/2006/relationships/package" Target="../embeddings/Microsoft_Excel_Worksheet822.xlsx"/><Relationship Id="rId2" Type="http://schemas.microsoft.com/office/2011/relationships/chartColorStyle" Target="colors16.xml"/><Relationship Id="rId1" Type="http://schemas.microsoft.com/office/2011/relationships/chartStyle" Target="style16.xml"/></Relationships>
</file>

<file path=ppt/charts/_rels/chart824.xml.rels><?xml version="1.0" encoding="UTF-8" standalone="yes"?>
<Relationships xmlns="http://schemas.openxmlformats.org/package/2006/relationships"><Relationship Id="rId3" Type="http://schemas.openxmlformats.org/officeDocument/2006/relationships/package" Target="../embeddings/Microsoft_Excel_Worksheet823.xlsx"/><Relationship Id="rId2" Type="http://schemas.microsoft.com/office/2011/relationships/chartColorStyle" Target="colors17.xml"/><Relationship Id="rId1" Type="http://schemas.microsoft.com/office/2011/relationships/chartStyle" Target="style17.xml"/></Relationships>
</file>

<file path=ppt/charts/_rels/chart825.xml.rels><?xml version="1.0" encoding="UTF-8" standalone="yes"?>
<Relationships xmlns="http://schemas.openxmlformats.org/package/2006/relationships"><Relationship Id="rId3" Type="http://schemas.openxmlformats.org/officeDocument/2006/relationships/package" Target="../embeddings/Microsoft_Excel_Worksheet824.xlsx"/><Relationship Id="rId2" Type="http://schemas.microsoft.com/office/2011/relationships/chartColorStyle" Target="colors18.xml"/><Relationship Id="rId1" Type="http://schemas.microsoft.com/office/2011/relationships/chartStyle" Target="style18.xml"/></Relationships>
</file>

<file path=ppt/charts/_rels/chart826.xml.rels><?xml version="1.0" encoding="UTF-8" standalone="yes"?>
<Relationships xmlns="http://schemas.openxmlformats.org/package/2006/relationships"><Relationship Id="rId3" Type="http://schemas.openxmlformats.org/officeDocument/2006/relationships/package" Target="../embeddings/Microsoft_Excel_Worksheet825.xlsx"/><Relationship Id="rId2" Type="http://schemas.microsoft.com/office/2011/relationships/chartColorStyle" Target="colors19.xml"/><Relationship Id="rId1" Type="http://schemas.microsoft.com/office/2011/relationships/chartStyle" Target="style19.xml"/></Relationships>
</file>

<file path=ppt/charts/_rels/chart827.xml.rels><?xml version="1.0" encoding="UTF-8" standalone="yes"?>
<Relationships xmlns="http://schemas.openxmlformats.org/package/2006/relationships"><Relationship Id="rId3" Type="http://schemas.openxmlformats.org/officeDocument/2006/relationships/package" Target="../embeddings/Microsoft_Excel_Worksheet826.xlsx"/><Relationship Id="rId2" Type="http://schemas.microsoft.com/office/2011/relationships/chartColorStyle" Target="colors20.xml"/><Relationship Id="rId1" Type="http://schemas.microsoft.com/office/2011/relationships/chartStyle" Target="style20.xml"/></Relationships>
</file>

<file path=ppt/charts/_rels/chart828.xml.rels><?xml version="1.0" encoding="UTF-8" standalone="yes"?>
<Relationships xmlns="http://schemas.openxmlformats.org/package/2006/relationships"><Relationship Id="rId3" Type="http://schemas.openxmlformats.org/officeDocument/2006/relationships/package" Target="../embeddings/Microsoft_Excel_Worksheet827.xlsx"/><Relationship Id="rId2" Type="http://schemas.microsoft.com/office/2011/relationships/chartColorStyle" Target="colors21.xml"/><Relationship Id="rId1" Type="http://schemas.microsoft.com/office/2011/relationships/chartStyle" Target="style21.xml"/></Relationships>
</file>

<file path=ppt/charts/_rels/chart829.xml.rels><?xml version="1.0" encoding="UTF-8" standalone="yes"?>
<Relationships xmlns="http://schemas.openxmlformats.org/package/2006/relationships"><Relationship Id="rId3" Type="http://schemas.openxmlformats.org/officeDocument/2006/relationships/package" Target="../embeddings/Microsoft_Excel_Worksheet828.xlsx"/><Relationship Id="rId2" Type="http://schemas.microsoft.com/office/2011/relationships/chartColorStyle" Target="colors22.xml"/><Relationship Id="rId1" Type="http://schemas.microsoft.com/office/2011/relationships/chartStyle" Target="style22.xml"/></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3" Type="http://schemas.openxmlformats.org/officeDocument/2006/relationships/package" Target="../embeddings/Microsoft_Excel_Worksheet829.xlsx"/><Relationship Id="rId2" Type="http://schemas.microsoft.com/office/2011/relationships/chartColorStyle" Target="colors23.xml"/><Relationship Id="rId1" Type="http://schemas.microsoft.com/office/2011/relationships/chartStyle" Target="style23.xml"/></Relationships>
</file>

<file path=ppt/charts/_rels/chart831.xml.rels><?xml version="1.0" encoding="UTF-8" standalone="yes"?>
<Relationships xmlns="http://schemas.openxmlformats.org/package/2006/relationships"><Relationship Id="rId3" Type="http://schemas.openxmlformats.org/officeDocument/2006/relationships/package" Target="../embeddings/Microsoft_Excel_Worksheet830.xlsx"/><Relationship Id="rId2" Type="http://schemas.microsoft.com/office/2011/relationships/chartColorStyle" Target="colors24.xml"/><Relationship Id="rId1" Type="http://schemas.microsoft.com/office/2011/relationships/chartStyle" Target="style24.xml"/></Relationships>
</file>

<file path=ppt/charts/_rels/chart832.xml.rels><?xml version="1.0" encoding="UTF-8" standalone="yes"?>
<Relationships xmlns="http://schemas.openxmlformats.org/package/2006/relationships"><Relationship Id="rId3" Type="http://schemas.openxmlformats.org/officeDocument/2006/relationships/package" Target="../embeddings/Microsoft_Excel_Worksheet831.xlsx"/><Relationship Id="rId2" Type="http://schemas.microsoft.com/office/2011/relationships/chartColorStyle" Target="colors25.xml"/><Relationship Id="rId1" Type="http://schemas.microsoft.com/office/2011/relationships/chartStyle" Target="style25.xml"/></Relationships>
</file>

<file path=ppt/charts/_rels/chart833.xml.rels><?xml version="1.0" encoding="UTF-8" standalone="yes"?>
<Relationships xmlns="http://schemas.openxmlformats.org/package/2006/relationships"><Relationship Id="rId3" Type="http://schemas.openxmlformats.org/officeDocument/2006/relationships/package" Target="../embeddings/Microsoft_Excel_Worksheet832.xlsx"/><Relationship Id="rId2" Type="http://schemas.microsoft.com/office/2011/relationships/chartColorStyle" Target="colors26.xml"/><Relationship Id="rId1" Type="http://schemas.microsoft.com/office/2011/relationships/chartStyle" Target="style26.xml"/></Relationships>
</file>

<file path=ppt/charts/_rels/chart834.xml.rels><?xml version="1.0" encoding="UTF-8" standalone="yes"?>
<Relationships xmlns="http://schemas.openxmlformats.org/package/2006/relationships"><Relationship Id="rId3" Type="http://schemas.openxmlformats.org/officeDocument/2006/relationships/package" Target="../embeddings/Microsoft_Excel_Worksheet833.xlsx"/><Relationship Id="rId2" Type="http://schemas.microsoft.com/office/2011/relationships/chartColorStyle" Target="colors27.xml"/><Relationship Id="rId1" Type="http://schemas.microsoft.com/office/2011/relationships/chartStyle" Target="style27.xml"/></Relationships>
</file>

<file path=ppt/charts/_rels/chart835.xml.rels><?xml version="1.0" encoding="UTF-8" standalone="yes"?>
<Relationships xmlns="http://schemas.openxmlformats.org/package/2006/relationships"><Relationship Id="rId3" Type="http://schemas.openxmlformats.org/officeDocument/2006/relationships/package" Target="../embeddings/Microsoft_Excel_Worksheet834.xlsx"/><Relationship Id="rId2" Type="http://schemas.microsoft.com/office/2011/relationships/chartColorStyle" Target="colors28.xml"/><Relationship Id="rId1" Type="http://schemas.microsoft.com/office/2011/relationships/chartStyle" Target="style28.xml"/></Relationships>
</file>

<file path=ppt/charts/_rels/chart836.xml.rels><?xml version="1.0" encoding="UTF-8" standalone="yes"?>
<Relationships xmlns="http://schemas.openxmlformats.org/package/2006/relationships"><Relationship Id="rId3" Type="http://schemas.openxmlformats.org/officeDocument/2006/relationships/package" Target="../embeddings/Microsoft_Excel_Worksheet835.xlsx"/><Relationship Id="rId2" Type="http://schemas.microsoft.com/office/2011/relationships/chartColorStyle" Target="colors29.xml"/><Relationship Id="rId1" Type="http://schemas.microsoft.com/office/2011/relationships/chartStyle" Target="style29.xml"/></Relationships>
</file>

<file path=ppt/charts/_rels/chart837.xml.rels><?xml version="1.0" encoding="UTF-8" standalone="yes"?>
<Relationships xmlns="http://schemas.openxmlformats.org/package/2006/relationships"><Relationship Id="rId3" Type="http://schemas.openxmlformats.org/officeDocument/2006/relationships/package" Target="../embeddings/Microsoft_Excel_Worksheet836.xlsx"/><Relationship Id="rId2" Type="http://schemas.microsoft.com/office/2011/relationships/chartColorStyle" Target="colors30.xml"/><Relationship Id="rId1" Type="http://schemas.microsoft.com/office/2011/relationships/chartStyle" Target="style30.xml"/></Relationships>
</file>

<file path=ppt/charts/_rels/chart838.xml.rels><?xml version="1.0" encoding="UTF-8" standalone="yes"?>
<Relationships xmlns="http://schemas.openxmlformats.org/package/2006/relationships"><Relationship Id="rId3" Type="http://schemas.openxmlformats.org/officeDocument/2006/relationships/package" Target="../embeddings/Microsoft_Excel_Worksheet837.xlsx"/><Relationship Id="rId2" Type="http://schemas.microsoft.com/office/2011/relationships/chartColorStyle" Target="colors31.xml"/><Relationship Id="rId1" Type="http://schemas.microsoft.com/office/2011/relationships/chartStyle" Target="style31.xml"/></Relationships>
</file>

<file path=ppt/charts/_rels/chart839.xml.rels><?xml version="1.0" encoding="UTF-8" standalone="yes"?>
<Relationships xmlns="http://schemas.openxmlformats.org/package/2006/relationships"><Relationship Id="rId3" Type="http://schemas.openxmlformats.org/officeDocument/2006/relationships/package" Target="../embeddings/Microsoft_Excel_Worksheet838.xlsx"/><Relationship Id="rId2" Type="http://schemas.microsoft.com/office/2011/relationships/chartColorStyle" Target="colors32.xml"/><Relationship Id="rId1" Type="http://schemas.microsoft.com/office/2011/relationships/chartStyle" Target="style32.xml"/></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3" Type="http://schemas.openxmlformats.org/officeDocument/2006/relationships/package" Target="../embeddings/Microsoft_Excel_Worksheet839.xlsx"/><Relationship Id="rId2" Type="http://schemas.microsoft.com/office/2011/relationships/chartColorStyle" Target="colors33.xml"/><Relationship Id="rId1" Type="http://schemas.microsoft.com/office/2011/relationships/chartStyle" Target="style33.xml"/></Relationships>
</file>

<file path=ppt/charts/_rels/chart841.xml.rels><?xml version="1.0" encoding="UTF-8" standalone="yes"?>
<Relationships xmlns="http://schemas.openxmlformats.org/package/2006/relationships"><Relationship Id="rId3" Type="http://schemas.openxmlformats.org/officeDocument/2006/relationships/package" Target="../embeddings/Microsoft_Excel_Worksheet840.xlsx"/><Relationship Id="rId2" Type="http://schemas.microsoft.com/office/2011/relationships/chartColorStyle" Target="colors34.xml"/><Relationship Id="rId1" Type="http://schemas.microsoft.com/office/2011/relationships/chartStyle" Target="style34.xml"/></Relationships>
</file>

<file path=ppt/charts/_rels/chart842.xml.rels><?xml version="1.0" encoding="UTF-8" standalone="yes"?>
<Relationships xmlns="http://schemas.openxmlformats.org/package/2006/relationships"><Relationship Id="rId3" Type="http://schemas.openxmlformats.org/officeDocument/2006/relationships/package" Target="../embeddings/Microsoft_Excel_Worksheet841.xlsx"/><Relationship Id="rId2" Type="http://schemas.microsoft.com/office/2011/relationships/chartColorStyle" Target="colors35.xml"/><Relationship Id="rId1" Type="http://schemas.microsoft.com/office/2011/relationships/chartStyle" Target="style35.xml"/></Relationships>
</file>

<file path=ppt/charts/_rels/chart843.xml.rels><?xml version="1.0" encoding="UTF-8" standalone="yes"?>
<Relationships xmlns="http://schemas.openxmlformats.org/package/2006/relationships"><Relationship Id="rId3" Type="http://schemas.openxmlformats.org/officeDocument/2006/relationships/package" Target="../embeddings/Microsoft_Excel_Worksheet842.xlsx"/><Relationship Id="rId2" Type="http://schemas.microsoft.com/office/2011/relationships/chartColorStyle" Target="colors36.xml"/><Relationship Id="rId1" Type="http://schemas.microsoft.com/office/2011/relationships/chartStyle" Target="style36.xml"/></Relationships>
</file>

<file path=ppt/charts/_rels/chart844.xml.rels><?xml version="1.0" encoding="UTF-8" standalone="yes"?>
<Relationships xmlns="http://schemas.openxmlformats.org/package/2006/relationships"><Relationship Id="rId3" Type="http://schemas.openxmlformats.org/officeDocument/2006/relationships/package" Target="../embeddings/Microsoft_Excel_Worksheet843.xlsx"/><Relationship Id="rId2" Type="http://schemas.microsoft.com/office/2011/relationships/chartColorStyle" Target="colors37.xml"/><Relationship Id="rId1" Type="http://schemas.microsoft.com/office/2011/relationships/chartStyle" Target="style37.xml"/></Relationships>
</file>

<file path=ppt/charts/_rels/chart845.xml.rels><?xml version="1.0" encoding="UTF-8" standalone="yes"?>
<Relationships xmlns="http://schemas.openxmlformats.org/package/2006/relationships"><Relationship Id="rId3" Type="http://schemas.openxmlformats.org/officeDocument/2006/relationships/package" Target="../embeddings/Microsoft_Excel_Worksheet844.xlsx"/><Relationship Id="rId2" Type="http://schemas.microsoft.com/office/2011/relationships/chartColorStyle" Target="colors38.xml"/><Relationship Id="rId1" Type="http://schemas.microsoft.com/office/2011/relationships/chartStyle" Target="style38.xml"/></Relationships>
</file>

<file path=ppt/charts/_rels/chart846.xml.rels><?xml version="1.0" encoding="UTF-8" standalone="yes"?>
<Relationships xmlns="http://schemas.openxmlformats.org/package/2006/relationships"><Relationship Id="rId3" Type="http://schemas.openxmlformats.org/officeDocument/2006/relationships/package" Target="../embeddings/Microsoft_Excel_Worksheet845.xlsx"/><Relationship Id="rId2" Type="http://schemas.microsoft.com/office/2011/relationships/chartColorStyle" Target="colors39.xml"/><Relationship Id="rId1" Type="http://schemas.microsoft.com/office/2011/relationships/chartStyle" Target="style39.xml"/></Relationships>
</file>

<file path=ppt/charts/_rels/chart847.xml.rels><?xml version="1.0" encoding="UTF-8" standalone="yes"?>
<Relationships xmlns="http://schemas.openxmlformats.org/package/2006/relationships"><Relationship Id="rId3" Type="http://schemas.openxmlformats.org/officeDocument/2006/relationships/package" Target="../embeddings/Microsoft_Excel_Worksheet846.xlsx"/><Relationship Id="rId2" Type="http://schemas.microsoft.com/office/2011/relationships/chartColorStyle" Target="colors40.xml"/><Relationship Id="rId1" Type="http://schemas.microsoft.com/office/2011/relationships/chartStyle" Target="style40.xml"/></Relationships>
</file>

<file path=ppt/charts/_rels/chart848.xml.rels><?xml version="1.0" encoding="UTF-8" standalone="yes"?>
<Relationships xmlns="http://schemas.openxmlformats.org/package/2006/relationships"><Relationship Id="rId3" Type="http://schemas.openxmlformats.org/officeDocument/2006/relationships/package" Target="../embeddings/Microsoft_Excel_Worksheet847.xlsx"/><Relationship Id="rId2" Type="http://schemas.microsoft.com/office/2011/relationships/chartColorStyle" Target="colors41.xml"/><Relationship Id="rId1" Type="http://schemas.microsoft.com/office/2011/relationships/chartStyle" Target="style41.xml"/></Relationships>
</file>

<file path=ppt/charts/_rels/chart849.xml.rels><?xml version="1.0" encoding="UTF-8" standalone="yes"?>
<Relationships xmlns="http://schemas.openxmlformats.org/package/2006/relationships"><Relationship Id="rId3" Type="http://schemas.openxmlformats.org/officeDocument/2006/relationships/package" Target="../embeddings/Microsoft_Excel_Worksheet848.xlsx"/><Relationship Id="rId2" Type="http://schemas.microsoft.com/office/2011/relationships/chartColorStyle" Target="colors42.xml"/><Relationship Id="rId1" Type="http://schemas.microsoft.com/office/2011/relationships/chartStyle" Target="style42.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3" Type="http://schemas.openxmlformats.org/officeDocument/2006/relationships/package" Target="../embeddings/Microsoft_Excel_Worksheet849.xlsx"/><Relationship Id="rId2" Type="http://schemas.microsoft.com/office/2011/relationships/chartColorStyle" Target="colors43.xml"/><Relationship Id="rId1" Type="http://schemas.microsoft.com/office/2011/relationships/chartStyle" Target="style43.xml"/></Relationships>
</file>

<file path=ppt/charts/_rels/chart851.xml.rels><?xml version="1.0" encoding="UTF-8" standalone="yes"?>
<Relationships xmlns="http://schemas.openxmlformats.org/package/2006/relationships"><Relationship Id="rId3" Type="http://schemas.openxmlformats.org/officeDocument/2006/relationships/package" Target="../embeddings/Microsoft_Excel_Worksheet850.xlsx"/><Relationship Id="rId2" Type="http://schemas.microsoft.com/office/2011/relationships/chartColorStyle" Target="colors44.xml"/><Relationship Id="rId1" Type="http://schemas.microsoft.com/office/2011/relationships/chartStyle" Target="style44.xml"/></Relationships>
</file>

<file path=ppt/charts/_rels/chart852.xml.rels><?xml version="1.0" encoding="UTF-8" standalone="yes"?>
<Relationships xmlns="http://schemas.openxmlformats.org/package/2006/relationships"><Relationship Id="rId3" Type="http://schemas.openxmlformats.org/officeDocument/2006/relationships/package" Target="../embeddings/Microsoft_Excel_Worksheet851.xlsx"/><Relationship Id="rId2" Type="http://schemas.microsoft.com/office/2011/relationships/chartColorStyle" Target="colors45.xml"/><Relationship Id="rId1" Type="http://schemas.microsoft.com/office/2011/relationships/chartStyle" Target="style45.xml"/></Relationships>
</file>

<file path=ppt/charts/_rels/chart853.xml.rels><?xml version="1.0" encoding="UTF-8" standalone="yes"?>
<Relationships xmlns="http://schemas.openxmlformats.org/package/2006/relationships"><Relationship Id="rId3" Type="http://schemas.openxmlformats.org/officeDocument/2006/relationships/package" Target="../embeddings/Microsoft_Excel_Worksheet852.xlsx"/><Relationship Id="rId2" Type="http://schemas.microsoft.com/office/2011/relationships/chartColorStyle" Target="colors46.xml"/><Relationship Id="rId1" Type="http://schemas.microsoft.com/office/2011/relationships/chartStyle" Target="style46.xml"/></Relationships>
</file>

<file path=ppt/charts/_rels/chart854.xml.rels><?xml version="1.0" encoding="UTF-8" standalone="yes"?>
<Relationships xmlns="http://schemas.openxmlformats.org/package/2006/relationships"><Relationship Id="rId3" Type="http://schemas.openxmlformats.org/officeDocument/2006/relationships/package" Target="../embeddings/Microsoft_Excel_Worksheet853.xlsx"/><Relationship Id="rId2" Type="http://schemas.microsoft.com/office/2011/relationships/chartColorStyle" Target="colors47.xml"/><Relationship Id="rId1" Type="http://schemas.microsoft.com/office/2011/relationships/chartStyle" Target="style47.xml"/></Relationships>
</file>

<file path=ppt/charts/_rels/chart855.xml.rels><?xml version="1.0" encoding="UTF-8" standalone="yes"?>
<Relationships xmlns="http://schemas.openxmlformats.org/package/2006/relationships"><Relationship Id="rId3" Type="http://schemas.openxmlformats.org/officeDocument/2006/relationships/package" Target="../embeddings/Microsoft_Excel_Worksheet854.xlsx"/><Relationship Id="rId2" Type="http://schemas.microsoft.com/office/2011/relationships/chartColorStyle" Target="colors48.xml"/><Relationship Id="rId1" Type="http://schemas.microsoft.com/office/2011/relationships/chartStyle" Target="style48.xml"/></Relationships>
</file>

<file path=ppt/charts/_rels/chart856.xml.rels><?xml version="1.0" encoding="UTF-8" standalone="yes"?>
<Relationships xmlns="http://schemas.openxmlformats.org/package/2006/relationships"><Relationship Id="rId3" Type="http://schemas.openxmlformats.org/officeDocument/2006/relationships/package" Target="../embeddings/Microsoft_Excel_Worksheet855.xlsx"/><Relationship Id="rId2" Type="http://schemas.microsoft.com/office/2011/relationships/chartColorStyle" Target="colors49.xml"/><Relationship Id="rId1" Type="http://schemas.microsoft.com/office/2011/relationships/chartStyle" Target="style49.xml"/></Relationships>
</file>

<file path=ppt/charts/_rels/chart857.xml.rels><?xml version="1.0" encoding="UTF-8" standalone="yes"?>
<Relationships xmlns="http://schemas.openxmlformats.org/package/2006/relationships"><Relationship Id="rId3" Type="http://schemas.openxmlformats.org/officeDocument/2006/relationships/package" Target="../embeddings/Microsoft_Excel_Worksheet856.xlsx"/><Relationship Id="rId2" Type="http://schemas.microsoft.com/office/2011/relationships/chartColorStyle" Target="colors50.xml"/><Relationship Id="rId1" Type="http://schemas.microsoft.com/office/2011/relationships/chartStyle" Target="style50.xml"/></Relationships>
</file>

<file path=ppt/charts/_rels/chart858.xml.rels><?xml version="1.0" encoding="UTF-8" standalone="yes"?>
<Relationships xmlns="http://schemas.openxmlformats.org/package/2006/relationships"><Relationship Id="rId3" Type="http://schemas.openxmlformats.org/officeDocument/2006/relationships/package" Target="../embeddings/Microsoft_Excel_Worksheet857.xlsx"/><Relationship Id="rId2" Type="http://schemas.microsoft.com/office/2011/relationships/chartColorStyle" Target="colors51.xml"/><Relationship Id="rId1" Type="http://schemas.microsoft.com/office/2011/relationships/chartStyle" Target="style51.xml"/></Relationships>
</file>

<file path=ppt/charts/_rels/chart859.xml.rels><?xml version="1.0" encoding="UTF-8" standalone="yes"?>
<Relationships xmlns="http://schemas.openxmlformats.org/package/2006/relationships"><Relationship Id="rId3" Type="http://schemas.openxmlformats.org/officeDocument/2006/relationships/package" Target="../embeddings/Microsoft_Excel_Worksheet858.xlsx"/><Relationship Id="rId2" Type="http://schemas.microsoft.com/office/2011/relationships/chartColorStyle" Target="colors52.xml"/><Relationship Id="rId1" Type="http://schemas.microsoft.com/office/2011/relationships/chartStyle" Target="style52.xml"/></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3" Type="http://schemas.openxmlformats.org/officeDocument/2006/relationships/package" Target="../embeddings/Microsoft_Excel_Worksheet859.xlsx"/><Relationship Id="rId2" Type="http://schemas.microsoft.com/office/2011/relationships/chartColorStyle" Target="colors53.xml"/><Relationship Id="rId1" Type="http://schemas.microsoft.com/office/2011/relationships/chartStyle" Target="style53.xml"/></Relationships>
</file>

<file path=ppt/charts/_rels/chart861.xml.rels><?xml version="1.0" encoding="UTF-8" standalone="yes"?>
<Relationships xmlns="http://schemas.openxmlformats.org/package/2006/relationships"><Relationship Id="rId3" Type="http://schemas.openxmlformats.org/officeDocument/2006/relationships/package" Target="../embeddings/Microsoft_Excel_Worksheet860.xlsx"/><Relationship Id="rId2" Type="http://schemas.microsoft.com/office/2011/relationships/chartColorStyle" Target="colors54.xml"/><Relationship Id="rId1" Type="http://schemas.microsoft.com/office/2011/relationships/chartStyle" Target="style54.xml"/></Relationships>
</file>

<file path=ppt/charts/_rels/chart862.xml.rels><?xml version="1.0" encoding="UTF-8" standalone="yes"?>
<Relationships xmlns="http://schemas.openxmlformats.org/package/2006/relationships"><Relationship Id="rId3" Type="http://schemas.openxmlformats.org/officeDocument/2006/relationships/package" Target="../embeddings/Microsoft_Excel_Worksheet861.xlsx"/><Relationship Id="rId2" Type="http://schemas.microsoft.com/office/2011/relationships/chartColorStyle" Target="colors55.xml"/><Relationship Id="rId1" Type="http://schemas.microsoft.com/office/2011/relationships/chartStyle" Target="style55.xml"/></Relationships>
</file>

<file path=ppt/charts/_rels/chart863.xml.rels><?xml version="1.0" encoding="UTF-8" standalone="yes"?>
<Relationships xmlns="http://schemas.openxmlformats.org/package/2006/relationships"><Relationship Id="rId3" Type="http://schemas.openxmlformats.org/officeDocument/2006/relationships/package" Target="../embeddings/Microsoft_Excel_Worksheet862.xlsx"/><Relationship Id="rId2" Type="http://schemas.microsoft.com/office/2011/relationships/chartColorStyle" Target="colors56.xml"/><Relationship Id="rId1" Type="http://schemas.microsoft.com/office/2011/relationships/chartStyle" Target="style56.xml"/></Relationships>
</file>

<file path=ppt/charts/_rels/chart864.xml.rels><?xml version="1.0" encoding="UTF-8" standalone="yes"?>
<Relationships xmlns="http://schemas.openxmlformats.org/package/2006/relationships"><Relationship Id="rId3" Type="http://schemas.openxmlformats.org/officeDocument/2006/relationships/package" Target="../embeddings/Microsoft_Excel_Worksheet863.xlsx"/><Relationship Id="rId2" Type="http://schemas.microsoft.com/office/2011/relationships/chartColorStyle" Target="colors57.xml"/><Relationship Id="rId1" Type="http://schemas.microsoft.com/office/2011/relationships/chartStyle" Target="style57.xml"/></Relationships>
</file>

<file path=ppt/charts/_rels/chart865.xml.rels><?xml version="1.0" encoding="UTF-8" standalone="yes"?>
<Relationships xmlns="http://schemas.openxmlformats.org/package/2006/relationships"><Relationship Id="rId3" Type="http://schemas.openxmlformats.org/officeDocument/2006/relationships/package" Target="../embeddings/Microsoft_Excel_Worksheet864.xlsx"/><Relationship Id="rId2" Type="http://schemas.microsoft.com/office/2011/relationships/chartColorStyle" Target="colors58.xml"/><Relationship Id="rId1" Type="http://schemas.microsoft.com/office/2011/relationships/chartStyle" Target="style58.xml"/></Relationships>
</file>

<file path=ppt/charts/_rels/chart866.xml.rels><?xml version="1.0" encoding="UTF-8" standalone="yes"?>
<Relationships xmlns="http://schemas.openxmlformats.org/package/2006/relationships"><Relationship Id="rId3" Type="http://schemas.openxmlformats.org/officeDocument/2006/relationships/package" Target="../embeddings/Microsoft_Excel_Worksheet865.xlsx"/><Relationship Id="rId2" Type="http://schemas.microsoft.com/office/2011/relationships/chartColorStyle" Target="colors59.xml"/><Relationship Id="rId1" Type="http://schemas.microsoft.com/office/2011/relationships/chartStyle" Target="style59.xml"/></Relationships>
</file>

<file path=ppt/charts/_rels/chart867.xml.rels><?xml version="1.0" encoding="UTF-8" standalone="yes"?>
<Relationships xmlns="http://schemas.openxmlformats.org/package/2006/relationships"><Relationship Id="rId3" Type="http://schemas.openxmlformats.org/officeDocument/2006/relationships/package" Target="../embeddings/Microsoft_Excel_Worksheet866.xlsx"/><Relationship Id="rId2" Type="http://schemas.microsoft.com/office/2011/relationships/chartColorStyle" Target="colors60.xml"/><Relationship Id="rId1" Type="http://schemas.microsoft.com/office/2011/relationships/chartStyle" Target="style60.xml"/></Relationships>
</file>

<file path=ppt/charts/_rels/chart868.xml.rels><?xml version="1.0" encoding="UTF-8" standalone="yes"?>
<Relationships xmlns="http://schemas.openxmlformats.org/package/2006/relationships"><Relationship Id="rId3" Type="http://schemas.openxmlformats.org/officeDocument/2006/relationships/package" Target="../embeddings/Microsoft_Excel_Worksheet867.xlsx"/><Relationship Id="rId2" Type="http://schemas.microsoft.com/office/2011/relationships/chartColorStyle" Target="colors61.xml"/><Relationship Id="rId1" Type="http://schemas.microsoft.com/office/2011/relationships/chartStyle" Target="style61.xml"/></Relationships>
</file>

<file path=ppt/charts/_rels/chart869.xml.rels><?xml version="1.0" encoding="UTF-8" standalone="yes"?>
<Relationships xmlns="http://schemas.openxmlformats.org/package/2006/relationships"><Relationship Id="rId3" Type="http://schemas.openxmlformats.org/officeDocument/2006/relationships/package" Target="../embeddings/Microsoft_Excel_Worksheet868.xlsx"/><Relationship Id="rId2" Type="http://schemas.microsoft.com/office/2011/relationships/chartColorStyle" Target="colors62.xml"/><Relationship Id="rId1" Type="http://schemas.microsoft.com/office/2011/relationships/chartStyle" Target="style62.xml"/></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3" Type="http://schemas.openxmlformats.org/officeDocument/2006/relationships/package" Target="../embeddings/Microsoft_Excel_Worksheet869.xlsx"/><Relationship Id="rId2" Type="http://schemas.microsoft.com/office/2011/relationships/chartColorStyle" Target="colors63.xml"/><Relationship Id="rId1" Type="http://schemas.microsoft.com/office/2011/relationships/chartStyle" Target="style63.xml"/></Relationships>
</file>

<file path=ppt/charts/_rels/chart871.xml.rels><?xml version="1.0" encoding="UTF-8" standalone="yes"?>
<Relationships xmlns="http://schemas.openxmlformats.org/package/2006/relationships"><Relationship Id="rId3" Type="http://schemas.openxmlformats.org/officeDocument/2006/relationships/package" Target="../embeddings/Microsoft_Excel_Worksheet870.xlsx"/><Relationship Id="rId2" Type="http://schemas.microsoft.com/office/2011/relationships/chartColorStyle" Target="colors64.xml"/><Relationship Id="rId1" Type="http://schemas.microsoft.com/office/2011/relationships/chartStyle" Target="style64.xml"/></Relationships>
</file>

<file path=ppt/charts/_rels/chart872.xml.rels><?xml version="1.0" encoding="UTF-8" standalone="yes"?>
<Relationships xmlns="http://schemas.openxmlformats.org/package/2006/relationships"><Relationship Id="rId3" Type="http://schemas.openxmlformats.org/officeDocument/2006/relationships/package" Target="../embeddings/Microsoft_Excel_Worksheet871.xlsx"/><Relationship Id="rId2" Type="http://schemas.microsoft.com/office/2011/relationships/chartColorStyle" Target="colors65.xml"/><Relationship Id="rId1" Type="http://schemas.microsoft.com/office/2011/relationships/chartStyle" Target="style65.xml"/></Relationships>
</file>

<file path=ppt/charts/_rels/chart873.xml.rels><?xml version="1.0" encoding="UTF-8" standalone="yes"?>
<Relationships xmlns="http://schemas.openxmlformats.org/package/2006/relationships"><Relationship Id="rId3" Type="http://schemas.openxmlformats.org/officeDocument/2006/relationships/package" Target="../embeddings/Microsoft_Excel_Worksheet872.xlsx"/><Relationship Id="rId2" Type="http://schemas.microsoft.com/office/2011/relationships/chartColorStyle" Target="colors66.xml"/><Relationship Id="rId1" Type="http://schemas.microsoft.com/office/2011/relationships/chartStyle" Target="style66.xml"/></Relationships>
</file>

<file path=ppt/charts/_rels/chart874.xml.rels><?xml version="1.0" encoding="UTF-8" standalone="yes"?>
<Relationships xmlns="http://schemas.openxmlformats.org/package/2006/relationships"><Relationship Id="rId3" Type="http://schemas.openxmlformats.org/officeDocument/2006/relationships/package" Target="../embeddings/Microsoft_Excel_Worksheet873.xlsx"/><Relationship Id="rId2" Type="http://schemas.microsoft.com/office/2011/relationships/chartColorStyle" Target="colors67.xml"/><Relationship Id="rId1" Type="http://schemas.microsoft.com/office/2011/relationships/chartStyle" Target="style67.xml"/></Relationships>
</file>

<file path=ppt/charts/_rels/chart875.xml.rels><?xml version="1.0" encoding="UTF-8" standalone="yes"?>
<Relationships xmlns="http://schemas.openxmlformats.org/package/2006/relationships"><Relationship Id="rId3" Type="http://schemas.openxmlformats.org/officeDocument/2006/relationships/package" Target="../embeddings/Microsoft_Excel_Worksheet874.xlsx"/><Relationship Id="rId2" Type="http://schemas.microsoft.com/office/2011/relationships/chartColorStyle" Target="colors68.xml"/><Relationship Id="rId1" Type="http://schemas.microsoft.com/office/2011/relationships/chartStyle" Target="style68.xml"/></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CB2CEF-562E-4CDC-AFDD-F727F727E6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90BCAA-C131-49D9-904B-AE57784E7C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A3C0DE-655E-4D48-9DE2-754EAB5335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653259-80A1-42D8-8499-BF493674D7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83B291-A9A6-494E-9169-0A71975074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7E900D-3B3C-45F0-A363-1CC4224211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D190E9-CC46-4031-835E-B8854778B6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93474B-2CC4-4271-8049-C47A7B15F9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177999999999997</c:v>
                </c:pt>
                <c:pt idx="1">
                  <c:v>25.1111</c:v>
                </c:pt>
                <c:pt idx="2">
                  <c:v>31.078399999999998</c:v>
                </c:pt>
                <c:pt idx="3">
                  <c:v>4.2683</c:v>
                </c:pt>
                <c:pt idx="4">
                  <c:v>26.736799999999999</c:v>
                </c:pt>
                <c:pt idx="5">
                  <c:v>5.8342000000000001</c:v>
                </c:pt>
                <c:pt idx="6">
                  <c:v>7.1054000000000004</c:v>
                </c:pt>
                <c:pt idx="7">
                  <c:v>23.585599999999999</c:v>
                </c:pt>
              </c:numCache>
            </c:numRef>
          </c:xVal>
          <c:yVal>
            <c:numRef>
              <c:f>Sheet1!$B$2:$B$9</c:f>
              <c:numCache>
                <c:formatCode>General</c:formatCode>
                <c:ptCount val="8"/>
                <c:pt idx="0">
                  <c:v>0.67100000000000004</c:v>
                </c:pt>
                <c:pt idx="1">
                  <c:v>3.4510000000000001</c:v>
                </c:pt>
                <c:pt idx="2">
                  <c:v>4.673</c:v>
                </c:pt>
                <c:pt idx="3">
                  <c:v>0.23100000000000001</c:v>
                </c:pt>
                <c:pt idx="4">
                  <c:v>4.0090000000000003</c:v>
                </c:pt>
                <c:pt idx="5">
                  <c:v>0.77700000000000002</c:v>
                </c:pt>
                <c:pt idx="6">
                  <c:v>0.78900000000000003</c:v>
                </c:pt>
                <c:pt idx="7">
                  <c:v>3.7269999999999999</c:v>
                </c:pt>
              </c:numCache>
            </c:numRef>
          </c:yVal>
          <c:bubbleSize>
            <c:numRef>
              <c:f>Sheet1!$C$2:$C$9</c:f>
              <c:numCache>
                <c:formatCode>General</c:formatCode>
                <c:ptCount val="8"/>
                <c:pt idx="0">
                  <c:v>135378958</c:v>
                </c:pt>
                <c:pt idx="1">
                  <c:v>83416559</c:v>
                </c:pt>
                <c:pt idx="2">
                  <c:v>40272903</c:v>
                </c:pt>
                <c:pt idx="3">
                  <c:v>39552397</c:v>
                </c:pt>
                <c:pt idx="4">
                  <c:v>38917245</c:v>
                </c:pt>
                <c:pt idx="5">
                  <c:v>35427059</c:v>
                </c:pt>
                <c:pt idx="6">
                  <c:v>32603771</c:v>
                </c:pt>
                <c:pt idx="7">
                  <c:v>5693651</c:v>
                </c:pt>
              </c:numCache>
            </c:numRef>
          </c:bubbleSize>
          <c:bubble3D val="0"/>
          <c:extLst>
            <c:ext xmlns:c15="http://schemas.microsoft.com/office/drawing/2012/chart" uri="{02D57815-91ED-43cb-92C2-25804820EDAC}">
              <c15:datalabelsRange>
                <c15:f>Sheet1!$E$2:$E$10</c15:f>
                <c15:dlblRangeCache>
                  <c:ptCount val="9"/>
                  <c:pt idx="0">
                    <c:v>Mdd</c:v>
                  </c:pt>
                  <c:pt idx="1">
                    <c:v>Nicolas Feuillatte</c:v>
                  </c:pt>
                  <c:pt idx="2">
                    <c:v>Mumm</c:v>
                  </c:pt>
                  <c:pt idx="3">
                    <c:v>Charles Volner</c:v>
                  </c:pt>
                  <c:pt idx="4">
                    <c:v>Canard Duchêne</c:v>
                  </c:pt>
                  <c:pt idx="5">
                    <c:v>Freixenet</c:v>
                  </c:pt>
                  <c:pt idx="6">
                    <c:v>Wolfberger</c:v>
                  </c:pt>
                  <c:pt idx="7">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B8FECA-0C13-45FD-A7A5-4DC93F348C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324F7C-F9D7-4F2D-B243-1B82DEEE5C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C07E4F-CCC7-475F-B1C0-7BC42153A3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A0122F-3C1E-4595-B5E1-86B2A3B6F3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8FE7F7-BC9F-40D5-81A2-344766A9D7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229951-38C9-4E6B-B3D8-53268BA95F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B8B6BD-BFC3-42BB-A678-63681F2E91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22C28E-D3A9-4C3C-A3E3-C1E1591382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902299999999997</c:v>
                </c:pt>
                <c:pt idx="1">
                  <c:v>23.632999999999999</c:v>
                </c:pt>
                <c:pt idx="2">
                  <c:v>51.113900000000001</c:v>
                </c:pt>
                <c:pt idx="3">
                  <c:v>54.3947</c:v>
                </c:pt>
                <c:pt idx="4">
                  <c:v>84.752200000000002</c:v>
                </c:pt>
                <c:pt idx="5">
                  <c:v>29.332599999999999</c:v>
                </c:pt>
                <c:pt idx="6">
                  <c:v>31.468499999999999</c:v>
                </c:pt>
                <c:pt idx="7">
                  <c:v>273.90089999999998</c:v>
                </c:pt>
              </c:numCache>
            </c:numRef>
          </c:xVal>
          <c:yVal>
            <c:numRef>
              <c:f>Sheet1!$B$2:$B$9</c:f>
              <c:numCache>
                <c:formatCode>General</c:formatCode>
                <c:ptCount val="8"/>
                <c:pt idx="0">
                  <c:v>1.8560000000000001</c:v>
                </c:pt>
                <c:pt idx="1">
                  <c:v>0.61699999999999999</c:v>
                </c:pt>
                <c:pt idx="2">
                  <c:v>1.2789999999999999</c:v>
                </c:pt>
                <c:pt idx="3">
                  <c:v>1.2789999999999999</c:v>
                </c:pt>
                <c:pt idx="4">
                  <c:v>2.0579999999999998</c:v>
                </c:pt>
                <c:pt idx="5">
                  <c:v>0.76800000000000002</c:v>
                </c:pt>
                <c:pt idx="6">
                  <c:v>0.82399999999999995</c:v>
                </c:pt>
                <c:pt idx="7">
                  <c:v>6.9080000000000004</c:v>
                </c:pt>
              </c:numCache>
            </c:numRef>
          </c:yVal>
          <c:bubbleSize>
            <c:numRef>
              <c:f>Sheet1!$C$2:$C$9</c:f>
              <c:numCache>
                <c:formatCode>General</c:formatCode>
                <c:ptCount val="8"/>
                <c:pt idx="0">
                  <c:v>1905667</c:v>
                </c:pt>
                <c:pt idx="1">
                  <c:v>630859</c:v>
                </c:pt>
                <c:pt idx="2">
                  <c:v>491358</c:v>
                </c:pt>
                <c:pt idx="3">
                  <c:v>344699</c:v>
                </c:pt>
                <c:pt idx="4">
                  <c:v>234933</c:v>
                </c:pt>
                <c:pt idx="5">
                  <c:v>217736</c:v>
                </c:pt>
                <c:pt idx="6">
                  <c:v>211311</c:v>
                </c:pt>
                <c:pt idx="7">
                  <c:v>18789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Roederer</c:v>
                  </c:pt>
                  <c:pt idx="5">
                    <c:v>Heidsieck &amp; Co Monopole</c:v>
                  </c:pt>
                  <c:pt idx="6">
                    <c:v>Malard</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80DCE78-2F80-4368-B236-E9BFF50534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550920E-4586-488C-8D2D-34759A8CDA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E528B29-ABBD-4C11-9A4E-DE8AFFCDED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EA65261-3735-4E41-A9FA-E7E290F5EC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1DE5228-4BFC-48B6-8972-3639DE3ACC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7847AAB-B84E-4601-AF28-1B4239ED1F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1A7E3D9-E2BA-4D06-98EE-4975B9933C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D2A444EB-C99D-439A-8229-7299D5EC4D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8.1654999999999998</c:v>
                </c:pt>
                <c:pt idx="1">
                  <c:v>7.0598000000000001</c:v>
                </c:pt>
                <c:pt idx="2">
                  <c:v>8.4002999999999997</c:v>
                </c:pt>
                <c:pt idx="3">
                  <c:v>7.6973000000000003</c:v>
                </c:pt>
                <c:pt idx="4">
                  <c:v>9.7827999999999999</c:v>
                </c:pt>
                <c:pt idx="5">
                  <c:v>7.3342999999999998</c:v>
                </c:pt>
                <c:pt idx="6">
                  <c:v>7.7112999999999996</c:v>
                </c:pt>
              </c:numCache>
            </c:numRef>
          </c:xVal>
          <c:yVal>
            <c:numRef>
              <c:f>Sheet1!$B$2:$B$8</c:f>
              <c:numCache>
                <c:formatCode>General</c:formatCode>
                <c:ptCount val="7"/>
                <c:pt idx="0">
                  <c:v>1.0009999999999999</c:v>
                </c:pt>
                <c:pt idx="1">
                  <c:v>0.96399999999999997</c:v>
                </c:pt>
                <c:pt idx="2">
                  <c:v>1.0449999999999999</c:v>
                </c:pt>
                <c:pt idx="3">
                  <c:v>1.0409999999999999</c:v>
                </c:pt>
                <c:pt idx="4">
                  <c:v>1.198</c:v>
                </c:pt>
                <c:pt idx="5">
                  <c:v>1.0369999999999999</c:v>
                </c:pt>
                <c:pt idx="6">
                  <c:v>1.0900000000000001</c:v>
                </c:pt>
              </c:numCache>
            </c:numRef>
          </c:yVal>
          <c:bubbleSize>
            <c:numRef>
              <c:f>Sheet1!$C$2:$C$8</c:f>
              <c:numCache>
                <c:formatCode>General</c:formatCode>
                <c:ptCount val="7"/>
                <c:pt idx="0">
                  <c:v>15897650</c:v>
                </c:pt>
                <c:pt idx="1">
                  <c:v>12258120</c:v>
                </c:pt>
                <c:pt idx="2">
                  <c:v>4177323</c:v>
                </c:pt>
                <c:pt idx="3">
                  <c:v>3025266</c:v>
                </c:pt>
                <c:pt idx="4">
                  <c:v>1797924</c:v>
                </c:pt>
                <c:pt idx="5">
                  <c:v>932508</c:v>
                </c:pt>
                <c:pt idx="6">
                  <c:v>550341</c:v>
                </c:pt>
              </c:numCache>
            </c:numRef>
          </c:bubbleSize>
          <c:bubble3D val="0"/>
          <c:extLst>
            <c:ext xmlns:c15="http://schemas.microsoft.com/office/drawing/2012/chart" uri="{02D57815-91ED-43cb-92C2-25804820EDAC}">
              <c15:datalabelsRange>
                <c15:f>Sheet1!$E$2:$E$10</c15:f>
                <c15:dlblRangeCache>
                  <c:ptCount val="9"/>
                  <c:pt idx="0">
                    <c:v>Veuve Ambal</c:v>
                  </c:pt>
                  <c:pt idx="1">
                    <c:v>Mdd</c:v>
                  </c:pt>
                  <c:pt idx="2">
                    <c:v>Couvent Des Visitandines</c:v>
                  </c:pt>
                  <c:pt idx="3">
                    <c:v>Moillard</c:v>
                  </c:pt>
                  <c:pt idx="4">
                    <c:v>Louis Bouillot</c:v>
                  </c:pt>
                  <c:pt idx="5">
                    <c:v>Valenger</c:v>
                  </c:pt>
                  <c:pt idx="6">
                    <c:v>Caves De Lugn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E5080E5-02C4-4E38-AC37-F159AFCBD6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7812577-7095-45C6-9E47-35FE6274DA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67158FF-D38B-49BF-A0D6-FEB6115738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3B530D7-76DF-479E-9C42-3A77BEF4BC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CABF5647-AF81-498C-83A8-8BC73AC0C5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C0281468-2F5C-4A0D-887F-5663AC2B01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385CCB68-57EF-443D-B584-E030F1D333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04F304FE-2E14-41D6-AB81-C3078AFC24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000000000003</c:v>
                </c:pt>
                <c:pt idx="1">
                  <c:v>5.4188999999999998</c:v>
                </c:pt>
                <c:pt idx="2">
                  <c:v>6.3528000000000002</c:v>
                </c:pt>
                <c:pt idx="3">
                  <c:v>6.7249999999999996</c:v>
                </c:pt>
                <c:pt idx="4">
                  <c:v>7.1329000000000002</c:v>
                </c:pt>
                <c:pt idx="5">
                  <c:v>6.0354999999999999</c:v>
                </c:pt>
                <c:pt idx="6">
                  <c:v>7.5696000000000003</c:v>
                </c:pt>
                <c:pt idx="7">
                  <c:v>5.5134999999999996</c:v>
                </c:pt>
              </c:numCache>
            </c:numRef>
          </c:xVal>
          <c:yVal>
            <c:numRef>
              <c:f>Sheet1!$B$2:$B$9</c:f>
              <c:numCache>
                <c:formatCode>General</c:formatCode>
                <c:ptCount val="8"/>
                <c:pt idx="0">
                  <c:v>1.1539999999999999</c:v>
                </c:pt>
                <c:pt idx="1">
                  <c:v>0.82399999999999995</c:v>
                </c:pt>
                <c:pt idx="2">
                  <c:v>0.97499999999999998</c:v>
                </c:pt>
                <c:pt idx="3">
                  <c:v>1.1020000000000001</c:v>
                </c:pt>
                <c:pt idx="4">
                  <c:v>1.0620000000000001</c:v>
                </c:pt>
                <c:pt idx="5">
                  <c:v>0.96099999999999997</c:v>
                </c:pt>
                <c:pt idx="6">
                  <c:v>1.0680000000000001</c:v>
                </c:pt>
                <c:pt idx="7">
                  <c:v>0.89600000000000002</c:v>
                </c:pt>
              </c:numCache>
            </c:numRef>
          </c:yVal>
          <c:bubbleSize>
            <c:numRef>
              <c:f>Sheet1!$C$2:$C$9</c:f>
              <c:numCache>
                <c:formatCode>General</c:formatCode>
                <c:ptCount val="8"/>
                <c:pt idx="0">
                  <c:v>26217786</c:v>
                </c:pt>
                <c:pt idx="1">
                  <c:v>25627765</c:v>
                </c:pt>
                <c:pt idx="2">
                  <c:v>21162718</c:v>
                </c:pt>
                <c:pt idx="3">
                  <c:v>15294585</c:v>
                </c:pt>
                <c:pt idx="4">
                  <c:v>12946978</c:v>
                </c:pt>
                <c:pt idx="5">
                  <c:v>5219639</c:v>
                </c:pt>
                <c:pt idx="6">
                  <c:v>3730611</c:v>
                </c:pt>
                <c:pt idx="7">
                  <c:v>3036504</c:v>
                </c:pt>
              </c:numCache>
            </c:numRef>
          </c:bubbleSize>
          <c:bubble3D val="0"/>
          <c:extLst>
            <c:ext xmlns:c15="http://schemas.microsoft.com/office/drawing/2012/chart" uri="{02D57815-91ED-43cb-92C2-25804820EDAC}">
              <c15:datalabelsRange>
                <c15:f>Sheet1!$E$2:$E$10</c15:f>
                <c15:dlblRangeCache>
                  <c:ptCount val="9"/>
                  <c:pt idx="0">
                    <c:v>Riccadonna</c:v>
                  </c:pt>
                  <c:pt idx="1">
                    <c:v>Mdd</c:v>
                  </c:pt>
                  <c:pt idx="2">
                    <c:v>Vilaveroni</c:v>
                  </c:pt>
                  <c:pt idx="3">
                    <c:v>Perlino</c:v>
                  </c:pt>
                  <c:pt idx="4">
                    <c:v>Mionetto</c:v>
                  </c:pt>
                  <c:pt idx="5">
                    <c:v>Signore Giuseppe</c:v>
                  </c:pt>
                  <c:pt idx="6">
                    <c:v>Maschio</c:v>
                  </c:pt>
                  <c:pt idx="7">
                    <c:v>Nobrand</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13365649-0930-4524-8894-2BCC0B050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50522A18-B34C-425F-9CA2-B10D2567B5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B9E37373-A2BF-4ABB-AED2-8489AB911D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986556B3-DEC0-46C9-A1C0-23008FEAF6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E5493169-7583-44D5-B8CD-533A9FBAB6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2158F1B1-6ED5-4B37-95A5-8472406CE9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3B116A83-44CD-4C61-8DC3-EC5C04F7D4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3BF8EC9A-433E-4F16-9CD5-AF96CEC452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000000000001</c:v>
                </c:pt>
                <c:pt idx="1">
                  <c:v>6.4625000000000004</c:v>
                </c:pt>
                <c:pt idx="2">
                  <c:v>6.7061999999999999</c:v>
                </c:pt>
                <c:pt idx="3">
                  <c:v>6.0472000000000001</c:v>
                </c:pt>
                <c:pt idx="4">
                  <c:v>7.1771000000000003</c:v>
                </c:pt>
                <c:pt idx="5">
                  <c:v>6.5438000000000001</c:v>
                </c:pt>
                <c:pt idx="6">
                  <c:v>6.5370999999999997</c:v>
                </c:pt>
                <c:pt idx="7">
                  <c:v>6.8582000000000001</c:v>
                </c:pt>
              </c:numCache>
            </c:numRef>
          </c:xVal>
          <c:yVal>
            <c:numRef>
              <c:f>Sheet1!$B$2:$B$9</c:f>
              <c:numCache>
                <c:formatCode>General</c:formatCode>
                <c:ptCount val="8"/>
                <c:pt idx="0">
                  <c:v>1.0009999999999999</c:v>
                </c:pt>
                <c:pt idx="1">
                  <c:v>1.0209999999999999</c:v>
                </c:pt>
                <c:pt idx="2">
                  <c:v>0.77900000000000003</c:v>
                </c:pt>
                <c:pt idx="3">
                  <c:v>0.93</c:v>
                </c:pt>
                <c:pt idx="4">
                  <c:v>1.1639999999999999</c:v>
                </c:pt>
                <c:pt idx="5">
                  <c:v>1.1859999999999999</c:v>
                </c:pt>
                <c:pt idx="6">
                  <c:v>0.748</c:v>
                </c:pt>
                <c:pt idx="7">
                  <c:v>1.3180000000000001</c:v>
                </c:pt>
              </c:numCache>
            </c:numRef>
          </c:yVal>
          <c:bubbleSize>
            <c:numRef>
              <c:f>Sheet1!$C$2:$C$9</c:f>
              <c:numCache>
                <c:formatCode>General</c:formatCode>
                <c:ptCount val="8"/>
                <c:pt idx="0">
                  <c:v>26939241</c:v>
                </c:pt>
                <c:pt idx="1">
                  <c:v>11877367</c:v>
                </c:pt>
                <c:pt idx="2">
                  <c:v>6775215</c:v>
                </c:pt>
                <c:pt idx="3">
                  <c:v>5266419</c:v>
                </c:pt>
                <c:pt idx="4">
                  <c:v>2899520</c:v>
                </c:pt>
                <c:pt idx="5">
                  <c:v>2333478</c:v>
                </c:pt>
                <c:pt idx="6">
                  <c:v>964260</c:v>
                </c:pt>
                <c:pt idx="7">
                  <c:v>953391</c:v>
                </c:pt>
              </c:numCache>
            </c:numRef>
          </c:bubbleSize>
          <c:bubble3D val="0"/>
          <c:extLst>
            <c:ext xmlns:c15="http://schemas.microsoft.com/office/drawing/2012/chart" uri="{02D57815-91ED-43cb-92C2-25804820EDAC}">
              <c15:datalabelsRange>
                <c15:f>Sheet1!$E$2:$E$10</c15:f>
                <c15:dlblRangeCache>
                  <c:ptCount val="9"/>
                  <c:pt idx="0">
                    <c:v>Mdd</c:v>
                  </c:pt>
                  <c:pt idx="1">
                    <c:v>Ackerman</c:v>
                  </c:pt>
                  <c:pt idx="2">
                    <c:v>Melle Ladubay</c:v>
                  </c:pt>
                  <c:pt idx="3">
                    <c:v>Gratien Et Meyer</c:v>
                  </c:pt>
                  <c:pt idx="4">
                    <c:v>Chateau Moncontour</c:v>
                  </c:pt>
                  <c:pt idx="5">
                    <c:v>Lacheteau</c:v>
                  </c:pt>
                  <c:pt idx="6">
                    <c:v>Jean Marc Toussaint</c:v>
                  </c:pt>
                  <c:pt idx="7">
                    <c:v>Sca Gd Vins</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97CCA1-7390-4BE5-AB06-1C62F5C940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C634C5-B72F-4B2C-A5CB-79BC2729FC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CDEB94-017D-486B-A996-A7A4100EEE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FFD64B-5176-4D95-B949-72CEA84A3A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2FC8B9-2D12-4338-BBD8-02AD368B8B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622724-9B68-4287-9F09-BDF5C7DC22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61D5E5-79E7-4A8A-88C2-F0A9658201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0F1706-A28B-4A5F-86D9-C3BC132CAA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000000000004</c:v>
                </c:pt>
                <c:pt idx="1">
                  <c:v>6.3410000000000002</c:v>
                </c:pt>
                <c:pt idx="2">
                  <c:v>7.1822999999999997</c:v>
                </c:pt>
                <c:pt idx="3">
                  <c:v>7.6665999999999999</c:v>
                </c:pt>
                <c:pt idx="4">
                  <c:v>7.1292999999999997</c:v>
                </c:pt>
                <c:pt idx="5">
                  <c:v>5.9306000000000001</c:v>
                </c:pt>
                <c:pt idx="6">
                  <c:v>6.8876999999999997</c:v>
                </c:pt>
                <c:pt idx="7">
                  <c:v>6.9467999999999996</c:v>
                </c:pt>
              </c:numCache>
            </c:numRef>
          </c:xVal>
          <c:yVal>
            <c:numRef>
              <c:f>Sheet1!$B$2:$B$9</c:f>
              <c:numCache>
                <c:formatCode>General</c:formatCode>
                <c:ptCount val="8"/>
                <c:pt idx="0">
                  <c:v>0.96799999999999997</c:v>
                </c:pt>
                <c:pt idx="1">
                  <c:v>1.157</c:v>
                </c:pt>
                <c:pt idx="2">
                  <c:v>1.0609999999999999</c:v>
                </c:pt>
                <c:pt idx="3">
                  <c:v>1.3089999999999999</c:v>
                </c:pt>
                <c:pt idx="4">
                  <c:v>0.96599999999999997</c:v>
                </c:pt>
                <c:pt idx="5">
                  <c:v>0.371</c:v>
                </c:pt>
                <c:pt idx="6">
                  <c:v>0.89600000000000002</c:v>
                </c:pt>
                <c:pt idx="7">
                  <c:v>0.93700000000000006</c:v>
                </c:pt>
              </c:numCache>
            </c:numRef>
          </c:yVal>
          <c:bubbleSize>
            <c:numRef>
              <c:f>Sheet1!$C$2:$C$9</c:f>
              <c:numCache>
                <c:formatCode>General</c:formatCode>
                <c:ptCount val="8"/>
                <c:pt idx="0">
                  <c:v>32603771</c:v>
                </c:pt>
                <c:pt idx="1">
                  <c:v>28541428</c:v>
                </c:pt>
                <c:pt idx="2">
                  <c:v>16692146</c:v>
                </c:pt>
                <c:pt idx="3">
                  <c:v>2899640</c:v>
                </c:pt>
                <c:pt idx="4">
                  <c:v>2432770</c:v>
                </c:pt>
                <c:pt idx="5">
                  <c:v>1442399</c:v>
                </c:pt>
                <c:pt idx="6">
                  <c:v>1348354</c:v>
                </c:pt>
                <c:pt idx="7">
                  <c:v>1286705</c:v>
                </c:pt>
              </c:numCache>
            </c:numRef>
          </c:bubbleSize>
          <c:bubble3D val="0"/>
          <c:extLst>
            <c:ext xmlns:c15="http://schemas.microsoft.com/office/drawing/2012/chart" uri="{02D57815-91ED-43cb-92C2-25804820EDAC}">
              <c15:datalabelsRange>
                <c15:f>Sheet1!$E$2:$E$10</c15:f>
                <c15:dlblRangeCache>
                  <c:ptCount val="9"/>
                  <c:pt idx="0">
                    <c:v>Wolfberger</c:v>
                  </c:pt>
                  <c:pt idx="1">
                    <c:v>Mdd</c:v>
                  </c:pt>
                  <c:pt idx="2">
                    <c:v>Arthur Metz</c:v>
                  </c:pt>
                  <c:pt idx="3">
                    <c:v>Bestheim</c:v>
                  </c:pt>
                  <c:pt idx="4">
                    <c:v>Cave Beblenheim</c:v>
                  </c:pt>
                  <c:pt idx="5">
                    <c:v>Les Quinze Arpents</c:v>
                  </c:pt>
                  <c:pt idx="6">
                    <c:v>Geiler Jean</c:v>
                  </c:pt>
                  <c:pt idx="7">
                    <c:v>Dopf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02C34B9-6AE6-4BB2-B592-FBBB88C880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3A3F53B-0CA6-4B5D-BE39-081E6B71D2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C61EE27-09A0-4F2B-8E45-437F60D9EE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80E707C-5151-4DC5-AA0C-858C99FBC7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89DDC7F-3E87-41F6-97AB-8B18F6A6B4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04FD8EE-57D7-4537-9040-D4200CDB79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71195CE-9D27-4008-9A76-72936916D7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5A9B0E14-86EA-437A-8A7A-F9EE40AC90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000000000004</c:v>
                </c:pt>
                <c:pt idx="1">
                  <c:v>7.2641</c:v>
                </c:pt>
                <c:pt idx="2">
                  <c:v>6.9162999999999997</c:v>
                </c:pt>
                <c:pt idx="3">
                  <c:v>6.5225999999999997</c:v>
                </c:pt>
                <c:pt idx="4">
                  <c:v>7.99</c:v>
                </c:pt>
                <c:pt idx="5">
                  <c:v>7.0077999999999996</c:v>
                </c:pt>
                <c:pt idx="6">
                  <c:v>5.8705999999999996</c:v>
                </c:pt>
              </c:numCache>
            </c:numRef>
          </c:xVal>
          <c:yVal>
            <c:numRef>
              <c:f>Sheet1!$B$2:$B$8</c:f>
              <c:numCache>
                <c:formatCode>General</c:formatCode>
                <c:ptCount val="7"/>
                <c:pt idx="0">
                  <c:v>0.92500000000000004</c:v>
                </c:pt>
                <c:pt idx="1">
                  <c:v>1.0860000000000001</c:v>
                </c:pt>
                <c:pt idx="2">
                  <c:v>1.224</c:v>
                </c:pt>
                <c:pt idx="3">
                  <c:v>0.96599999999999997</c:v>
                </c:pt>
                <c:pt idx="4">
                  <c:v>1.377</c:v>
                </c:pt>
                <c:pt idx="5">
                  <c:v>1.2390000000000001</c:v>
                </c:pt>
                <c:pt idx="6">
                  <c:v>0.29799999999999999</c:v>
                </c:pt>
              </c:numCache>
            </c:numRef>
          </c:yVal>
          <c:bubbleSize>
            <c:numRef>
              <c:f>Sheet1!$C$2:$C$8</c:f>
              <c:numCache>
                <c:formatCode>General</c:formatCode>
                <c:ptCount val="7"/>
                <c:pt idx="0">
                  <c:v>3233122</c:v>
                </c:pt>
                <c:pt idx="1">
                  <c:v>2298436</c:v>
                </c:pt>
                <c:pt idx="2">
                  <c:v>2130700</c:v>
                </c:pt>
                <c:pt idx="3">
                  <c:v>1540327</c:v>
                </c:pt>
                <c:pt idx="4">
                  <c:v>1026974</c:v>
                </c:pt>
                <c:pt idx="5">
                  <c:v>477794</c:v>
                </c:pt>
                <c:pt idx="6">
                  <c:v>162181</c:v>
                </c:pt>
              </c:numCache>
            </c:numRef>
          </c:bubbleSize>
          <c:bubble3D val="0"/>
          <c:extLst>
            <c:ext xmlns:c15="http://schemas.microsoft.com/office/drawing/2012/chart" uri="{02D57815-91ED-43cb-92C2-25804820EDAC}">
              <c15:datalabelsRange>
                <c15:f>Sheet1!$E$2:$E$10</c15:f>
                <c15:dlblRangeCache>
                  <c:ptCount val="9"/>
                  <c:pt idx="0">
                    <c:v>Mdd</c:v>
                  </c:pt>
                  <c:pt idx="1">
                    <c:v>Ballarin Jean Louis</c:v>
                  </c:pt>
                  <c:pt idx="2">
                    <c:v>Malesan</c:v>
                  </c:pt>
                  <c:pt idx="3">
                    <c:v>Jaillance</c:v>
                  </c:pt>
                  <c:pt idx="4">
                    <c:v>Sieur Gaillard</c:v>
                  </c:pt>
                  <c:pt idx="5">
                    <c:v>Les Cordeliers</c:v>
                  </c:pt>
                  <c:pt idx="6">
                    <c:v>Calve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3B70F8-1469-41C6-A836-BD3418EC81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5C1412-1D40-4651-B00C-0DDEC9F5B9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4607A4-24F7-423E-B4BC-A5E6D07475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A61C7B-30F1-4564-B408-0314ED6ECB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2EA69D-0EE5-4E1E-9952-589E55D41E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D46E7A4-4BFF-48CE-B0AD-D9E8F3C0A2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493C8F-813F-4331-93EE-F2308043CD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147566-AFA4-4B78-91D5-26393B8D82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609899999999996</c:v>
                </c:pt>
                <c:pt idx="1">
                  <c:v>39.417499999999997</c:v>
                </c:pt>
                <c:pt idx="2">
                  <c:v>35.276000000000003</c:v>
                </c:pt>
                <c:pt idx="3">
                  <c:v>46.558799999999998</c:v>
                </c:pt>
                <c:pt idx="4">
                  <c:v>59.063800000000001</c:v>
                </c:pt>
                <c:pt idx="5">
                  <c:v>52.780999999999999</c:v>
                </c:pt>
                <c:pt idx="6">
                  <c:v>37.8521</c:v>
                </c:pt>
                <c:pt idx="7">
                  <c:v>75.428600000000003</c:v>
                </c:pt>
              </c:numCache>
            </c:numRef>
          </c:xVal>
          <c:yVal>
            <c:numRef>
              <c:f>Sheet1!$B$2:$B$9</c:f>
              <c:numCache>
                <c:formatCode>General</c:formatCode>
                <c:ptCount val="8"/>
                <c:pt idx="0">
                  <c:v>1.4019999999999999</c:v>
                </c:pt>
                <c:pt idx="1">
                  <c:v>0.58299999999999996</c:v>
                </c:pt>
                <c:pt idx="2">
                  <c:v>0.504</c:v>
                </c:pt>
                <c:pt idx="3">
                  <c:v>0.66500000000000004</c:v>
                </c:pt>
                <c:pt idx="4">
                  <c:v>0.88300000000000001</c:v>
                </c:pt>
                <c:pt idx="5">
                  <c:v>0.75</c:v>
                </c:pt>
                <c:pt idx="6">
                  <c:v>0.54100000000000004</c:v>
                </c:pt>
                <c:pt idx="7">
                  <c:v>1.071</c:v>
                </c:pt>
              </c:numCache>
            </c:numRef>
          </c:yVal>
          <c:bubbleSize>
            <c:numRef>
              <c:f>Sheet1!$C$2:$C$9</c:f>
              <c:numCache>
                <c:formatCode>General</c:formatCode>
                <c:ptCount val="8"/>
                <c:pt idx="0">
                  <c:v>1705852</c:v>
                </c:pt>
                <c:pt idx="1">
                  <c:v>231105</c:v>
                </c:pt>
                <c:pt idx="2">
                  <c:v>202096</c:v>
                </c:pt>
                <c:pt idx="3">
                  <c:v>117654</c:v>
                </c:pt>
                <c:pt idx="4">
                  <c:v>108323</c:v>
                </c:pt>
                <c:pt idx="5">
                  <c:v>81230</c:v>
                </c:pt>
                <c:pt idx="6">
                  <c:v>76802</c:v>
                </c:pt>
                <c:pt idx="7">
                  <c:v>623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Henriot</c:v>
                  </c:pt>
                  <c:pt idx="4">
                    <c:v>Besserat De Bellefon</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D456010-4641-41C2-BA7C-00E353B4D0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373DB98-C4BE-477E-9184-19FA55BAE7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6D44AC1-67E1-46B9-A25A-320DC039DB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A1599CB-7DEB-4911-B8CB-C5E6CD20FE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7CC1DD6-48BF-4D69-B3EF-0356ABB2C9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99598D2-6C91-47FC-AB52-F2F0D8A3EB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B641A8A-3067-434D-B09B-9AACE3FDBB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FDC7731-B909-45DD-A6DB-4E02557B32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943199999999997</c:v>
                </c:pt>
                <c:pt idx="1">
                  <c:v>22.2364</c:v>
                </c:pt>
                <c:pt idx="2">
                  <c:v>47.675199999999997</c:v>
                </c:pt>
                <c:pt idx="3">
                  <c:v>48.289099999999998</c:v>
                </c:pt>
                <c:pt idx="4">
                  <c:v>29.328600000000002</c:v>
                </c:pt>
                <c:pt idx="5">
                  <c:v>37.176900000000003</c:v>
                </c:pt>
                <c:pt idx="6">
                  <c:v>29.502600000000001</c:v>
                </c:pt>
                <c:pt idx="7">
                  <c:v>51.646000000000001</c:v>
                </c:pt>
              </c:numCache>
            </c:numRef>
          </c:xVal>
          <c:yVal>
            <c:numRef>
              <c:f>Sheet1!$B$2:$B$9</c:f>
              <c:numCache>
                <c:formatCode>General</c:formatCode>
                <c:ptCount val="8"/>
                <c:pt idx="0">
                  <c:v>1.4419999999999999</c:v>
                </c:pt>
                <c:pt idx="1">
                  <c:v>0.56899999999999995</c:v>
                </c:pt>
                <c:pt idx="2">
                  <c:v>1.1950000000000001</c:v>
                </c:pt>
                <c:pt idx="3">
                  <c:v>1.101</c:v>
                </c:pt>
                <c:pt idx="4">
                  <c:v>0.751</c:v>
                </c:pt>
                <c:pt idx="5">
                  <c:v>0.95199999999999996</c:v>
                </c:pt>
                <c:pt idx="6">
                  <c:v>0.79200000000000004</c:v>
                </c:pt>
                <c:pt idx="7">
                  <c:v>1.1659999999999999</c:v>
                </c:pt>
              </c:numCache>
            </c:numRef>
          </c:yVal>
          <c:bubbleSize>
            <c:numRef>
              <c:f>Sheet1!$C$2:$C$9</c:f>
              <c:numCache>
                <c:formatCode>General</c:formatCode>
                <c:ptCount val="8"/>
                <c:pt idx="0">
                  <c:v>3709394</c:v>
                </c:pt>
                <c:pt idx="1">
                  <c:v>2057383</c:v>
                </c:pt>
                <c:pt idx="2">
                  <c:v>1951631</c:v>
                </c:pt>
                <c:pt idx="3">
                  <c:v>1194382</c:v>
                </c:pt>
                <c:pt idx="4">
                  <c:v>1029785</c:v>
                </c:pt>
                <c:pt idx="5">
                  <c:v>867115</c:v>
                </c:pt>
                <c:pt idx="6">
                  <c:v>771759</c:v>
                </c:pt>
                <c:pt idx="7">
                  <c:v>72619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Canard Duchêne</c:v>
                  </c:pt>
                  <c:pt idx="7">
                    <c:v>Taitting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4E11D1A-1B9A-4BB7-9F3B-E92A323B57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84DB733-BD9B-4F53-808A-A68CD9C05B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4DE4202-7638-4A7A-A59E-9321CF2880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BDF0A4D-E7A1-449F-8487-48432185EF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49D6DFD-EF2B-466E-B4EE-A97184E477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EC6489A-5EAA-4A15-8896-A74347BA8C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2FE7C13F-C166-4C62-8E4D-3E01337CB1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CC128F90-E0BE-493B-A4FB-6254339558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553</c:v>
                </c:pt>
                <c:pt idx="1">
                  <c:v>30.398399999999999</c:v>
                </c:pt>
                <c:pt idx="2">
                  <c:v>31.399699999999999</c:v>
                </c:pt>
                <c:pt idx="3">
                  <c:v>35.377000000000002</c:v>
                </c:pt>
              </c:numCache>
            </c:numRef>
          </c:xVal>
          <c:yVal>
            <c:numRef>
              <c:f>Sheet1!$B$2:$B$5</c:f>
              <c:numCache>
                <c:formatCode>General</c:formatCode>
                <c:ptCount val="4"/>
                <c:pt idx="0">
                  <c:v>0.98799999999999999</c:v>
                </c:pt>
                <c:pt idx="1">
                  <c:v>1.012</c:v>
                </c:pt>
                <c:pt idx="2">
                  <c:v>1.0469999999999999</c:v>
                </c:pt>
                <c:pt idx="3">
                  <c:v>1.0880000000000001</c:v>
                </c:pt>
              </c:numCache>
            </c:numRef>
          </c:yVal>
          <c:bubbleSize>
            <c:numRef>
              <c:f>Sheet1!$C$2:$C$5</c:f>
              <c:numCache>
                <c:formatCode>General</c:formatCode>
                <c:ptCount val="4"/>
                <c:pt idx="0">
                  <c:v>1002232</c:v>
                </c:pt>
                <c:pt idx="1">
                  <c:v>253340</c:v>
                </c:pt>
                <c:pt idx="2">
                  <c:v>140074</c:v>
                </c:pt>
                <c:pt idx="3">
                  <c:v>28903</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07B994B0-7DEB-4EB2-9B9B-B688B4D14A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8DAA6027-1DEC-4AC7-A14D-4B902FDE39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A4A71A3-C573-4332-AD1D-A0B1C5892B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1397D7AA-8E7B-4326-B2D1-A4F5C24C13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0AF5EB68-1ADD-4A25-ABD2-7B48149063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4B6C73A5-CE79-4043-A6B9-3A780FE33E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630B13C4-08B2-408C-B23B-719ED4B62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02792C1B-B086-4FBC-BEBD-59C17512C7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83</c:v>
                </c:pt>
                <c:pt idx="1">
                  <c:v>43.559199999999997</c:v>
                </c:pt>
                <c:pt idx="2">
                  <c:v>38.469000000000001</c:v>
                </c:pt>
              </c:numCache>
            </c:numRef>
          </c:xVal>
          <c:yVal>
            <c:numRef>
              <c:f>Sheet1!$B$2:$B$4</c:f>
              <c:numCache>
                <c:formatCode>General</c:formatCode>
                <c:ptCount val="3"/>
                <c:pt idx="0">
                  <c:v>0.94</c:v>
                </c:pt>
                <c:pt idx="1">
                  <c:v>1.3120000000000001</c:v>
                </c:pt>
                <c:pt idx="2">
                  <c:v>1.1519999999999999</c:v>
                </c:pt>
              </c:numCache>
            </c:numRef>
          </c:yVal>
          <c:bubbleSize>
            <c:numRef>
              <c:f>Sheet1!$C$2:$C$4</c:f>
              <c:numCache>
                <c:formatCode>General</c:formatCode>
                <c:ptCount val="3"/>
                <c:pt idx="0">
                  <c:v>827128</c:v>
                </c:pt>
                <c:pt idx="1">
                  <c:v>211001</c:v>
                </c:pt>
                <c:pt idx="2">
                  <c:v>17388</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8D6C62-5D97-4882-89B5-5E163C3C24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FE1A23-0705-40B6-8124-064A268D10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7A4F4A-0D92-4062-9050-6C97B6FC27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0ED987-C472-4554-AEC7-202F0558F7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63619B-6530-4889-9F26-EABC5ECA3A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7893636-82D8-40D5-ADCF-DCF49461B6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F55CA66-F42D-4E22-9026-2DAF0384E4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08ADEE-E83C-43FD-A3C6-C2C98A584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9.1438</c:v>
                </c:pt>
                <c:pt idx="1">
                  <c:v>155.31</c:v>
                </c:pt>
                <c:pt idx="2">
                  <c:v>37.252499999999998</c:v>
                </c:pt>
                <c:pt idx="3">
                  <c:v>93.597999999999999</c:v>
                </c:pt>
                <c:pt idx="4">
                  <c:v>62.747599999999998</c:v>
                </c:pt>
                <c:pt idx="5">
                  <c:v>254.06059999999999</c:v>
                </c:pt>
                <c:pt idx="6">
                  <c:v>268.13209999999998</c:v>
                </c:pt>
                <c:pt idx="7">
                  <c:v>204.03389999999999</c:v>
                </c:pt>
              </c:numCache>
            </c:numRef>
          </c:xVal>
          <c:yVal>
            <c:numRef>
              <c:f>Sheet1!$B$2:$B$9</c:f>
              <c:numCache>
                <c:formatCode>General</c:formatCode>
                <c:ptCount val="8"/>
                <c:pt idx="0">
                  <c:v>2.1040000000000001</c:v>
                </c:pt>
                <c:pt idx="1">
                  <c:v>1.24</c:v>
                </c:pt>
                <c:pt idx="2">
                  <c:v>0.30299999999999999</c:v>
                </c:pt>
                <c:pt idx="3">
                  <c:v>0.75600000000000001</c:v>
                </c:pt>
                <c:pt idx="4">
                  <c:v>0.50800000000000001</c:v>
                </c:pt>
                <c:pt idx="5">
                  <c:v>1.905</c:v>
                </c:pt>
                <c:pt idx="6">
                  <c:v>1.855</c:v>
                </c:pt>
                <c:pt idx="7">
                  <c:v>1.5720000000000001</c:v>
                </c:pt>
              </c:numCache>
            </c:numRef>
          </c:yVal>
          <c:bubbleSize>
            <c:numRef>
              <c:f>Sheet1!$C$2:$C$9</c:f>
              <c:numCache>
                <c:formatCode>General</c:formatCode>
                <c:ptCount val="8"/>
                <c:pt idx="0">
                  <c:v>358655</c:v>
                </c:pt>
                <c:pt idx="1">
                  <c:v>255019</c:v>
                </c:pt>
                <c:pt idx="2">
                  <c:v>92796</c:v>
                </c:pt>
                <c:pt idx="3">
                  <c:v>83583</c:v>
                </c:pt>
                <c:pt idx="4">
                  <c:v>32315</c:v>
                </c:pt>
                <c:pt idx="5">
                  <c:v>25152</c:v>
                </c:pt>
                <c:pt idx="6">
                  <c:v>14211</c:v>
                </c:pt>
                <c:pt idx="7">
                  <c:v>1203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Malard</c:v>
                  </c:pt>
                  <c:pt idx="3">
                    <c:v>Ruinart</c:v>
                  </c:pt>
                  <c:pt idx="4">
                    <c:v>Laurent Perrier</c:v>
                  </c:pt>
                  <c:pt idx="5">
                    <c:v>Bollinger</c:v>
                  </c:pt>
                  <c:pt idx="6">
                    <c:v>Piper Heidsieck</c:v>
                  </c:pt>
                  <c:pt idx="7">
                    <c:v>Veuve Clicquo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C29346-0218-437D-BCCC-C1533312D2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B3BEDC-48B3-4B2F-B49E-3968A548D2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A07AAC-959A-4D5F-B48E-19D7E29C7F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29C785-03C0-4174-8C9A-CFFFCD2288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2CADA2-975D-436E-AE22-DFBE54AA02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C1432C-1C58-4EE6-9D9C-99E61AC937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391722-1179-4374-A2F4-72255315A3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809F94-118C-41FF-A545-14B7CB72A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778700000000001</c:v>
                </c:pt>
                <c:pt idx="1">
                  <c:v>51.711100000000002</c:v>
                </c:pt>
                <c:pt idx="2">
                  <c:v>24.7149</c:v>
                </c:pt>
                <c:pt idx="3">
                  <c:v>31.674600000000002</c:v>
                </c:pt>
                <c:pt idx="4">
                  <c:v>56.167200000000001</c:v>
                </c:pt>
                <c:pt idx="5">
                  <c:v>29.235499999999998</c:v>
                </c:pt>
                <c:pt idx="6">
                  <c:v>56.559800000000003</c:v>
                </c:pt>
                <c:pt idx="7">
                  <c:v>34.003700000000002</c:v>
                </c:pt>
              </c:numCache>
            </c:numRef>
          </c:xVal>
          <c:yVal>
            <c:numRef>
              <c:f>Sheet1!$B$2:$B$9</c:f>
              <c:numCache>
                <c:formatCode>General</c:formatCode>
                <c:ptCount val="8"/>
                <c:pt idx="0">
                  <c:v>2.0049999999999999</c:v>
                </c:pt>
                <c:pt idx="1">
                  <c:v>1.42</c:v>
                </c:pt>
                <c:pt idx="2">
                  <c:v>0.70899999999999996</c:v>
                </c:pt>
                <c:pt idx="3">
                  <c:v>0.91300000000000003</c:v>
                </c:pt>
                <c:pt idx="4">
                  <c:v>1.377</c:v>
                </c:pt>
                <c:pt idx="5">
                  <c:v>0.84399999999999997</c:v>
                </c:pt>
                <c:pt idx="6">
                  <c:v>1.3680000000000001</c:v>
                </c:pt>
                <c:pt idx="7">
                  <c:v>0.95</c:v>
                </c:pt>
              </c:numCache>
            </c:numRef>
          </c:yVal>
          <c:bubbleSize>
            <c:numRef>
              <c:f>Sheet1!$C$2:$C$9</c:f>
              <c:numCache>
                <c:formatCode>General</c:formatCode>
                <c:ptCount val="8"/>
                <c:pt idx="0">
                  <c:v>878434</c:v>
                </c:pt>
                <c:pt idx="1">
                  <c:v>324746</c:v>
                </c:pt>
                <c:pt idx="2">
                  <c:v>279303</c:v>
                </c:pt>
                <c:pt idx="3">
                  <c:v>176681</c:v>
                </c:pt>
                <c:pt idx="4">
                  <c:v>160863</c:v>
                </c:pt>
                <c:pt idx="5">
                  <c:v>125888</c:v>
                </c:pt>
                <c:pt idx="6">
                  <c:v>122961</c:v>
                </c:pt>
                <c:pt idx="7">
                  <c:v>12084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Malard</c:v>
                  </c:pt>
                  <c:pt idx="4">
                    <c:v>Laurent Perrier</c:v>
                  </c:pt>
                  <c:pt idx="5">
                    <c:v>Heidsieck &amp; Co Monopole</c:v>
                  </c:pt>
                  <c:pt idx="6">
                    <c:v>Taittinger</c:v>
                  </c:pt>
                  <c:pt idx="7">
                    <c:v>Nicolas Feuilla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205568C-6F5D-4354-8629-698ED53FFB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159E973-5046-43D7-89E9-FAC19015E8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A3D7C58-9B0F-460D-A305-B5259D98D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ABA4E58-EACF-4D51-B414-A930C79DEF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00BBF94-05DA-4A10-8DE7-B5EC114948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EC57F8C-6A2F-416E-8A3E-D1A2E9A5B6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B3E7B72-103D-4AE2-9EEB-9C82A568D5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A5C59B6-79C2-4E74-ABB5-A195454485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9.978300000000004</c:v>
                </c:pt>
                <c:pt idx="1">
                  <c:v>51.580500000000001</c:v>
                </c:pt>
                <c:pt idx="2">
                  <c:v>37.562899999999999</c:v>
                </c:pt>
                <c:pt idx="3">
                  <c:v>26.687899999999999</c:v>
                </c:pt>
                <c:pt idx="4">
                  <c:v>80.448099999999997</c:v>
                </c:pt>
                <c:pt idx="5">
                  <c:v>37.557499999999997</c:v>
                </c:pt>
                <c:pt idx="6">
                  <c:v>40.275599999999997</c:v>
                </c:pt>
                <c:pt idx="7">
                  <c:v>35.996699999999997</c:v>
                </c:pt>
              </c:numCache>
            </c:numRef>
          </c:xVal>
          <c:yVal>
            <c:numRef>
              <c:f>Sheet1!$B$2:$B$9</c:f>
              <c:numCache>
                <c:formatCode>General</c:formatCode>
                <c:ptCount val="8"/>
                <c:pt idx="0">
                  <c:v>1.6459999999999999</c:v>
                </c:pt>
                <c:pt idx="1">
                  <c:v>1.054</c:v>
                </c:pt>
                <c:pt idx="2">
                  <c:v>0.66800000000000004</c:v>
                </c:pt>
                <c:pt idx="3">
                  <c:v>0.51300000000000001</c:v>
                </c:pt>
                <c:pt idx="4">
                  <c:v>1.43</c:v>
                </c:pt>
                <c:pt idx="5">
                  <c:v>0.66800000000000004</c:v>
                </c:pt>
                <c:pt idx="6">
                  <c:v>0.86699999999999999</c:v>
                </c:pt>
                <c:pt idx="7">
                  <c:v>0.64</c:v>
                </c:pt>
              </c:numCache>
            </c:numRef>
          </c:yVal>
          <c:bubbleSize>
            <c:numRef>
              <c:f>Sheet1!$C$2:$C$9</c:f>
              <c:numCache>
                <c:formatCode>General</c:formatCode>
                <c:ptCount val="8"/>
                <c:pt idx="0">
                  <c:v>480304</c:v>
                </c:pt>
                <c:pt idx="1">
                  <c:v>248876</c:v>
                </c:pt>
                <c:pt idx="2">
                  <c:v>192735</c:v>
                </c:pt>
                <c:pt idx="3">
                  <c:v>180357</c:v>
                </c:pt>
                <c:pt idx="4">
                  <c:v>149553</c:v>
                </c:pt>
                <c:pt idx="5">
                  <c:v>103471</c:v>
                </c:pt>
                <c:pt idx="6">
                  <c:v>96299</c:v>
                </c:pt>
                <c:pt idx="7">
                  <c:v>86320</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8"/>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01D8F02-300A-4C7B-9421-23DB20EFD6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5C0A8EC2-6FC0-4447-89B3-AAC2C7404D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C8DD565-E865-481A-9F20-ABF9D3A51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F914E119-86AA-46EF-AEBD-0ACE91FCE6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1C749B72-A7D9-49F9-804F-52241757E8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4B1ED4F7-ABBC-4C01-B16F-59AA24A681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D88AFB20-4C43-453A-9494-755669E785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F61EBC41-DCE1-4122-8A55-4E72D2B5B4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53</c:v>
                </c:pt>
              </c:numCache>
            </c:numRef>
          </c:xVal>
          <c:yVal>
            <c:numRef>
              <c:f>Sheet1!$B$2:$B$2</c:f>
              <c:numCache>
                <c:formatCode>General</c:formatCode>
                <c:ptCount val="1"/>
                <c:pt idx="0">
                  <c:v>1</c:v>
                </c:pt>
              </c:numCache>
            </c:numRef>
          </c:yVal>
          <c:bubbleSize>
            <c:numRef>
              <c:f>Sheet1!$C$2:$C$2</c:f>
              <c:numCache>
                <c:formatCode>General</c:formatCode>
                <c:ptCount val="1"/>
                <c:pt idx="0">
                  <c:v>231659</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5583783-3C8A-4B0A-982F-2B0FB2711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0C701F8B-4836-4FA2-825D-C67B41A7F8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68001CE-4764-4C88-BC29-939C34B686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26CB0821-1F70-48D4-9719-6BDA29FCC8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0C837121-25AD-4450-8E19-9514126C30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F1F93A9C-6323-475D-80D2-825F0AAF55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0393B281-91F2-4E71-A847-A34EB85880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3F15D9C0-7912-4656-9AE5-18A09E9642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527</c:v>
                </c:pt>
                <c:pt idx="1">
                  <c:v>9.0898000000000003</c:v>
                </c:pt>
                <c:pt idx="2">
                  <c:v>11.3033</c:v>
                </c:pt>
              </c:numCache>
            </c:numRef>
          </c:xVal>
          <c:yVal>
            <c:numRef>
              <c:f>Sheet1!$B$2:$B$4</c:f>
              <c:numCache>
                <c:formatCode>General</c:formatCode>
                <c:ptCount val="3"/>
                <c:pt idx="0">
                  <c:v>1.2749999999999999</c:v>
                </c:pt>
                <c:pt idx="1">
                  <c:v>1.012</c:v>
                </c:pt>
                <c:pt idx="2">
                  <c:v>1.0740000000000001</c:v>
                </c:pt>
              </c:numCache>
            </c:numRef>
          </c:yVal>
          <c:bubbleSize>
            <c:numRef>
              <c:f>Sheet1!$C$2:$C$4</c:f>
              <c:numCache>
                <c:formatCode>General</c:formatCode>
                <c:ptCount val="3"/>
                <c:pt idx="0">
                  <c:v>290933</c:v>
                </c:pt>
                <c:pt idx="1">
                  <c:v>172107</c:v>
                </c:pt>
                <c:pt idx="2">
                  <c:v>43710</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CD94DC-A54E-421D-BE84-D5564E96BB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382019-3393-417A-A025-E9B6DDA9FD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9060D2-1A84-4BAE-8F5D-3ECBDC0439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FA178B3-878B-4A49-8677-775313F0F2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BE5C14A-5582-4C35-95BE-86693025CB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71337CF-45C3-4351-9790-E4331576F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8B7558C-20C9-4366-AAF2-7708A2129D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7DED88-EBB7-4EFB-B314-0A84062C6B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8199999999999</c:v>
                </c:pt>
                <c:pt idx="1">
                  <c:v>11.792999999999999</c:v>
                </c:pt>
                <c:pt idx="2">
                  <c:v>13.5303</c:v>
                </c:pt>
              </c:numCache>
            </c:numRef>
          </c:xVal>
          <c:yVal>
            <c:numRef>
              <c:f>Sheet1!$B$2:$B$4</c:f>
              <c:numCache>
                <c:formatCode>General</c:formatCode>
                <c:ptCount val="3"/>
                <c:pt idx="0">
                  <c:v>0.97599999999999998</c:v>
                </c:pt>
                <c:pt idx="1">
                  <c:v>0.96499999999999997</c:v>
                </c:pt>
                <c:pt idx="2">
                  <c:v>1.1599999999999999</c:v>
                </c:pt>
              </c:numCache>
            </c:numRef>
          </c:yVal>
          <c:bubbleSize>
            <c:numRef>
              <c:f>Sheet1!$C$2:$C$4</c:f>
              <c:numCache>
                <c:formatCode>General</c:formatCode>
                <c:ptCount val="3"/>
                <c:pt idx="0">
                  <c:v>151528</c:v>
                </c:pt>
                <c:pt idx="1">
                  <c:v>144783</c:v>
                </c:pt>
                <c:pt idx="2">
                  <c:v>89327</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6D6AB29-A473-42E5-999A-9C3A2EBDFE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3D9B07F1-718E-4623-BFDA-3D7789547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362E7F29-5C00-4F30-B3F4-F90A7844AF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5E32B2E8-0FBE-474E-81F0-BA174DFE7F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2214BAC2-EF6B-44BB-9DEC-A106CA526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E462EA9F-F97C-41C3-AF1A-C60CC211F7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B11976D-878D-42A0-9B1A-48AA215F22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CED8CDB-8904-48DE-95DB-844C4F79F5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300000000001</c:v>
                </c:pt>
              </c:numCache>
            </c:numRef>
          </c:xVal>
          <c:yVal>
            <c:numRef>
              <c:f>Sheet1!$B$2:$B$2</c:f>
              <c:numCache>
                <c:formatCode>General</c:formatCode>
                <c:ptCount val="1"/>
                <c:pt idx="0">
                  <c:v>1.1200000000000001</c:v>
                </c:pt>
              </c:numCache>
            </c:numRef>
          </c:yVal>
          <c:bubbleSize>
            <c:numRef>
              <c:f>Sheet1!$C$2:$C$2</c:f>
              <c:numCache>
                <c:formatCode>General</c:formatCode>
                <c:ptCount val="1"/>
                <c:pt idx="0">
                  <c:v>17950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EE309CE-BFAA-4B4D-A2AD-5178D8ADED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E53DCE6-2094-4596-9B3C-910A685EE3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3FE8CED6-24F5-44FC-B760-D2293B05BD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7D04E1F0-CA7C-480F-9A9B-797D1C717D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5CC1D3B-BE50-4C5F-8C26-081BB9A405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89E6275B-327A-4010-9DFD-E2A9DFCB35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A56D3D1-89F1-44E7-B656-A4449D07F5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CF965EA-1FD7-4206-8247-5853783E1D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256</c:v>
                </c:pt>
                <c:pt idx="1">
                  <c:v>9.5991</c:v>
                </c:pt>
              </c:numCache>
            </c:numRef>
          </c:xVal>
          <c:yVal>
            <c:numRef>
              <c:f>Sheet1!$B$2:$B$3</c:f>
              <c:numCache>
                <c:formatCode>General</c:formatCode>
                <c:ptCount val="2"/>
                <c:pt idx="0">
                  <c:v>1.014</c:v>
                </c:pt>
                <c:pt idx="1">
                  <c:v>0.89500000000000002</c:v>
                </c:pt>
              </c:numCache>
            </c:numRef>
          </c:yVal>
          <c:bubbleSize>
            <c:numRef>
              <c:f>Sheet1!$C$2:$C$3</c:f>
              <c:numCache>
                <c:formatCode>General</c:formatCode>
                <c:ptCount val="2"/>
                <c:pt idx="0">
                  <c:v>30525</c:v>
                </c:pt>
                <c:pt idx="1">
                  <c:v>411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3B3B7E-0D2E-4B6F-BFA5-3F5DCA24A8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E0849F-C6EF-4507-BDDE-FCB89B1208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83FAF1-1F7D-4C11-ACFC-0BCDCF4D6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2C5708-5B68-4501-AF9B-E144DB0837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2343E4-0AEB-4FFC-837B-56529CD2C8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92F0B7-1CC0-4E31-8941-CE444B697D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3B2559-ADBC-44CA-9AB4-F7F1DE49FD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5E13D8-E00B-45A1-A7E4-DB255276DA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625</c:v>
                </c:pt>
                <c:pt idx="1">
                  <c:v>39.718200000000003</c:v>
                </c:pt>
                <c:pt idx="2">
                  <c:v>35.055900000000001</c:v>
                </c:pt>
                <c:pt idx="3">
                  <c:v>59.2517</c:v>
                </c:pt>
                <c:pt idx="4">
                  <c:v>46.262700000000002</c:v>
                </c:pt>
                <c:pt idx="5">
                  <c:v>37.4221</c:v>
                </c:pt>
                <c:pt idx="6">
                  <c:v>76.025499999999994</c:v>
                </c:pt>
                <c:pt idx="7">
                  <c:v>53.0809</c:v>
                </c:pt>
              </c:numCache>
            </c:numRef>
          </c:xVal>
          <c:yVal>
            <c:numRef>
              <c:f>Sheet1!$B$2:$B$9</c:f>
              <c:numCache>
                <c:formatCode>General</c:formatCode>
                <c:ptCount val="8"/>
                <c:pt idx="0">
                  <c:v>1.4490000000000001</c:v>
                </c:pt>
                <c:pt idx="1">
                  <c:v>0.60499999999999998</c:v>
                </c:pt>
                <c:pt idx="2">
                  <c:v>0.52100000000000002</c:v>
                </c:pt>
                <c:pt idx="3">
                  <c:v>0.90900000000000003</c:v>
                </c:pt>
                <c:pt idx="4">
                  <c:v>0.68500000000000005</c:v>
                </c:pt>
                <c:pt idx="5">
                  <c:v>0.55500000000000005</c:v>
                </c:pt>
                <c:pt idx="6">
                  <c:v>1.1120000000000001</c:v>
                </c:pt>
                <c:pt idx="7">
                  <c:v>0.78800000000000003</c:v>
                </c:pt>
              </c:numCache>
            </c:numRef>
          </c:yVal>
          <c:bubbleSize>
            <c:numRef>
              <c:f>Sheet1!$C$2:$C$9</c:f>
              <c:numCache>
                <c:formatCode>General</c:formatCode>
                <c:ptCount val="8"/>
                <c:pt idx="0">
                  <c:v>1082244</c:v>
                </c:pt>
                <c:pt idx="1">
                  <c:v>126423</c:v>
                </c:pt>
                <c:pt idx="2">
                  <c:v>94651</c:v>
                </c:pt>
                <c:pt idx="3">
                  <c:v>79812</c:v>
                </c:pt>
                <c:pt idx="4">
                  <c:v>59355</c:v>
                </c:pt>
                <c:pt idx="5">
                  <c:v>46104</c:v>
                </c:pt>
                <c:pt idx="6">
                  <c:v>38697</c:v>
                </c:pt>
                <c:pt idx="7">
                  <c:v>3476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 Bligny</c:v>
                  </c:pt>
                  <c:pt idx="6">
                    <c:v>Ayala</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F00C411-DCCD-4012-B6C9-E58B0DE203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519D9A5-4A00-4773-A6E9-7CC5282301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07D2910-2A1A-4A72-8802-DD69BF1A0C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7113E11-58E6-4FC3-B5EA-5B82708D95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C222BFE-5E7F-4113-B646-FF5353763A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9BFE716-97BA-4F28-A507-68001FDEE1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E8E736D-A704-4D79-8B94-496B1AD322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A30A0F82-0AEF-4438-9E18-2A48B21F8F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2087</c:v>
                </c:pt>
                <c:pt idx="1">
                  <c:v>22.116199999999999</c:v>
                </c:pt>
                <c:pt idx="2">
                  <c:v>49.142000000000003</c:v>
                </c:pt>
                <c:pt idx="3">
                  <c:v>30.440999999999999</c:v>
                </c:pt>
                <c:pt idx="4">
                  <c:v>49.253999999999998</c:v>
                </c:pt>
                <c:pt idx="5">
                  <c:v>29.9451</c:v>
                </c:pt>
                <c:pt idx="6">
                  <c:v>29.143899999999999</c:v>
                </c:pt>
                <c:pt idx="7">
                  <c:v>36.717700000000001</c:v>
                </c:pt>
              </c:numCache>
            </c:numRef>
          </c:xVal>
          <c:yVal>
            <c:numRef>
              <c:f>Sheet1!$B$2:$B$9</c:f>
              <c:numCache>
                <c:formatCode>General</c:formatCode>
                <c:ptCount val="8"/>
                <c:pt idx="0">
                  <c:v>1.476</c:v>
                </c:pt>
                <c:pt idx="1">
                  <c:v>0.57899999999999996</c:v>
                </c:pt>
                <c:pt idx="2">
                  <c:v>1.218</c:v>
                </c:pt>
                <c:pt idx="3">
                  <c:v>0.81299999999999994</c:v>
                </c:pt>
                <c:pt idx="4">
                  <c:v>1.1200000000000001</c:v>
                </c:pt>
                <c:pt idx="5">
                  <c:v>0.78600000000000003</c:v>
                </c:pt>
                <c:pt idx="6">
                  <c:v>0.76500000000000001</c:v>
                </c:pt>
                <c:pt idx="7">
                  <c:v>0.96299999999999997</c:v>
                </c:pt>
              </c:numCache>
            </c:numRef>
          </c:yVal>
          <c:bubbleSize>
            <c:numRef>
              <c:f>Sheet1!$C$2:$C$9</c:f>
              <c:numCache>
                <c:formatCode>General</c:formatCode>
                <c:ptCount val="8"/>
                <c:pt idx="0">
                  <c:v>1769295</c:v>
                </c:pt>
                <c:pt idx="1">
                  <c:v>999807</c:v>
                </c:pt>
                <c:pt idx="2">
                  <c:v>720274</c:v>
                </c:pt>
                <c:pt idx="3">
                  <c:v>406966</c:v>
                </c:pt>
                <c:pt idx="4">
                  <c:v>402750</c:v>
                </c:pt>
                <c:pt idx="5">
                  <c:v>375092</c:v>
                </c:pt>
                <c:pt idx="6">
                  <c:v>369078</c:v>
                </c:pt>
                <c:pt idx="7">
                  <c:v>32333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Canard Duchêne</c:v>
                  </c:pt>
                  <c:pt idx="4">
                    <c:v>Laurent Perrier</c:v>
                  </c:pt>
                  <c:pt idx="5">
                    <c:v>De Bligny</c:v>
                  </c:pt>
                  <c:pt idx="6">
                    <c:v>Heidsieck &amp; Co Monopole</c:v>
                  </c:pt>
                  <c:pt idx="7">
                    <c:v>Ayala</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5DED3A4-56B6-412D-BF89-F4968A2642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499BEEC-089B-4869-9BC6-A56E079385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D97218A-AA67-4C85-B501-799E406125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441E2CAA-2B29-4ECC-8211-65CD3862F7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C136E4C-53CA-4BDD-9E31-1740BCA89C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9863958-0678-47BE-95C5-17C2C84C7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B155FC0-12D8-4BC2-A3A8-5C215D5509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235AE6C-E46B-45B9-8E65-0C02CA38BF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084</c:v>
                </c:pt>
                <c:pt idx="1">
                  <c:v>30.382000000000001</c:v>
                </c:pt>
                <c:pt idx="2">
                  <c:v>31.254200000000001</c:v>
                </c:pt>
                <c:pt idx="3">
                  <c:v>34.145899999999997</c:v>
                </c:pt>
              </c:numCache>
            </c:numRef>
          </c:xVal>
          <c:yVal>
            <c:numRef>
              <c:f>Sheet1!$B$2:$B$5</c:f>
              <c:numCache>
                <c:formatCode>General</c:formatCode>
                <c:ptCount val="4"/>
                <c:pt idx="0">
                  <c:v>0.98699999999999999</c:v>
                </c:pt>
                <c:pt idx="1">
                  <c:v>1.02</c:v>
                </c:pt>
                <c:pt idx="2">
                  <c:v>1.044</c:v>
                </c:pt>
                <c:pt idx="3">
                  <c:v>1.0760000000000001</c:v>
                </c:pt>
              </c:numCache>
            </c:numRef>
          </c:yVal>
          <c:bubbleSize>
            <c:numRef>
              <c:f>Sheet1!$C$2:$C$5</c:f>
              <c:numCache>
                <c:formatCode>General</c:formatCode>
                <c:ptCount val="4"/>
                <c:pt idx="0">
                  <c:v>383838</c:v>
                </c:pt>
                <c:pt idx="1">
                  <c:v>108160</c:v>
                </c:pt>
                <c:pt idx="2">
                  <c:v>42412</c:v>
                </c:pt>
                <c:pt idx="3">
                  <c:v>1779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21F99CC5-5538-4ECA-9564-5E95374654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787220C7-4C78-44D2-96DB-9B86F7AE2F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5EC67B32-1B85-42AB-AD90-A2AB501293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EEA0572A-EF86-4A1A-AB9B-F7F41C30FF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B20AFCA6-3133-4E49-8346-74345D45A9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37E385F9-0811-41CC-881F-19AF2D3800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3C57B268-B80A-4032-B5EE-EF9246F811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2DFBB967-E19B-43CF-9C27-371EB61085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7600000000001</c:v>
                </c:pt>
                <c:pt idx="1">
                  <c:v>43.201500000000003</c:v>
                </c:pt>
                <c:pt idx="2">
                  <c:v>39.285699999999999</c:v>
                </c:pt>
              </c:numCache>
            </c:numRef>
          </c:xVal>
          <c:yVal>
            <c:numRef>
              <c:f>Sheet1!$B$2:$B$4</c:f>
              <c:numCache>
                <c:formatCode>General</c:formatCode>
                <c:ptCount val="3"/>
                <c:pt idx="0">
                  <c:v>0.94499999999999995</c:v>
                </c:pt>
                <c:pt idx="1">
                  <c:v>1.3169999999999999</c:v>
                </c:pt>
                <c:pt idx="2">
                  <c:v>1.1459999999999999</c:v>
                </c:pt>
              </c:numCache>
            </c:numRef>
          </c:yVal>
          <c:bubbleSize>
            <c:numRef>
              <c:f>Sheet1!$C$2:$C$4</c:f>
              <c:numCache>
                <c:formatCode>General</c:formatCode>
                <c:ptCount val="3"/>
                <c:pt idx="0">
                  <c:v>331167</c:v>
                </c:pt>
                <c:pt idx="1">
                  <c:v>75689</c:v>
                </c:pt>
                <c:pt idx="2">
                  <c:v>5225</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FA0F68-E9A3-40E3-9E7F-F0724F2854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6F5701-4051-4DC4-9D59-2B449774D1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7D8F82-46B9-4A2C-B91D-9FBCCD9039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6975C7-E98F-47AA-9D08-6874D20267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1875CB-888B-4828-A9E5-F498DFFED5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41F95C-C514-41D8-8BC7-6395F48BE6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178EA8-B66E-49BA-B4A7-3BD49AF853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1087147-F7A2-47A8-B5FC-31B1925746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6399999999994</c:v>
                </c:pt>
                <c:pt idx="1">
                  <c:v>23.107299999999999</c:v>
                </c:pt>
                <c:pt idx="2">
                  <c:v>50.8294</c:v>
                </c:pt>
                <c:pt idx="3">
                  <c:v>31.597000000000001</c:v>
                </c:pt>
                <c:pt idx="4">
                  <c:v>29.059000000000001</c:v>
                </c:pt>
                <c:pt idx="5">
                  <c:v>39.901000000000003</c:v>
                </c:pt>
                <c:pt idx="6">
                  <c:v>30.6097</c:v>
                </c:pt>
                <c:pt idx="7">
                  <c:v>58.011600000000001</c:v>
                </c:pt>
              </c:numCache>
            </c:numRef>
          </c:xVal>
          <c:yVal>
            <c:numRef>
              <c:f>Sheet1!$B$2:$B$9</c:f>
              <c:numCache>
                <c:formatCode>General</c:formatCode>
                <c:ptCount val="8"/>
                <c:pt idx="0">
                  <c:v>2.028</c:v>
                </c:pt>
                <c:pt idx="1">
                  <c:v>0.68700000000000006</c:v>
                </c:pt>
                <c:pt idx="2">
                  <c:v>1.4590000000000001</c:v>
                </c:pt>
                <c:pt idx="3">
                  <c:v>0.93600000000000005</c:v>
                </c:pt>
                <c:pt idx="4">
                  <c:v>0.87</c:v>
                </c:pt>
                <c:pt idx="5">
                  <c:v>1.1839999999999999</c:v>
                </c:pt>
                <c:pt idx="6">
                  <c:v>0.90900000000000003</c:v>
                </c:pt>
                <c:pt idx="7">
                  <c:v>1.464</c:v>
                </c:pt>
              </c:numCache>
            </c:numRef>
          </c:yVal>
          <c:bubbleSize>
            <c:numRef>
              <c:f>Sheet1!$C$2:$C$9</c:f>
              <c:numCache>
                <c:formatCode>General</c:formatCode>
                <c:ptCount val="8"/>
                <c:pt idx="0">
                  <c:v>395087</c:v>
                </c:pt>
                <c:pt idx="1">
                  <c:v>216631</c:v>
                </c:pt>
                <c:pt idx="2">
                  <c:v>169872</c:v>
                </c:pt>
                <c:pt idx="3">
                  <c:v>95486</c:v>
                </c:pt>
                <c:pt idx="4">
                  <c:v>91042</c:v>
                </c:pt>
                <c:pt idx="5">
                  <c:v>73338</c:v>
                </c:pt>
                <c:pt idx="6">
                  <c:v>71290</c:v>
                </c:pt>
                <c:pt idx="7">
                  <c:v>699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Heidsieck &amp; Co Monopole</c:v>
                  </c:pt>
                  <c:pt idx="5">
                    <c:v>Ayala</c:v>
                  </c:pt>
                  <c:pt idx="6">
                    <c:v>De Bligny</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538A78-C3D1-443C-BBAA-1F8BAB7763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6D18EF-6268-4E6A-9B9C-B4BEAAEFEB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C23BA0-1324-4CCB-B2B2-D029C94E46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20ACC9-5784-44BC-B4B6-418A4FFC1A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BBE7BD-4D8E-4767-A739-529CA52FA4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A2C5B0-9DBA-4174-AAD3-3BB12ECDEA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F70EC4-D5E3-4623-9F17-7DD3A25A6D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4773AA-6B8F-442C-8563-77184161EE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15519999999998</c:v>
                </c:pt>
                <c:pt idx="1">
                  <c:v>162.75129999999999</c:v>
                </c:pt>
                <c:pt idx="2">
                  <c:v>91.686599999999999</c:v>
                </c:pt>
                <c:pt idx="3">
                  <c:v>37.590299999999999</c:v>
                </c:pt>
                <c:pt idx="4">
                  <c:v>219.04169999999999</c:v>
                </c:pt>
                <c:pt idx="5">
                  <c:v>64.075400000000002</c:v>
                </c:pt>
                <c:pt idx="6">
                  <c:v>270.6207</c:v>
                </c:pt>
                <c:pt idx="7">
                  <c:v>258.72730000000001</c:v>
                </c:pt>
              </c:numCache>
            </c:numRef>
          </c:xVal>
          <c:yVal>
            <c:numRef>
              <c:f>Sheet1!$B$2:$B$9</c:f>
              <c:numCache>
                <c:formatCode>General</c:formatCode>
                <c:ptCount val="8"/>
                <c:pt idx="0">
                  <c:v>2.0579999999999998</c:v>
                </c:pt>
                <c:pt idx="1">
                  <c:v>1.212</c:v>
                </c:pt>
                <c:pt idx="2">
                  <c:v>0.72299999999999998</c:v>
                </c:pt>
                <c:pt idx="3">
                  <c:v>0.30299999999999999</c:v>
                </c:pt>
                <c:pt idx="4">
                  <c:v>1.633</c:v>
                </c:pt>
                <c:pt idx="5">
                  <c:v>0.49199999999999999</c:v>
                </c:pt>
                <c:pt idx="6">
                  <c:v>1.901</c:v>
                </c:pt>
                <c:pt idx="7">
                  <c:v>1.5669999999999999</c:v>
                </c:pt>
              </c:numCache>
            </c:numRef>
          </c:yVal>
          <c:bubbleSize>
            <c:numRef>
              <c:f>Sheet1!$C$2:$C$9</c:f>
              <c:numCache>
                <c:formatCode>General</c:formatCode>
                <c:ptCount val="8"/>
                <c:pt idx="0">
                  <c:v>182460</c:v>
                </c:pt>
                <c:pt idx="1">
                  <c:v>94233</c:v>
                </c:pt>
                <c:pt idx="2">
                  <c:v>67298</c:v>
                </c:pt>
                <c:pt idx="3">
                  <c:v>37064</c:v>
                </c:pt>
                <c:pt idx="4">
                  <c:v>21028</c:v>
                </c:pt>
                <c:pt idx="5">
                  <c:v>12751</c:v>
                </c:pt>
                <c:pt idx="6">
                  <c:v>7848</c:v>
                </c:pt>
                <c:pt idx="7">
                  <c:v>5692</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iper Heidsieck</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29AEFEE-16C9-427B-A947-2F331364A2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AE60BC5-B9BF-46F4-846C-DCD7F9C955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ACFBD8E-A5E5-4359-B4E3-4F37230897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15AD283-F8D8-4C08-846E-971EAE7A6B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9A85D69-A6C2-42FD-87F4-E8E86BDED3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AACEA80-C84C-490A-982E-926D6AFC67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FD25AC9-96AE-48B3-86F5-883E87D3A8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551235B-DE92-4ADC-8309-6B58D51B9D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888499999999993</c:v>
                </c:pt>
                <c:pt idx="1">
                  <c:v>52.964500000000001</c:v>
                </c:pt>
                <c:pt idx="2">
                  <c:v>37.2455</c:v>
                </c:pt>
                <c:pt idx="3">
                  <c:v>26.510400000000001</c:v>
                </c:pt>
                <c:pt idx="4">
                  <c:v>81.043800000000005</c:v>
                </c:pt>
                <c:pt idx="5">
                  <c:v>37.565300000000001</c:v>
                </c:pt>
                <c:pt idx="6">
                  <c:v>41.234299999999998</c:v>
                </c:pt>
                <c:pt idx="7">
                  <c:v>36.067500000000003</c:v>
                </c:pt>
              </c:numCache>
            </c:numRef>
          </c:xVal>
          <c:yVal>
            <c:numRef>
              <c:f>Sheet1!$B$2:$B$9</c:f>
              <c:numCache>
                <c:formatCode>General</c:formatCode>
                <c:ptCount val="8"/>
                <c:pt idx="0">
                  <c:v>1.76</c:v>
                </c:pt>
                <c:pt idx="1">
                  <c:v>1.1359999999999999</c:v>
                </c:pt>
                <c:pt idx="2">
                  <c:v>0.71299999999999997</c:v>
                </c:pt>
                <c:pt idx="3">
                  <c:v>0.54100000000000004</c:v>
                </c:pt>
                <c:pt idx="4">
                  <c:v>1.5469999999999999</c:v>
                </c:pt>
                <c:pt idx="5">
                  <c:v>0.72099999999999997</c:v>
                </c:pt>
                <c:pt idx="6">
                  <c:v>0.93400000000000005</c:v>
                </c:pt>
                <c:pt idx="7">
                  <c:v>0.69499999999999995</c:v>
                </c:pt>
              </c:numCache>
            </c:numRef>
          </c:yVal>
          <c:bubbleSize>
            <c:numRef>
              <c:f>Sheet1!$C$2:$C$9</c:f>
              <c:numCache>
                <c:formatCode>General</c:formatCode>
                <c:ptCount val="8"/>
                <c:pt idx="0">
                  <c:v>262577</c:v>
                </c:pt>
                <c:pt idx="1">
                  <c:v>125314</c:v>
                </c:pt>
                <c:pt idx="2">
                  <c:v>109390</c:v>
                </c:pt>
                <c:pt idx="3">
                  <c:v>95729</c:v>
                </c:pt>
                <c:pt idx="4">
                  <c:v>68401</c:v>
                </c:pt>
                <c:pt idx="5">
                  <c:v>42261</c:v>
                </c:pt>
                <c:pt idx="6">
                  <c:v>40657</c:v>
                </c:pt>
                <c:pt idx="7">
                  <c:v>37943</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51CF1CF-0CA2-4D75-BBA9-AA9A09A727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849E6B4C-6A09-43C0-9837-A4B8E31D4B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46042C60-FACE-4BE1-A584-3A341FA78D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F3BF1CC7-F5DA-4F30-AA80-26A6ED755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F78B87B-E792-48F2-B169-C61C8B48BF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AE892703-8999-4B3C-9993-522C35AB85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857FC27-451B-434A-992E-D061BC51D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FD698A4C-7C05-400A-9522-E2D605CE4F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45100000000001</c:v>
                </c:pt>
              </c:numCache>
            </c:numRef>
          </c:xVal>
          <c:yVal>
            <c:numRef>
              <c:f>Sheet1!$B$2:$B$2</c:f>
              <c:numCache>
                <c:formatCode>General</c:formatCode>
                <c:ptCount val="1"/>
                <c:pt idx="0">
                  <c:v>0.98799999999999999</c:v>
                </c:pt>
              </c:numCache>
            </c:numRef>
          </c:yVal>
          <c:bubbleSize>
            <c:numRef>
              <c:f>Sheet1!$C$2:$C$2</c:f>
              <c:numCache>
                <c:formatCode>General</c:formatCode>
                <c:ptCount val="1"/>
                <c:pt idx="0">
                  <c:v>115254</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6B1D95BE-B136-49FE-BAED-8831EE6BAD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C1CA7605-436B-4E17-8B49-895CA99A3F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B8EA8565-477A-4109-AD75-8BC54DB6A0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0212CC7B-D5EB-41DC-8191-5CCDAD9691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2247B5F9-D20A-43F4-AFD8-21BCE837C7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35EAB27A-3A4E-45DD-A398-4D805FABD4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229674E-929A-45E2-A76C-F5C9B84A26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100C3E56-A420-424D-B50A-7EF1A0DD25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98</c:v>
                </c:pt>
                <c:pt idx="1">
                  <c:v>9.0983000000000001</c:v>
                </c:pt>
                <c:pt idx="2">
                  <c:v>11.728</c:v>
                </c:pt>
              </c:numCache>
            </c:numRef>
          </c:xVal>
          <c:yVal>
            <c:numRef>
              <c:f>Sheet1!$B$2:$B$4</c:f>
              <c:numCache>
                <c:formatCode>General</c:formatCode>
                <c:ptCount val="3"/>
                <c:pt idx="0">
                  <c:v>1.2749999999999999</c:v>
                </c:pt>
                <c:pt idx="1">
                  <c:v>1.022</c:v>
                </c:pt>
                <c:pt idx="2">
                  <c:v>1.083</c:v>
                </c:pt>
              </c:numCache>
            </c:numRef>
          </c:yVal>
          <c:bubbleSize>
            <c:numRef>
              <c:f>Sheet1!$C$2:$C$4</c:f>
              <c:numCache>
                <c:formatCode>General</c:formatCode>
                <c:ptCount val="3"/>
                <c:pt idx="0">
                  <c:v>108729</c:v>
                </c:pt>
                <c:pt idx="1">
                  <c:v>55136</c:v>
                </c:pt>
                <c:pt idx="2">
                  <c:v>17287</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3D5347-8E2C-49A5-93EA-59DA4D3433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E6BD83-A074-4AF6-93E1-B47360AF17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295745-55FB-49B5-82EB-9EE430769B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BC6776F-B367-4453-9F84-FED57A0F69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6FBCF68-154A-4FBC-97B2-81769ACF59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5289987-7CED-4BDA-BA0E-3CEB7A2A8B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476921-CB9C-46BA-A2B0-9B851D8B8B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01028C-3A7D-4DEF-BF52-8D016F7ABF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576</c:v>
                </c:pt>
                <c:pt idx="1">
                  <c:v>11.374499999999999</c:v>
                </c:pt>
                <c:pt idx="2">
                  <c:v>13.245200000000001</c:v>
                </c:pt>
              </c:numCache>
            </c:numRef>
          </c:xVal>
          <c:yVal>
            <c:numRef>
              <c:f>Sheet1!$B$2:$B$4</c:f>
              <c:numCache>
                <c:formatCode>General</c:formatCode>
                <c:ptCount val="3"/>
                <c:pt idx="0">
                  <c:v>0.97899999999999998</c:v>
                </c:pt>
                <c:pt idx="1">
                  <c:v>0.99399999999999999</c:v>
                </c:pt>
                <c:pt idx="2">
                  <c:v>1.159</c:v>
                </c:pt>
              </c:numCache>
            </c:numRef>
          </c:yVal>
          <c:bubbleSize>
            <c:numRef>
              <c:f>Sheet1!$C$2:$C$4</c:f>
              <c:numCache>
                <c:formatCode>General</c:formatCode>
                <c:ptCount val="3"/>
                <c:pt idx="0">
                  <c:v>61739</c:v>
                </c:pt>
                <c:pt idx="1">
                  <c:v>55678</c:v>
                </c:pt>
                <c:pt idx="2">
                  <c:v>28093</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3B5C891-0D68-4A5E-BE05-E1C29A68D1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75927E05-A947-4765-BE23-DCC84E04B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938686BA-A9AD-487E-B2C5-CECB4A0B30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72CAAFA4-ADA5-4827-978E-E2777AA8A5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4A9C1B99-A93E-4CF0-9FF1-41EEB51E28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9725000D-DA5F-4BDC-8844-3228D7B80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E90208A-48E7-4221-A457-572B2D702B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E713092F-1345-4C1C-8E23-AA92C8ECF7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01599999999998</c:v>
                </c:pt>
              </c:numCache>
            </c:numRef>
          </c:xVal>
          <c:yVal>
            <c:numRef>
              <c:f>Sheet1!$B$2:$B$2</c:f>
              <c:numCache>
                <c:formatCode>General</c:formatCode>
                <c:ptCount val="1"/>
                <c:pt idx="0">
                  <c:v>1.0229999999999999</c:v>
                </c:pt>
              </c:numCache>
            </c:numRef>
          </c:yVal>
          <c:bubbleSize>
            <c:numRef>
              <c:f>Sheet1!$C$2:$C$2</c:f>
              <c:numCache>
                <c:formatCode>General</c:formatCode>
                <c:ptCount val="1"/>
                <c:pt idx="0">
                  <c:v>740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5A441E5-00E5-441B-9EF2-E07BD8929E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919906A-0CD0-47F8-84B0-A11F7EADD3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653724E-7E6C-4E27-B999-61B1D078E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FE4AF076-5C78-4B57-AC46-3F52117225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B9DCA26F-75DF-4F60-B91B-0A6C79590B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AA45452-1093-4DBA-921C-3F25F7B987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B6F6653-64E7-42E9-840F-1944564F3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6178ED1-E4B8-4E39-A561-0BA6F622A4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11</c:v>
                </c:pt>
                <c:pt idx="1">
                  <c:v>9.48</c:v>
                </c:pt>
              </c:numCache>
            </c:numRef>
          </c:xVal>
          <c:yVal>
            <c:numRef>
              <c:f>Sheet1!$B$2:$B$3</c:f>
              <c:numCache>
                <c:formatCode>General</c:formatCode>
                <c:ptCount val="2"/>
                <c:pt idx="0">
                  <c:v>1.0289999999999999</c:v>
                </c:pt>
                <c:pt idx="1">
                  <c:v>0.84799999999999998</c:v>
                </c:pt>
              </c:numCache>
            </c:numRef>
          </c:yVal>
          <c:bubbleSize>
            <c:numRef>
              <c:f>Sheet1!$C$2:$C$3</c:f>
              <c:numCache>
                <c:formatCode>General</c:formatCode>
                <c:ptCount val="2"/>
                <c:pt idx="0">
                  <c:v>13303</c:v>
                </c:pt>
                <c:pt idx="1">
                  <c:v>2607</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245606-281B-4C72-B3A9-4288730B76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37A03C-6E15-48A8-805F-C5998626C3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4FED5C-D487-4735-A75D-A96EF6E632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CDC39E-87ED-4051-99B7-32E01B152E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BB0079-2FFA-4CDB-A08D-4EBF472A35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DE5EAB-A822-4B63-9562-AFE15E8FBA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CBC5360-0A92-4116-9261-0EB85639DD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EDDF2D-91EF-4B02-9490-2D7FF36D3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828900000000004</c:v>
                </c:pt>
                <c:pt idx="1">
                  <c:v>39.487299999999998</c:v>
                </c:pt>
                <c:pt idx="2">
                  <c:v>35.456499999999998</c:v>
                </c:pt>
                <c:pt idx="3">
                  <c:v>47.334800000000001</c:v>
                </c:pt>
                <c:pt idx="4">
                  <c:v>54.0471</c:v>
                </c:pt>
                <c:pt idx="5">
                  <c:v>58.458399999999997</c:v>
                </c:pt>
                <c:pt idx="6">
                  <c:v>273.92469999999997</c:v>
                </c:pt>
                <c:pt idx="7">
                  <c:v>266.5926</c:v>
                </c:pt>
              </c:numCache>
            </c:numRef>
          </c:xVal>
          <c:yVal>
            <c:numRef>
              <c:f>Sheet1!$B$2:$B$9</c:f>
              <c:numCache>
                <c:formatCode>General</c:formatCode>
                <c:ptCount val="8"/>
                <c:pt idx="0">
                  <c:v>1.2370000000000001</c:v>
                </c:pt>
                <c:pt idx="1">
                  <c:v>0.53</c:v>
                </c:pt>
                <c:pt idx="2">
                  <c:v>0.44900000000000001</c:v>
                </c:pt>
                <c:pt idx="3">
                  <c:v>0.59299999999999997</c:v>
                </c:pt>
                <c:pt idx="4">
                  <c:v>0.67200000000000004</c:v>
                </c:pt>
                <c:pt idx="5">
                  <c:v>0.79500000000000004</c:v>
                </c:pt>
                <c:pt idx="6">
                  <c:v>3.0190000000000001</c:v>
                </c:pt>
                <c:pt idx="7">
                  <c:v>2.625</c:v>
                </c:pt>
              </c:numCache>
            </c:numRef>
          </c:yVal>
          <c:bubbleSize>
            <c:numRef>
              <c:f>Sheet1!$C$2:$C$9</c:f>
              <c:numCache>
                <c:formatCode>General</c:formatCode>
                <c:ptCount val="8"/>
                <c:pt idx="0">
                  <c:v>649486</c:v>
                </c:pt>
                <c:pt idx="1">
                  <c:v>48214</c:v>
                </c:pt>
                <c:pt idx="2">
                  <c:v>45668</c:v>
                </c:pt>
                <c:pt idx="3">
                  <c:v>32235</c:v>
                </c:pt>
                <c:pt idx="4">
                  <c:v>32158</c:v>
                </c:pt>
                <c:pt idx="5">
                  <c:v>31626</c:v>
                </c:pt>
                <c:pt idx="6">
                  <c:v>25475</c:v>
                </c:pt>
                <c:pt idx="7">
                  <c:v>215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Henriot</c:v>
                  </c:pt>
                  <c:pt idx="4">
                    <c:v>Delamotte</c:v>
                  </c:pt>
                  <c:pt idx="5">
                    <c:v>Besserat De Bellefon</c:v>
                  </c:pt>
                  <c:pt idx="6">
                    <c:v>Taittinger</c:v>
                  </c:pt>
                  <c:pt idx="7">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0F93117-86C6-4560-A1E3-48106DB98C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807E810-4230-40B0-95B2-227BADD97C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C2DDFB4-7C6C-4EB8-B268-20F2001E1F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A671A85-A657-440C-A08E-238973D001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77D01B2-160C-4841-96BB-05C0AB9A05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82196A4-B6CE-4A9F-8631-E238273A33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FB3F78F-07B7-483B-8B83-6AF6FB2024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AF12C72-50F6-4B5D-86A4-EB11114C8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624000000000002</c:v>
                </c:pt>
                <c:pt idx="1">
                  <c:v>22.2852</c:v>
                </c:pt>
                <c:pt idx="2">
                  <c:v>48.426400000000001</c:v>
                </c:pt>
                <c:pt idx="3">
                  <c:v>48.895400000000002</c:v>
                </c:pt>
                <c:pt idx="4">
                  <c:v>51.158700000000003</c:v>
                </c:pt>
                <c:pt idx="5">
                  <c:v>65.263099999999994</c:v>
                </c:pt>
                <c:pt idx="6">
                  <c:v>37.579000000000001</c:v>
                </c:pt>
                <c:pt idx="7">
                  <c:v>29.287099999999999</c:v>
                </c:pt>
              </c:numCache>
            </c:numRef>
          </c:xVal>
          <c:yVal>
            <c:numRef>
              <c:f>Sheet1!$B$2:$B$9</c:f>
              <c:numCache>
                <c:formatCode>General</c:formatCode>
                <c:ptCount val="8"/>
                <c:pt idx="0">
                  <c:v>1.4039999999999999</c:v>
                </c:pt>
                <c:pt idx="1">
                  <c:v>0.54900000000000004</c:v>
                </c:pt>
                <c:pt idx="2">
                  <c:v>1.1619999999999999</c:v>
                </c:pt>
                <c:pt idx="3">
                  <c:v>1.075</c:v>
                </c:pt>
                <c:pt idx="4">
                  <c:v>1.135</c:v>
                </c:pt>
                <c:pt idx="5">
                  <c:v>1.486</c:v>
                </c:pt>
                <c:pt idx="6">
                  <c:v>0.92600000000000005</c:v>
                </c:pt>
                <c:pt idx="7">
                  <c:v>0.72099999999999997</c:v>
                </c:pt>
              </c:numCache>
            </c:numRef>
          </c:yVal>
          <c:bubbleSize>
            <c:numRef>
              <c:f>Sheet1!$C$2:$C$9</c:f>
              <c:numCache>
                <c:formatCode>General</c:formatCode>
                <c:ptCount val="8"/>
                <c:pt idx="0">
                  <c:v>1009342</c:v>
                </c:pt>
                <c:pt idx="1">
                  <c:v>510510</c:v>
                </c:pt>
                <c:pt idx="2">
                  <c:v>492690</c:v>
                </c:pt>
                <c:pt idx="3">
                  <c:v>389207</c:v>
                </c:pt>
                <c:pt idx="4">
                  <c:v>213690</c:v>
                </c:pt>
                <c:pt idx="5">
                  <c:v>205122</c:v>
                </c:pt>
                <c:pt idx="6">
                  <c:v>198718</c:v>
                </c:pt>
                <c:pt idx="7">
                  <c:v>19484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Taittinger</c:v>
                  </c:pt>
                  <c:pt idx="5">
                    <c:v>Bollinger</c:v>
                  </c:pt>
                  <c:pt idx="6">
                    <c:v>Ayala</c:v>
                  </c:pt>
                  <c:pt idx="7">
                    <c:v>Heidsieck &amp; Co Monopol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D17A5E5-FFE8-4247-8077-814CBCE8C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25C05B4-2BEE-4652-A122-43EC0B228F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BB4DA34-A59C-4729-941F-31188CBE54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FCC2E56-0C7F-4684-8861-9731769E7B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C4E28F0-ECA3-4CB0-8941-45411DFE6F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9E4B4869-D80C-48A7-B9BD-31E6DE4EE8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AB889E6-9636-45F0-9E40-47EAC3F411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8297922-4D01-41AA-8E5B-B4706958A1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729199999999999</c:v>
                </c:pt>
                <c:pt idx="1">
                  <c:v>30.648199999999999</c:v>
                </c:pt>
                <c:pt idx="2">
                  <c:v>31.512</c:v>
                </c:pt>
                <c:pt idx="3">
                  <c:v>35.926099999999998</c:v>
                </c:pt>
              </c:numCache>
            </c:numRef>
          </c:xVal>
          <c:yVal>
            <c:numRef>
              <c:f>Sheet1!$B$2:$B$5</c:f>
              <c:numCache>
                <c:formatCode>General</c:formatCode>
                <c:ptCount val="4"/>
                <c:pt idx="0">
                  <c:v>0.98499999999999999</c:v>
                </c:pt>
                <c:pt idx="1">
                  <c:v>1.0129999999999999</c:v>
                </c:pt>
                <c:pt idx="2">
                  <c:v>1.044</c:v>
                </c:pt>
                <c:pt idx="3">
                  <c:v>1.0720000000000001</c:v>
                </c:pt>
              </c:numCache>
            </c:numRef>
          </c:yVal>
          <c:bubbleSize>
            <c:numRef>
              <c:f>Sheet1!$C$2:$C$5</c:f>
              <c:numCache>
                <c:formatCode>General</c:formatCode>
                <c:ptCount val="4"/>
                <c:pt idx="0">
                  <c:v>224277</c:v>
                </c:pt>
                <c:pt idx="1">
                  <c:v>77540</c:v>
                </c:pt>
                <c:pt idx="2">
                  <c:v>41974</c:v>
                </c:pt>
                <c:pt idx="3">
                  <c:v>7293</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EC0742-437E-42BE-99C1-A4CED15AFF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953635-BBE4-4184-9E57-CB9EFDF0E3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1E620C-95FE-4C4B-8ADE-01BC4827C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D6A401-3D52-4DAC-BB52-29948D493E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C9098BF-9498-4DFF-8252-30B4FEBCFB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650E6D-904F-4A4A-8ED2-E3D29719F6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4B36100-6FE4-409F-B694-F158960238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2A5304-1C97-4E13-8C90-B78FA0E8E4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2499999999997</c:v>
                </c:pt>
                <c:pt idx="1">
                  <c:v>23.236599999999999</c:v>
                </c:pt>
                <c:pt idx="2">
                  <c:v>52.527299999999997</c:v>
                </c:pt>
                <c:pt idx="3">
                  <c:v>32.034199999999998</c:v>
                </c:pt>
                <c:pt idx="4">
                  <c:v>17.333100000000002</c:v>
                </c:pt>
                <c:pt idx="5">
                  <c:v>55.900500000000001</c:v>
                </c:pt>
                <c:pt idx="6">
                  <c:v>70.223500000000001</c:v>
                </c:pt>
                <c:pt idx="7">
                  <c:v>34.026000000000003</c:v>
                </c:pt>
              </c:numCache>
            </c:numRef>
          </c:xVal>
          <c:yVal>
            <c:numRef>
              <c:f>Sheet1!$B$2:$B$9</c:f>
              <c:numCache>
                <c:formatCode>General</c:formatCode>
                <c:ptCount val="8"/>
                <c:pt idx="0">
                  <c:v>2.1949999999999998</c:v>
                </c:pt>
                <c:pt idx="1">
                  <c:v>0.752</c:v>
                </c:pt>
                <c:pt idx="2">
                  <c:v>1.6419999999999999</c:v>
                </c:pt>
                <c:pt idx="3">
                  <c:v>1.034</c:v>
                </c:pt>
                <c:pt idx="4">
                  <c:v>0.59699999999999998</c:v>
                </c:pt>
                <c:pt idx="5">
                  <c:v>1.546</c:v>
                </c:pt>
                <c:pt idx="6">
                  <c:v>2.08</c:v>
                </c:pt>
                <c:pt idx="7">
                  <c:v>1.0980000000000001</c:v>
                </c:pt>
              </c:numCache>
            </c:numRef>
          </c:yVal>
          <c:bubbleSize>
            <c:numRef>
              <c:f>Sheet1!$C$2:$C$9</c:f>
              <c:numCache>
                <c:formatCode>General</c:formatCode>
                <c:ptCount val="8"/>
                <c:pt idx="0">
                  <c:v>300199</c:v>
                </c:pt>
                <c:pt idx="1">
                  <c:v>152037</c:v>
                </c:pt>
                <c:pt idx="2">
                  <c:v>101798</c:v>
                </c:pt>
                <c:pt idx="3">
                  <c:v>71244</c:v>
                </c:pt>
                <c:pt idx="4">
                  <c:v>68483</c:v>
                </c:pt>
                <c:pt idx="5">
                  <c:v>66298</c:v>
                </c:pt>
                <c:pt idx="6">
                  <c:v>50280</c:v>
                </c:pt>
                <c:pt idx="7">
                  <c:v>496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Mure</c:v>
                  </c:pt>
                  <c:pt idx="5">
                    <c:v>Laurent Perrier</c:v>
                  </c:pt>
                  <c:pt idx="6">
                    <c:v>Bollinger</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162DE55-1FE5-463E-8522-72BFA23707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E3E1DC51-7876-4403-9592-2B627A5903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A8C39EF-AEE7-436E-9F57-4267414BB6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D750741C-34B2-4164-BC2D-2E2DE97BFE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CF13F344-5ACA-4837-B672-D5F7235F70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FADCFC4A-2ACC-4A3B-9573-415E51A144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62D40002-B881-4224-9A4D-8D06A39F70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449B54A1-18BD-47D0-8E77-92DF99BC10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551100000000002</c:v>
                </c:pt>
                <c:pt idx="1">
                  <c:v>43.418399999999998</c:v>
                </c:pt>
                <c:pt idx="2">
                  <c:v>39.845399999999998</c:v>
                </c:pt>
              </c:numCache>
            </c:numRef>
          </c:xVal>
          <c:yVal>
            <c:numRef>
              <c:f>Sheet1!$B$2:$B$4</c:f>
              <c:numCache>
                <c:formatCode>General</c:formatCode>
                <c:ptCount val="3"/>
                <c:pt idx="0">
                  <c:v>0.93600000000000005</c:v>
                </c:pt>
                <c:pt idx="1">
                  <c:v>1.2929999999999999</c:v>
                </c:pt>
                <c:pt idx="2">
                  <c:v>1.0620000000000001</c:v>
                </c:pt>
              </c:numCache>
            </c:numRef>
          </c:yVal>
          <c:bubbleSize>
            <c:numRef>
              <c:f>Sheet1!$C$2:$C$4</c:f>
              <c:numCache>
                <c:formatCode>General</c:formatCode>
                <c:ptCount val="3"/>
                <c:pt idx="0">
                  <c:v>218807</c:v>
                </c:pt>
                <c:pt idx="1">
                  <c:v>63304</c:v>
                </c:pt>
                <c:pt idx="2">
                  <c:v>3865</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B8C4EB-A47C-4F5D-8E0C-8C2D849631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D0B31C-7B35-4948-AEEC-5300C0D611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A19DAE-9467-4910-A8B0-B03B30349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E62E96-89F4-4C46-93D6-74BA68A29E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A0145C-D0D6-4EC8-8518-B068C78FDE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6D6953-3EE9-416F-BA4E-4F95B12162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C3A440-59A5-4504-9A19-826BCDE90C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EBC6E7-B238-4932-81AE-846856940F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8.45940000000002</c:v>
                </c:pt>
                <c:pt idx="1">
                  <c:v>197.8586</c:v>
                </c:pt>
                <c:pt idx="2">
                  <c:v>95.672200000000004</c:v>
                </c:pt>
                <c:pt idx="3">
                  <c:v>37.631700000000002</c:v>
                </c:pt>
                <c:pt idx="4">
                  <c:v>242.32650000000001</c:v>
                </c:pt>
                <c:pt idx="5">
                  <c:v>269.16219999999998</c:v>
                </c:pt>
                <c:pt idx="6">
                  <c:v>65.087000000000003</c:v>
                </c:pt>
                <c:pt idx="7">
                  <c:v>423.70589999999999</c:v>
                </c:pt>
              </c:numCache>
            </c:numRef>
          </c:xVal>
          <c:yVal>
            <c:numRef>
              <c:f>Sheet1!$B$2:$B$9</c:f>
              <c:numCache>
                <c:formatCode>General</c:formatCode>
                <c:ptCount val="8"/>
                <c:pt idx="0">
                  <c:v>1.72</c:v>
                </c:pt>
                <c:pt idx="1">
                  <c:v>1.2070000000000001</c:v>
                </c:pt>
                <c:pt idx="2">
                  <c:v>0.58399999999999996</c:v>
                </c:pt>
                <c:pt idx="3">
                  <c:v>0.25</c:v>
                </c:pt>
                <c:pt idx="4">
                  <c:v>1.381</c:v>
                </c:pt>
                <c:pt idx="5">
                  <c:v>1.51</c:v>
                </c:pt>
                <c:pt idx="6">
                  <c:v>0.40699999999999997</c:v>
                </c:pt>
                <c:pt idx="7">
                  <c:v>1.5009999999999999</c:v>
                </c:pt>
              </c:numCache>
            </c:numRef>
          </c:yVal>
          <c:bubbleSize>
            <c:numRef>
              <c:f>Sheet1!$C$2:$C$9</c:f>
              <c:numCache>
                <c:formatCode>General</c:formatCode>
                <c:ptCount val="8"/>
                <c:pt idx="0">
                  <c:v>175304</c:v>
                </c:pt>
                <c:pt idx="1">
                  <c:v>113373</c:v>
                </c:pt>
                <c:pt idx="2">
                  <c:v>28606</c:v>
                </c:pt>
                <c:pt idx="3">
                  <c:v>23294</c:v>
                </c:pt>
                <c:pt idx="4">
                  <c:v>11874</c:v>
                </c:pt>
                <c:pt idx="5">
                  <c:v>9959</c:v>
                </c:pt>
                <c:pt idx="6">
                  <c:v>7485</c:v>
                </c:pt>
                <c:pt idx="7">
                  <c:v>7203</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Perrier Jouet</c:v>
                  </c:pt>
                  <c:pt idx="6">
                    <c:v>Laurent Perrier</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8"/>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938ECD9-8C8A-424D-87D5-F39B3169F7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99A55D3-2EDD-450A-BCDB-24EE848121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E1EBF10-D71F-40DF-8628-8F04C95249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183DDBA-5BB7-4784-9526-E861825A11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5965DF5-C67E-4563-8451-77F6BE6E28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ABF3AAB-2669-408B-8ABA-A128C06C03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ADB8AAC-78C9-41D9-8561-A05601341A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8C02214-478A-46D6-B2B2-BCE5325B1D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24999999999997</c:v>
                </c:pt>
                <c:pt idx="1">
                  <c:v>52.019799999999996</c:v>
                </c:pt>
                <c:pt idx="2">
                  <c:v>81.850300000000004</c:v>
                </c:pt>
                <c:pt idx="3">
                  <c:v>26.938700000000001</c:v>
                </c:pt>
                <c:pt idx="4">
                  <c:v>37.7181</c:v>
                </c:pt>
                <c:pt idx="5">
                  <c:v>37.875</c:v>
                </c:pt>
                <c:pt idx="6">
                  <c:v>41.338900000000002</c:v>
                </c:pt>
                <c:pt idx="7">
                  <c:v>51.2316</c:v>
                </c:pt>
              </c:numCache>
            </c:numRef>
          </c:xVal>
          <c:yVal>
            <c:numRef>
              <c:f>Sheet1!$B$2:$B$9</c:f>
              <c:numCache>
                <c:formatCode>General</c:formatCode>
                <c:ptCount val="8"/>
                <c:pt idx="0">
                  <c:v>1.6140000000000001</c:v>
                </c:pt>
                <c:pt idx="1">
                  <c:v>1.0329999999999999</c:v>
                </c:pt>
                <c:pt idx="2">
                  <c:v>1.4019999999999999</c:v>
                </c:pt>
                <c:pt idx="3">
                  <c:v>0.50600000000000001</c:v>
                </c:pt>
                <c:pt idx="4">
                  <c:v>0.64400000000000002</c:v>
                </c:pt>
                <c:pt idx="5">
                  <c:v>0.65300000000000002</c:v>
                </c:pt>
                <c:pt idx="6">
                  <c:v>0.85399999999999998</c:v>
                </c:pt>
                <c:pt idx="7">
                  <c:v>0.872</c:v>
                </c:pt>
              </c:numCache>
            </c:numRef>
          </c:yVal>
          <c:bubbleSize>
            <c:numRef>
              <c:f>Sheet1!$C$2:$C$9</c:f>
              <c:numCache>
                <c:formatCode>General</c:formatCode>
                <c:ptCount val="8"/>
                <c:pt idx="0">
                  <c:v>140703</c:v>
                </c:pt>
                <c:pt idx="1">
                  <c:v>71007</c:v>
                </c:pt>
                <c:pt idx="2">
                  <c:v>68345</c:v>
                </c:pt>
                <c:pt idx="3">
                  <c:v>42644</c:v>
                </c:pt>
                <c:pt idx="4">
                  <c:v>33720</c:v>
                </c:pt>
                <c:pt idx="5">
                  <c:v>32724</c:v>
                </c:pt>
                <c:pt idx="6">
                  <c:v>19884</c:v>
                </c:pt>
                <c:pt idx="7">
                  <c:v>18136</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Nicolas Feuillatte</c:v>
                  </c:pt>
                  <c:pt idx="5">
                    <c:v>Demoiselle</c:v>
                  </c:pt>
                  <c:pt idx="6">
                    <c:v>Besserat De Bellefon</c:v>
                  </c:pt>
                  <c:pt idx="7">
                    <c:v>Pommer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3BB6057-CE30-4B9C-BF7A-B4C555D73F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4E7060AC-A3D7-44D7-B700-876E2CA1CB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790851DF-0128-4793-B031-5887A19114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6A5A8BF7-3FB8-451D-95EC-061073F797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EA119E5-DAEE-4192-9886-335DC16192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0E73CE02-F2F2-48F4-A4C7-80C5952430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3D6DB2E-8905-4AB2-AC60-9D99743A26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C5AB94B-AE50-49D8-A191-C51192A3E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021599999999999</c:v>
                </c:pt>
              </c:numCache>
            </c:numRef>
          </c:xVal>
          <c:yVal>
            <c:numRef>
              <c:f>Sheet1!$B$2:$B$2</c:f>
              <c:numCache>
                <c:formatCode>General</c:formatCode>
                <c:ptCount val="1"/>
                <c:pt idx="0">
                  <c:v>1</c:v>
                </c:pt>
              </c:numCache>
            </c:numRef>
          </c:yVal>
          <c:bubbleSize>
            <c:numRef>
              <c:f>Sheet1!$C$2:$C$2</c:f>
              <c:numCache>
                <c:formatCode>General</c:formatCode>
                <c:ptCount val="1"/>
                <c:pt idx="0">
                  <c:v>56722</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D0BCB04-EB7E-4F02-AA52-252B05046E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664985B5-1904-4262-9CAB-2431F097AE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D830EB1C-CD4C-4E35-86F2-22ACE73DB5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FCA995F9-A75F-4DEF-B81B-64B002940D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F11F4E9B-7D90-4FCC-BC76-677BD1310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1BA308DB-3B3C-4A29-9110-75BDF4AD0B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7DC2F271-6984-48C5-B853-950DF5F143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92ECB3B3-869C-4C66-8124-8AE70D25A8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25599999999999</c:v>
                </c:pt>
                <c:pt idx="1">
                  <c:v>9.1058000000000003</c:v>
                </c:pt>
                <c:pt idx="2">
                  <c:v>11.3514</c:v>
                </c:pt>
              </c:numCache>
            </c:numRef>
          </c:xVal>
          <c:yVal>
            <c:numRef>
              <c:f>Sheet1!$B$2:$B$4</c:f>
              <c:numCache>
                <c:formatCode>General</c:formatCode>
                <c:ptCount val="3"/>
                <c:pt idx="0">
                  <c:v>1.256</c:v>
                </c:pt>
                <c:pt idx="1">
                  <c:v>1.002</c:v>
                </c:pt>
                <c:pt idx="2">
                  <c:v>1.0620000000000001</c:v>
                </c:pt>
              </c:numCache>
            </c:numRef>
          </c:yVal>
          <c:bubbleSize>
            <c:numRef>
              <c:f>Sheet1!$C$2:$C$4</c:f>
              <c:numCache>
                <c:formatCode>General</c:formatCode>
                <c:ptCount val="3"/>
                <c:pt idx="0">
                  <c:v>75203</c:v>
                </c:pt>
                <c:pt idx="1">
                  <c:v>40348</c:v>
                </c:pt>
                <c:pt idx="2">
                  <c:v>9206</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CC9E01-1017-4C0C-AB96-C3BEEEBD55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B615FF-4BF9-4113-818F-676975BEE2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EC607B-D743-4554-83E1-744BBFC6C0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51E2264-52EB-486D-A12C-A3B3B3C978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C9CAB84-12E0-46D3-9C1B-556275D399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2ECCFDF-CE8C-483A-BBDD-076E8FD85F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1DE0753-F786-42E7-B2F6-2462B336CF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ED4B3E6-F6DB-4B07-9E63-455C17CB13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099999999999</c:v>
                </c:pt>
                <c:pt idx="1">
                  <c:v>11.7385</c:v>
                </c:pt>
                <c:pt idx="2">
                  <c:v>13.419700000000001</c:v>
                </c:pt>
              </c:numCache>
            </c:numRef>
          </c:xVal>
          <c:yVal>
            <c:numRef>
              <c:f>Sheet1!$B$2:$B$4</c:f>
              <c:numCache>
                <c:formatCode>General</c:formatCode>
                <c:ptCount val="3"/>
                <c:pt idx="0">
                  <c:v>0.94699999999999995</c:v>
                </c:pt>
                <c:pt idx="1">
                  <c:v>0.93799999999999994</c:v>
                </c:pt>
                <c:pt idx="2">
                  <c:v>1.1200000000000001</c:v>
                </c:pt>
              </c:numCache>
            </c:numRef>
          </c:yVal>
          <c:bubbleSize>
            <c:numRef>
              <c:f>Sheet1!$C$2:$C$4</c:f>
              <c:numCache>
                <c:formatCode>General</c:formatCode>
                <c:ptCount val="3"/>
                <c:pt idx="0">
                  <c:v>30427</c:v>
                </c:pt>
                <c:pt idx="1">
                  <c:v>22620</c:v>
                </c:pt>
                <c:pt idx="2">
                  <c:v>18895</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E7063E7-8426-447E-98A1-332AFA259E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D441A996-DFA6-4E3B-BA46-3B2DB6592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3A46774C-CDF8-4A9E-B294-EF40C52AD5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00F6801E-21D9-423B-8964-2238F37169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E62792C1-51A8-4AFC-AD91-E84770E98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2B1D81D4-7E50-4732-92E2-866F0302D8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99BF6465-E98A-4851-AC00-2BF383EA07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BD4BFDB0-2471-44D9-9353-2A19C71FE4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55099999999999</c:v>
                </c:pt>
              </c:numCache>
            </c:numRef>
          </c:xVal>
          <c:yVal>
            <c:numRef>
              <c:f>Sheet1!$B$2:$B$2</c:f>
              <c:numCache>
                <c:formatCode>General</c:formatCode>
                <c:ptCount val="1"/>
                <c:pt idx="0">
                  <c:v>1.2589999999999999</c:v>
                </c:pt>
              </c:numCache>
            </c:numRef>
          </c:yVal>
          <c:bubbleSize>
            <c:numRef>
              <c:f>Sheet1!$C$2:$C$2</c:f>
              <c:numCache>
                <c:formatCode>General</c:formatCode>
                <c:ptCount val="1"/>
                <c:pt idx="0">
                  <c:v>51331</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4246134-15B9-403F-BD78-0C659BA8F5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F6525C8-F29A-4A78-89F0-BCB76A07BF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3FAB101B-B8FC-429B-BA35-BBBAA0F433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FFEC2548-0E47-44CC-A8D0-B8D2BC0676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D8D54F5-4307-48FA-9EFE-3A4C9463BC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3BE6068-31A5-4A2D-959A-A50BC90013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3116D2D-80D8-4D3E-9EC7-6B4FE2ACC1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F6F030D-9FA6-41BF-97EC-4F119F3DB1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194</c:v>
                </c:pt>
                <c:pt idx="1">
                  <c:v>9.7117000000000004</c:v>
                </c:pt>
              </c:numCache>
            </c:numRef>
          </c:xVal>
          <c:yVal>
            <c:numRef>
              <c:f>Sheet1!$B$2:$B$3</c:f>
              <c:numCache>
                <c:formatCode>General</c:formatCode>
                <c:ptCount val="2"/>
                <c:pt idx="0">
                  <c:v>1.034</c:v>
                </c:pt>
                <c:pt idx="1">
                  <c:v>0.82399999999999995</c:v>
                </c:pt>
              </c:numCache>
            </c:numRef>
          </c:yVal>
          <c:bubbleSize>
            <c:numRef>
              <c:f>Sheet1!$C$2:$C$3</c:f>
              <c:numCache>
                <c:formatCode>General</c:formatCode>
                <c:ptCount val="2"/>
                <c:pt idx="0">
                  <c:v>7043</c:v>
                </c:pt>
                <c:pt idx="1">
                  <c:v>107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C8C63E-EDA2-4E22-8D7A-B20505B1F0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177348-225F-4786-BD4A-0F8622A648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B7A73D-54EA-4B6B-8400-AA7C1B6D05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E0A6BA-0952-4D23-9564-68C13AC904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A1D1DC-B63B-46FB-96D4-2D305DD36A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197965-529F-4F78-AD2C-9133C3A8EC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2DA25D-B99F-4F84-B042-CBF3B6F594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01D887-D2F7-4E1D-81EF-4A6A06B2B4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436099999999996</c:v>
                </c:pt>
                <c:pt idx="1">
                  <c:v>38.432400000000001</c:v>
                </c:pt>
                <c:pt idx="2">
                  <c:v>84.719300000000004</c:v>
                </c:pt>
                <c:pt idx="3">
                  <c:v>35.465499999999999</c:v>
                </c:pt>
                <c:pt idx="4">
                  <c:v>47.244599999999998</c:v>
                </c:pt>
                <c:pt idx="5">
                  <c:v>59.281199999999998</c:v>
                </c:pt>
                <c:pt idx="6">
                  <c:v>52.890099999999997</c:v>
                </c:pt>
                <c:pt idx="7">
                  <c:v>185.72460000000001</c:v>
                </c:pt>
              </c:numCache>
            </c:numRef>
          </c:xVal>
          <c:yVal>
            <c:numRef>
              <c:f>Sheet1!$B$2:$B$9</c:f>
              <c:numCache>
                <c:formatCode>General</c:formatCode>
                <c:ptCount val="8"/>
                <c:pt idx="0">
                  <c:v>1.151</c:v>
                </c:pt>
                <c:pt idx="1">
                  <c:v>0.497</c:v>
                </c:pt>
                <c:pt idx="2">
                  <c:v>0.997</c:v>
                </c:pt>
                <c:pt idx="3">
                  <c:v>0.42599999999999999</c:v>
                </c:pt>
                <c:pt idx="4">
                  <c:v>0.55700000000000005</c:v>
                </c:pt>
                <c:pt idx="5">
                  <c:v>0.76100000000000001</c:v>
                </c:pt>
                <c:pt idx="6">
                  <c:v>0.624</c:v>
                </c:pt>
                <c:pt idx="7">
                  <c:v>2.1640000000000001</c:v>
                </c:pt>
              </c:numCache>
            </c:numRef>
          </c:yVal>
          <c:bubbleSize>
            <c:numRef>
              <c:f>Sheet1!$C$2:$C$9</c:f>
              <c:numCache>
                <c:formatCode>General</c:formatCode>
                <c:ptCount val="8"/>
                <c:pt idx="0">
                  <c:v>745644</c:v>
                </c:pt>
                <c:pt idx="1">
                  <c:v>32706</c:v>
                </c:pt>
                <c:pt idx="2">
                  <c:v>31092</c:v>
                </c:pt>
                <c:pt idx="3">
                  <c:v>28798</c:v>
                </c:pt>
                <c:pt idx="4">
                  <c:v>24142</c:v>
                </c:pt>
                <c:pt idx="5">
                  <c:v>22349</c:v>
                </c:pt>
                <c:pt idx="6">
                  <c:v>14915</c:v>
                </c:pt>
                <c:pt idx="7">
                  <c:v>1281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Perrier Jouet</c:v>
                  </c:pt>
                  <c:pt idx="3">
                    <c:v>Malard</c:v>
                  </c:pt>
                  <c:pt idx="4">
                    <c:v>Henriot</c:v>
                  </c:pt>
                  <c:pt idx="5">
                    <c:v>Besserat De Bellefon</c:v>
                  </c:pt>
                  <c:pt idx="6">
                    <c:v>Delamotte</c:v>
                  </c:pt>
                  <c:pt idx="7">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3"/>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6442023-70B3-4C1E-9A9F-3EA00802CD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4EDDC42-5D11-47E7-88F3-1E91CB5984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134DDE6-4523-4AF2-8D36-105F73E19D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AEACBC1-0D97-434F-85BF-1B51AB8777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AE991F7-0118-44F6-B833-765DCC0A30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094D96C-DD53-4F91-BF01-1BD10C80C2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1047872-7D80-4B18-93C9-793E309240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88D3575-C769-4877-9541-2B11AF6503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607399999999998</c:v>
                </c:pt>
                <c:pt idx="1">
                  <c:v>48.682899999999997</c:v>
                </c:pt>
                <c:pt idx="2">
                  <c:v>49.257599999999996</c:v>
                </c:pt>
                <c:pt idx="3">
                  <c:v>22.162800000000001</c:v>
                </c:pt>
                <c:pt idx="4">
                  <c:v>52.6676</c:v>
                </c:pt>
                <c:pt idx="5">
                  <c:v>37.256599999999999</c:v>
                </c:pt>
                <c:pt idx="6">
                  <c:v>29.456499999999998</c:v>
                </c:pt>
                <c:pt idx="7">
                  <c:v>52.234499999999997</c:v>
                </c:pt>
              </c:numCache>
            </c:numRef>
          </c:xVal>
          <c:yVal>
            <c:numRef>
              <c:f>Sheet1!$B$2:$B$9</c:f>
              <c:numCache>
                <c:formatCode>General</c:formatCode>
                <c:ptCount val="8"/>
                <c:pt idx="0">
                  <c:v>1.3660000000000001</c:v>
                </c:pt>
                <c:pt idx="1">
                  <c:v>1.1140000000000001</c:v>
                </c:pt>
                <c:pt idx="2">
                  <c:v>1.042</c:v>
                </c:pt>
                <c:pt idx="3">
                  <c:v>0.52800000000000002</c:v>
                </c:pt>
                <c:pt idx="4">
                  <c:v>1.2549999999999999</c:v>
                </c:pt>
                <c:pt idx="5">
                  <c:v>0.88700000000000001</c:v>
                </c:pt>
                <c:pt idx="6">
                  <c:v>0.70199999999999996</c:v>
                </c:pt>
                <c:pt idx="7">
                  <c:v>1.089</c:v>
                </c:pt>
              </c:numCache>
            </c:numRef>
          </c:yVal>
          <c:bubbleSize>
            <c:numRef>
              <c:f>Sheet1!$C$2:$C$9</c:f>
              <c:numCache>
                <c:formatCode>General</c:formatCode>
                <c:ptCount val="8"/>
                <c:pt idx="0">
                  <c:v>711670</c:v>
                </c:pt>
                <c:pt idx="1">
                  <c:v>373933</c:v>
                </c:pt>
                <c:pt idx="2">
                  <c:v>288354</c:v>
                </c:pt>
                <c:pt idx="3">
                  <c:v>275838</c:v>
                </c:pt>
                <c:pt idx="4">
                  <c:v>157792</c:v>
                </c:pt>
                <c:pt idx="5">
                  <c:v>136061</c:v>
                </c:pt>
                <c:pt idx="6">
                  <c:v>133821</c:v>
                </c:pt>
                <c:pt idx="7">
                  <c:v>133198</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Veuve Clicquot</c:v>
                  </c:pt>
                  <c:pt idx="5">
                    <c:v>Ayala</c:v>
                  </c:pt>
                  <c:pt idx="6">
                    <c:v>Heidsieck &amp; Co Monopole</c:v>
                  </c:pt>
                  <c:pt idx="7">
                    <c:v>Taitting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58095E-F45D-471F-822E-93D5FE15A9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54A968-1019-4BAD-8070-8055BA2940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C1B05D-4191-4487-A747-E3BC1ADC97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D62E85-0243-4263-BA68-DEF01ECCEA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EDE68D-5E81-4B5C-A6FF-76A6AE0183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1EAFA1C-39C7-4CE6-8536-08DEE42F1F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D78A91B-D738-457A-A35E-CAA01FBC1E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6ECC62-FED6-4EDE-92AF-36E44BB2B9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09699999999998</c:v>
                </c:pt>
                <c:pt idx="1">
                  <c:v>23.626300000000001</c:v>
                </c:pt>
                <c:pt idx="2">
                  <c:v>50.448099999999997</c:v>
                </c:pt>
                <c:pt idx="3">
                  <c:v>53.660699999999999</c:v>
                </c:pt>
                <c:pt idx="4">
                  <c:v>31.505700000000001</c:v>
                </c:pt>
                <c:pt idx="5">
                  <c:v>88.677499999999995</c:v>
                </c:pt>
                <c:pt idx="6">
                  <c:v>32.752200000000002</c:v>
                </c:pt>
                <c:pt idx="7">
                  <c:v>291.98700000000002</c:v>
                </c:pt>
              </c:numCache>
            </c:numRef>
          </c:xVal>
          <c:yVal>
            <c:numRef>
              <c:f>Sheet1!$B$2:$B$9</c:f>
              <c:numCache>
                <c:formatCode>General</c:formatCode>
                <c:ptCount val="8"/>
                <c:pt idx="0">
                  <c:v>1.847</c:v>
                </c:pt>
                <c:pt idx="1">
                  <c:v>0.61499999999999999</c:v>
                </c:pt>
                <c:pt idx="2">
                  <c:v>1.2869999999999999</c:v>
                </c:pt>
                <c:pt idx="3">
                  <c:v>1.254</c:v>
                </c:pt>
                <c:pt idx="4">
                  <c:v>0.81699999999999995</c:v>
                </c:pt>
                <c:pt idx="5">
                  <c:v>2.3119999999999998</c:v>
                </c:pt>
                <c:pt idx="6">
                  <c:v>0.83899999999999997</c:v>
                </c:pt>
                <c:pt idx="7">
                  <c:v>7.4649999999999999</c:v>
                </c:pt>
              </c:numCache>
            </c:numRef>
          </c:yVal>
          <c:bubbleSize>
            <c:numRef>
              <c:f>Sheet1!$C$2:$C$9</c:f>
              <c:numCache>
                <c:formatCode>General</c:formatCode>
                <c:ptCount val="8"/>
                <c:pt idx="0">
                  <c:v>4907450</c:v>
                </c:pt>
                <c:pt idx="1">
                  <c:v>1463201</c:v>
                </c:pt>
                <c:pt idx="2">
                  <c:v>1419306</c:v>
                </c:pt>
                <c:pt idx="3">
                  <c:v>1119576</c:v>
                </c:pt>
                <c:pt idx="4">
                  <c:v>828914</c:v>
                </c:pt>
                <c:pt idx="5">
                  <c:v>791269</c:v>
                </c:pt>
                <c:pt idx="6">
                  <c:v>634868</c:v>
                </c:pt>
                <c:pt idx="7">
                  <c:v>58572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8940F7F-7CC7-4E26-952D-ECCF453135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E7185E5-F156-4C2C-858C-8B51B9D4EF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97B1EAA-6960-419E-AC02-9B58B0E085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46DF646-F677-4D86-A8DC-476EBC5D05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AB493CC3-280C-46E9-BC62-304E8426D2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683B240-9AA9-4358-9CAF-3B92B205A6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6DAC038-F2A2-4218-9660-578C449D34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E265C96-983F-4E6A-8452-BC0CE7E04D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914100000000001</c:v>
                </c:pt>
                <c:pt idx="1">
                  <c:v>30.693300000000001</c:v>
                </c:pt>
                <c:pt idx="2">
                  <c:v>31.7714</c:v>
                </c:pt>
                <c:pt idx="3">
                  <c:v>36.119399999999999</c:v>
                </c:pt>
              </c:numCache>
            </c:numRef>
          </c:xVal>
          <c:yVal>
            <c:numRef>
              <c:f>Sheet1!$B$2:$B$5</c:f>
              <c:numCache>
                <c:formatCode>General</c:formatCode>
                <c:ptCount val="4"/>
                <c:pt idx="0">
                  <c:v>0.99</c:v>
                </c:pt>
                <c:pt idx="1">
                  <c:v>1.012</c:v>
                </c:pt>
                <c:pt idx="2">
                  <c:v>1.048</c:v>
                </c:pt>
                <c:pt idx="3">
                  <c:v>1.0640000000000001</c:v>
                </c:pt>
              </c:numCache>
            </c:numRef>
          </c:yVal>
          <c:bubbleSize>
            <c:numRef>
              <c:f>Sheet1!$C$2:$C$5</c:f>
              <c:numCache>
                <c:formatCode>General</c:formatCode>
                <c:ptCount val="4"/>
                <c:pt idx="0">
                  <c:v>133357</c:v>
                </c:pt>
                <c:pt idx="1">
                  <c:v>22314</c:v>
                </c:pt>
                <c:pt idx="2">
                  <c:v>15981</c:v>
                </c:pt>
                <c:pt idx="3">
                  <c:v>48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E25D9C53-C600-46B0-A7DB-9A465E4323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E642399A-8ABC-4D1B-8A6C-43A6FD9F1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B80221D6-DBA0-4F99-8283-75FA581A4E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35B4BA8E-22C1-4338-9971-8A4B08DCE3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C4361DA0-5C16-4A83-9A2D-78809EF7AE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D12AA8A4-3224-4534-B587-2A3ECBA11C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F2E0844C-1AE5-40CF-AA65-19B17B1445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4FC8DBC2-A034-4BF2-9129-EDD6445E6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42999999999999</c:v>
                </c:pt>
                <c:pt idx="1">
                  <c:v>42.777900000000002</c:v>
                </c:pt>
              </c:numCache>
            </c:numRef>
          </c:xVal>
          <c:yVal>
            <c:numRef>
              <c:f>Sheet1!$B$2:$B$3</c:f>
              <c:numCache>
                <c:formatCode>General</c:formatCode>
                <c:ptCount val="2"/>
                <c:pt idx="0">
                  <c:v>0.92200000000000004</c:v>
                </c:pt>
                <c:pt idx="1">
                  <c:v>1.2669999999999999</c:v>
                </c:pt>
              </c:numCache>
            </c:numRef>
          </c:yVal>
          <c:bubbleSize>
            <c:numRef>
              <c:f>Sheet1!$C$2:$C$3</c:f>
              <c:numCache>
                <c:formatCode>General</c:formatCode>
                <c:ptCount val="2"/>
                <c:pt idx="0">
                  <c:v>161589</c:v>
                </c:pt>
                <c:pt idx="1">
                  <c:v>64894</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74A2F0-5F5E-4CE9-8A0A-81B5D91552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47DA92-2273-4BB6-BDEE-6D050737C6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4D4115-744C-42F8-8B57-3D3AE1DBAC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821DEE-8ED8-4658-9206-F2FDCD352A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898072-0A7D-4A2B-ACEF-8875034820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03375A-35D4-4357-899E-D2CF498E46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5A0C5C-0C5B-4BEC-AD29-CC7AE117AD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3363A0-6410-4678-A9D6-AB6E0629BB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822</c:v>
                </c:pt>
                <c:pt idx="1">
                  <c:v>198.53919999999999</c:v>
                </c:pt>
                <c:pt idx="2">
                  <c:v>97.008700000000005</c:v>
                </c:pt>
                <c:pt idx="3">
                  <c:v>196.3896</c:v>
                </c:pt>
                <c:pt idx="4">
                  <c:v>37.771700000000003</c:v>
                </c:pt>
                <c:pt idx="5">
                  <c:v>285.23329999999999</c:v>
                </c:pt>
                <c:pt idx="6">
                  <c:v>66.152000000000001</c:v>
                </c:pt>
                <c:pt idx="7">
                  <c:v>259.58330000000001</c:v>
                </c:pt>
              </c:numCache>
            </c:numRef>
          </c:xVal>
          <c:yVal>
            <c:numRef>
              <c:f>Sheet1!$B$2:$B$9</c:f>
              <c:numCache>
                <c:formatCode>General</c:formatCode>
                <c:ptCount val="8"/>
                <c:pt idx="0">
                  <c:v>1.6060000000000001</c:v>
                </c:pt>
                <c:pt idx="1">
                  <c:v>1.056</c:v>
                </c:pt>
                <c:pt idx="2">
                  <c:v>0.55400000000000005</c:v>
                </c:pt>
                <c:pt idx="3">
                  <c:v>1.1890000000000001</c:v>
                </c:pt>
                <c:pt idx="4">
                  <c:v>0.23100000000000001</c:v>
                </c:pt>
                <c:pt idx="5">
                  <c:v>1.47</c:v>
                </c:pt>
                <c:pt idx="6">
                  <c:v>0.38400000000000001</c:v>
                </c:pt>
                <c:pt idx="7">
                  <c:v>1.3140000000000001</c:v>
                </c:pt>
              </c:numCache>
            </c:numRef>
          </c:yVal>
          <c:bubbleSize>
            <c:numRef>
              <c:f>Sheet1!$C$2:$C$9</c:f>
              <c:numCache>
                <c:formatCode>General</c:formatCode>
                <c:ptCount val="8"/>
                <c:pt idx="0">
                  <c:v>160961</c:v>
                </c:pt>
                <c:pt idx="1">
                  <c:v>60753</c:v>
                </c:pt>
                <c:pt idx="2">
                  <c:v>22215</c:v>
                </c:pt>
                <c:pt idx="3">
                  <c:v>15122</c:v>
                </c:pt>
                <c:pt idx="4">
                  <c:v>11747</c:v>
                </c:pt>
                <c:pt idx="5">
                  <c:v>8557</c:v>
                </c:pt>
                <c:pt idx="6">
                  <c:v>8269</c:v>
                </c:pt>
                <c:pt idx="7">
                  <c:v>311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Veuve Clicquot</c:v>
                  </c:pt>
                  <c:pt idx="4">
                    <c:v>Malard</c:v>
                  </c:pt>
                  <c:pt idx="5">
                    <c:v>Bollinger</c:v>
                  </c:pt>
                  <c:pt idx="6">
                    <c:v>Laurent Perrier</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2"/>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9E721B1-C1B2-4E7A-8B04-33A6DD7909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FED4B03-9C1D-4C45-BC2D-5CE681EBC0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3B6E0E2-EA94-4B18-B284-6B505DFE84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E499B36-644F-4D16-9AD3-792BC75D12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A9BBF47-1795-49EC-9289-EBF7FEDD4D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48DAE38-6C75-43A9-BAC4-4E167AF320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53CFD33-E2C1-4C1E-8F30-A75FAFD376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3E3E2EE-D8B0-49CD-AAE3-326FDDFF25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72799999999998</c:v>
                </c:pt>
                <c:pt idx="1">
                  <c:v>644.48720000000003</c:v>
                </c:pt>
                <c:pt idx="2">
                  <c:v>53.254899999999999</c:v>
                </c:pt>
                <c:pt idx="3">
                  <c:v>80.4315</c:v>
                </c:pt>
                <c:pt idx="4">
                  <c:v>27.0364</c:v>
                </c:pt>
                <c:pt idx="5">
                  <c:v>38.076900000000002</c:v>
                </c:pt>
                <c:pt idx="6">
                  <c:v>634.11429999999996</c:v>
                </c:pt>
                <c:pt idx="7">
                  <c:v>37.879600000000003</c:v>
                </c:pt>
              </c:numCache>
            </c:numRef>
          </c:xVal>
          <c:yVal>
            <c:numRef>
              <c:f>Sheet1!$B$2:$B$9</c:f>
              <c:numCache>
                <c:formatCode>General</c:formatCode>
                <c:ptCount val="8"/>
                <c:pt idx="0">
                  <c:v>1.355</c:v>
                </c:pt>
                <c:pt idx="1">
                  <c:v>8.3819999999999997</c:v>
                </c:pt>
                <c:pt idx="2">
                  <c:v>0.85899999999999999</c:v>
                </c:pt>
                <c:pt idx="3">
                  <c:v>1.1399999999999999</c:v>
                </c:pt>
                <c:pt idx="4">
                  <c:v>0.40899999999999997</c:v>
                </c:pt>
                <c:pt idx="5">
                  <c:v>0.53700000000000003</c:v>
                </c:pt>
                <c:pt idx="6">
                  <c:v>9.4730000000000008</c:v>
                </c:pt>
                <c:pt idx="7">
                  <c:v>0.53500000000000003</c:v>
                </c:pt>
              </c:numCache>
            </c:numRef>
          </c:yVal>
          <c:bubbleSize>
            <c:numRef>
              <c:f>Sheet1!$C$2:$C$9</c:f>
              <c:numCache>
                <c:formatCode>General</c:formatCode>
                <c:ptCount val="8"/>
                <c:pt idx="0">
                  <c:v>111018</c:v>
                </c:pt>
                <c:pt idx="1">
                  <c:v>50270</c:v>
                </c:pt>
                <c:pt idx="2">
                  <c:v>43882</c:v>
                </c:pt>
                <c:pt idx="3">
                  <c:v>38768</c:v>
                </c:pt>
                <c:pt idx="4">
                  <c:v>26712</c:v>
                </c:pt>
                <c:pt idx="5">
                  <c:v>24750</c:v>
                </c:pt>
                <c:pt idx="6">
                  <c:v>22194</c:v>
                </c:pt>
                <c:pt idx="7">
                  <c:v>19508</c:v>
                </c:pt>
              </c:numCache>
            </c:numRef>
          </c:bubbleSize>
          <c:bubble3D val="0"/>
          <c:extLst>
            <c:ext xmlns:c15="http://schemas.microsoft.com/office/drawing/2012/chart" uri="{02D57815-91ED-43cb-92C2-25804820EDAC}">
              <c15:datalabelsRange>
                <c15:f>Sheet1!$E$2:$E$10</c15:f>
                <c15:dlblRangeCache>
                  <c:ptCount val="9"/>
                  <c:pt idx="0">
                    <c:v>Ruinart</c:v>
                  </c:pt>
                  <c:pt idx="1">
                    <c:v>Roederer</c:v>
                  </c:pt>
                  <c:pt idx="2">
                    <c:v>Deutz</c:v>
                  </c:pt>
                  <c:pt idx="3">
                    <c:v>Laurent Perrier</c:v>
                  </c:pt>
                  <c:pt idx="4">
                    <c:v>Nicolas</c:v>
                  </c:pt>
                  <c:pt idx="5">
                    <c:v>Demoiselle</c:v>
                  </c:pt>
                  <c:pt idx="6">
                    <c:v>Dom Perignon</c:v>
                  </c:pt>
                  <c:pt idx="7">
                    <c:v>Nicolas Feuillatt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3"/>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9AEF3F1-F544-4A09-97E0-9EA12B9D41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12AD7BF3-B46F-4F75-B2A6-8CE7606F9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A4346A91-A469-48BE-9FD9-6BD72484E7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C1BD56A-791B-49D2-A06A-14AAE01F9D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4A71300-0AF3-4BB9-A14B-805DFB3E9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E256DBCD-25AB-4928-86C5-E28DBE9DFF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CB731D38-7AFE-4397-9DD6-5071314183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1E4E6A7-8E4B-4A30-AD12-B8E60599A9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857200000000001</c:v>
                </c:pt>
              </c:numCache>
            </c:numRef>
          </c:xVal>
          <c:yVal>
            <c:numRef>
              <c:f>Sheet1!$B$2:$B$2</c:f>
              <c:numCache>
                <c:formatCode>General</c:formatCode>
                <c:ptCount val="1"/>
                <c:pt idx="0">
                  <c:v>1</c:v>
                </c:pt>
              </c:numCache>
            </c:numRef>
          </c:yVal>
          <c:bubbleSize>
            <c:numRef>
              <c:f>Sheet1!$C$2:$C$2</c:f>
              <c:numCache>
                <c:formatCode>General</c:formatCode>
                <c:ptCount val="1"/>
                <c:pt idx="0">
                  <c:v>24043</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F60D2CAD-1966-45AB-8973-42DDD26E45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EFB6EF1A-0F7B-4792-AE4E-D8969222C3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48DF5EDD-603F-401E-8E1D-A6E17324D9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E3743CA5-9A5C-464D-B48E-A94472AB29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F5E68A06-3687-43F8-B1BD-172C86CF1B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F39BBD93-492D-40B1-9874-D782D8DF6C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15019C1C-5606-4681-B797-2B85239FF2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D0E11D84-196A-43A7-A8AA-8C3803D312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524699999999999</c:v>
                </c:pt>
                <c:pt idx="1">
                  <c:v>9.1434999999999995</c:v>
                </c:pt>
                <c:pt idx="2">
                  <c:v>11.5547</c:v>
                </c:pt>
              </c:numCache>
            </c:numRef>
          </c:xVal>
          <c:yVal>
            <c:numRef>
              <c:f>Sheet1!$B$2:$B$4</c:f>
              <c:numCache>
                <c:formatCode>General</c:formatCode>
                <c:ptCount val="3"/>
                <c:pt idx="0">
                  <c:v>1.258</c:v>
                </c:pt>
                <c:pt idx="1">
                  <c:v>1.0009999999999999</c:v>
                </c:pt>
                <c:pt idx="2">
                  <c:v>1.06</c:v>
                </c:pt>
              </c:numCache>
            </c:numRef>
          </c:yVal>
          <c:bubbleSize>
            <c:numRef>
              <c:f>Sheet1!$C$2:$C$4</c:f>
              <c:numCache>
                <c:formatCode>General</c:formatCode>
                <c:ptCount val="3"/>
                <c:pt idx="0">
                  <c:v>34574</c:v>
                </c:pt>
                <c:pt idx="1">
                  <c:v>19558</c:v>
                </c:pt>
                <c:pt idx="2">
                  <c:v>4437</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2B8679-7063-48E5-9DA1-34AF668B47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311C8F-F81F-424C-8832-628223ECAD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9D2A26-9949-41D7-BCC1-AEDC72132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68A0898-F744-4AB0-A12A-362599DD9E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B33285A-557D-4FF0-A3DC-BDBEE116A5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C38B897-66AE-47D8-ABA7-B8EAD3DF48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A921556-C4AC-4671-A636-D6D2597B9C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F940B9-D73D-4DD8-A7D7-8354E6A663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17299999999999</c:v>
                </c:pt>
                <c:pt idx="1">
                  <c:v>11.5405</c:v>
                </c:pt>
                <c:pt idx="2">
                  <c:v>13.3918</c:v>
                </c:pt>
              </c:numCache>
            </c:numRef>
          </c:xVal>
          <c:yVal>
            <c:numRef>
              <c:f>Sheet1!$B$2:$B$4</c:f>
              <c:numCache>
                <c:formatCode>General</c:formatCode>
                <c:ptCount val="3"/>
                <c:pt idx="0">
                  <c:v>0.95799999999999996</c:v>
                </c:pt>
                <c:pt idx="1">
                  <c:v>0.97899999999999998</c:v>
                </c:pt>
                <c:pt idx="2">
                  <c:v>1.1259999999999999</c:v>
                </c:pt>
              </c:numCache>
            </c:numRef>
          </c:yVal>
          <c:bubbleSize>
            <c:numRef>
              <c:f>Sheet1!$C$2:$C$4</c:f>
              <c:numCache>
                <c:formatCode>General</c:formatCode>
                <c:ptCount val="3"/>
                <c:pt idx="0">
                  <c:v>20314</c:v>
                </c:pt>
                <c:pt idx="1">
                  <c:v>16376</c:v>
                </c:pt>
                <c:pt idx="2">
                  <c:v>557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998951C-0BD1-4898-A785-1E63026498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57389D73-9DE5-488E-91C3-7E709ED980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FAE76D8E-219A-468E-A664-B15F998688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F32FFA45-02A6-4B22-B883-7C984ADFD7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35CA5648-47CB-4E03-B85C-5946CD06F8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AFAC645A-BF22-447F-9B30-DB27388FA4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0CD64709-5527-4E64-B0CE-38267F6CA7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B131B730-3567-4510-9EE1-ED0F42E0A3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514</c:v>
                </c:pt>
              </c:numCache>
            </c:numRef>
          </c:xVal>
          <c:yVal>
            <c:numRef>
              <c:f>Sheet1!$B$2:$B$2</c:f>
              <c:numCache>
                <c:formatCode>General</c:formatCode>
                <c:ptCount val="1"/>
                <c:pt idx="0">
                  <c:v>1</c:v>
                </c:pt>
              </c:numCache>
            </c:numRef>
          </c:yVal>
          <c:bubbleSize>
            <c:numRef>
              <c:f>Sheet1!$C$2:$C$2</c:f>
              <c:numCache>
                <c:formatCode>General</c:formatCode>
                <c:ptCount val="1"/>
                <c:pt idx="0">
                  <c:v>16893</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31C519D-540C-416D-8D98-CFFC4452B5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1546D43-1CD8-4BFA-BE0C-BBB7B593FD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64F209A-AB6C-45D0-AACC-6EA21ADB48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13AD86F7-46A3-4F0B-8A18-11E0C184B3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8A84A978-50B6-48A9-AE60-E36C51FD19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EC4B0CF-1F82-4F7F-B4AE-44C51DFE9E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F9D4E7BE-9334-4133-85EC-9E9DAF060E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E9083BD-5596-4503-B84B-C3101F053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282</c:v>
                </c:pt>
                <c:pt idx="1">
                  <c:v>10.235300000000001</c:v>
                </c:pt>
              </c:numCache>
            </c:numRef>
          </c:xVal>
          <c:yVal>
            <c:numRef>
              <c:f>Sheet1!$B$2:$B$3</c:f>
              <c:numCache>
                <c:formatCode>General</c:formatCode>
                <c:ptCount val="2"/>
                <c:pt idx="0">
                  <c:v>1.0429999999999999</c:v>
                </c:pt>
                <c:pt idx="1">
                  <c:v>0.80900000000000005</c:v>
                </c:pt>
              </c:numCache>
            </c:numRef>
          </c:yVal>
          <c:bubbleSize>
            <c:numRef>
              <c:f>Sheet1!$C$2:$C$3</c:f>
              <c:numCache>
                <c:formatCode>General</c:formatCode>
                <c:ptCount val="2"/>
                <c:pt idx="0">
                  <c:v>1978</c:v>
                </c:pt>
                <c:pt idx="1">
                  <c:v>34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549E30-13DF-4AFA-AE3A-B75006279F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639D12-A194-4FC3-8810-E467271FB4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49F531-5C46-48A2-B7D4-A03FFC5D9F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593C88-27A2-4657-A07F-DEBD4EF7AA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DC2D0B-0655-478E-8509-4C732950F7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20F32E-66E7-4451-B187-52CABEA79A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82C566-3DDC-4262-A9B5-2D2278FACE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775C0E-31F5-42C8-8BE1-6DE6137599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2.375500000000002</c:v>
                </c:pt>
                <c:pt idx="1">
                  <c:v>42.073</c:v>
                </c:pt>
                <c:pt idx="2">
                  <c:v>35.363399999999999</c:v>
                </c:pt>
                <c:pt idx="3">
                  <c:v>60.463999999999999</c:v>
                </c:pt>
                <c:pt idx="4">
                  <c:v>78.006</c:v>
                </c:pt>
                <c:pt idx="5">
                  <c:v>183.55930000000001</c:v>
                </c:pt>
                <c:pt idx="6">
                  <c:v>72.110299999999995</c:v>
                </c:pt>
                <c:pt idx="7">
                  <c:v>48.165100000000002</c:v>
                </c:pt>
              </c:numCache>
            </c:numRef>
          </c:xVal>
          <c:yVal>
            <c:numRef>
              <c:f>Sheet1!$B$2:$B$9</c:f>
              <c:numCache>
                <c:formatCode>General</c:formatCode>
                <c:ptCount val="8"/>
                <c:pt idx="0">
                  <c:v>1.23</c:v>
                </c:pt>
                <c:pt idx="1">
                  <c:v>0.52600000000000002</c:v>
                </c:pt>
                <c:pt idx="2">
                  <c:v>0.44400000000000001</c:v>
                </c:pt>
                <c:pt idx="3">
                  <c:v>0.80200000000000005</c:v>
                </c:pt>
                <c:pt idx="4">
                  <c:v>0.94399999999999995</c:v>
                </c:pt>
                <c:pt idx="5">
                  <c:v>2.2999999999999998</c:v>
                </c:pt>
                <c:pt idx="6">
                  <c:v>0.85</c:v>
                </c:pt>
                <c:pt idx="7">
                  <c:v>0.58499999999999996</c:v>
                </c:pt>
              </c:numCache>
            </c:numRef>
          </c:yVal>
          <c:bubbleSize>
            <c:numRef>
              <c:f>Sheet1!$C$2:$C$9</c:f>
              <c:numCache>
                <c:formatCode>General</c:formatCode>
                <c:ptCount val="8"/>
                <c:pt idx="0">
                  <c:v>432687</c:v>
                </c:pt>
                <c:pt idx="1">
                  <c:v>27095</c:v>
                </c:pt>
                <c:pt idx="2">
                  <c:v>25497</c:v>
                </c:pt>
                <c:pt idx="3">
                  <c:v>16809</c:v>
                </c:pt>
                <c:pt idx="4">
                  <c:v>13027</c:v>
                </c:pt>
                <c:pt idx="5">
                  <c:v>10830</c:v>
                </c:pt>
                <c:pt idx="6">
                  <c:v>10456</c:v>
                </c:pt>
                <c:pt idx="7">
                  <c:v>10211</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Ayala</c:v>
                  </c:pt>
                  <c:pt idx="5">
                    <c:v>Deutz</c:v>
                  </c:pt>
                  <c:pt idx="6">
                    <c:v>De Venoge</c:v>
                  </c:pt>
                  <c:pt idx="7">
                    <c:v>Henrio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0"/>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55F1F2-4060-4E41-8834-4EC8011228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CC309C-3E7E-48BF-9C9D-52DDAD89FD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B74739-C922-448F-8204-D11B2CDA10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2C956A-F4F4-423F-A649-BAE0C14068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0633A4-061D-4AB2-9BCD-F4981486C2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502826-CFDE-42E1-91E9-74048D0D74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0251AE-FBE4-478A-9C61-0E5BBB3F78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850F87-5901-41C8-BF11-F9286A83D8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133499999999998</c:v>
                </c:pt>
                <c:pt idx="1">
                  <c:v>23.392900000000001</c:v>
                </c:pt>
                <c:pt idx="2">
                  <c:v>48.761299999999999</c:v>
                </c:pt>
                <c:pt idx="3">
                  <c:v>51.302199999999999</c:v>
                </c:pt>
                <c:pt idx="4">
                  <c:v>31.512499999999999</c:v>
                </c:pt>
                <c:pt idx="5">
                  <c:v>32.631799999999998</c:v>
                </c:pt>
                <c:pt idx="6">
                  <c:v>29.2836</c:v>
                </c:pt>
                <c:pt idx="7">
                  <c:v>71.167199999999994</c:v>
                </c:pt>
              </c:numCache>
            </c:numRef>
          </c:xVal>
          <c:yVal>
            <c:numRef>
              <c:f>Sheet1!$B$2:$B$9</c:f>
              <c:numCache>
                <c:formatCode>General</c:formatCode>
                <c:ptCount val="8"/>
                <c:pt idx="0">
                  <c:v>1.9450000000000001</c:v>
                </c:pt>
                <c:pt idx="1">
                  <c:v>0.67900000000000005</c:v>
                </c:pt>
                <c:pt idx="2">
                  <c:v>1.393</c:v>
                </c:pt>
                <c:pt idx="3">
                  <c:v>1.3380000000000001</c:v>
                </c:pt>
                <c:pt idx="4">
                  <c:v>0.91100000000000003</c:v>
                </c:pt>
                <c:pt idx="5">
                  <c:v>0.92800000000000005</c:v>
                </c:pt>
                <c:pt idx="6">
                  <c:v>0.84499999999999997</c:v>
                </c:pt>
                <c:pt idx="7">
                  <c:v>2.0619999999999998</c:v>
                </c:pt>
              </c:numCache>
            </c:numRef>
          </c:yVal>
          <c:bubbleSize>
            <c:numRef>
              <c:f>Sheet1!$C$2:$C$9</c:f>
              <c:numCache>
                <c:formatCode>General</c:formatCode>
                <c:ptCount val="8"/>
                <c:pt idx="0">
                  <c:v>2147840</c:v>
                </c:pt>
                <c:pt idx="1">
                  <c:v>849490</c:v>
                </c:pt>
                <c:pt idx="2">
                  <c:v>757750</c:v>
                </c:pt>
                <c:pt idx="3">
                  <c:v>524411</c:v>
                </c:pt>
                <c:pt idx="4">
                  <c:v>464085</c:v>
                </c:pt>
                <c:pt idx="5">
                  <c:v>324491</c:v>
                </c:pt>
                <c:pt idx="6">
                  <c:v>304491</c:v>
                </c:pt>
                <c:pt idx="7">
                  <c:v>28132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977239A-783D-4ECB-931F-C2634CF1E0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C264609-E513-48B1-8BE9-4BB3E40E00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0F6C7D8-CBFE-4049-A569-352CF820BB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11F3E90-CAD6-472B-977C-C7B610BDA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5B9E054-944E-40D4-A9C5-56F1593E3B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F31ED6B-6326-4D00-B90D-E56FCB79DB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827B454-A2A6-48BA-BB90-4F99DB1083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6497A69-FB33-47FF-A210-6277A93AB3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397500000000001</c:v>
                </c:pt>
                <c:pt idx="1">
                  <c:v>22.198699999999999</c:v>
                </c:pt>
                <c:pt idx="2">
                  <c:v>50.509</c:v>
                </c:pt>
                <c:pt idx="3">
                  <c:v>51.907299999999999</c:v>
                </c:pt>
                <c:pt idx="4">
                  <c:v>55.335500000000003</c:v>
                </c:pt>
                <c:pt idx="5">
                  <c:v>33.5107</c:v>
                </c:pt>
                <c:pt idx="6">
                  <c:v>29.222100000000001</c:v>
                </c:pt>
                <c:pt idx="7">
                  <c:v>29.836300000000001</c:v>
                </c:pt>
              </c:numCache>
            </c:numRef>
          </c:xVal>
          <c:yVal>
            <c:numRef>
              <c:f>Sheet1!$B$2:$B$9</c:f>
              <c:numCache>
                <c:formatCode>General</c:formatCode>
                <c:ptCount val="8"/>
                <c:pt idx="0">
                  <c:v>1.4079999999999999</c:v>
                </c:pt>
                <c:pt idx="1">
                  <c:v>0.53800000000000003</c:v>
                </c:pt>
                <c:pt idx="2">
                  <c:v>1.1399999999999999</c:v>
                </c:pt>
                <c:pt idx="3">
                  <c:v>1.056</c:v>
                </c:pt>
                <c:pt idx="4">
                  <c:v>1.1160000000000001</c:v>
                </c:pt>
                <c:pt idx="5">
                  <c:v>0.78300000000000003</c:v>
                </c:pt>
                <c:pt idx="6">
                  <c:v>0.71599999999999997</c:v>
                </c:pt>
                <c:pt idx="7">
                  <c:v>0.73</c:v>
                </c:pt>
              </c:numCache>
            </c:numRef>
          </c:yVal>
          <c:bubbleSize>
            <c:numRef>
              <c:f>Sheet1!$C$2:$C$9</c:f>
              <c:numCache>
                <c:formatCode>General</c:formatCode>
                <c:ptCount val="8"/>
                <c:pt idx="0">
                  <c:v>556970</c:v>
                </c:pt>
                <c:pt idx="1">
                  <c:v>195127</c:v>
                </c:pt>
                <c:pt idx="2">
                  <c:v>188853</c:v>
                </c:pt>
                <c:pt idx="3">
                  <c:v>95146</c:v>
                </c:pt>
                <c:pt idx="4">
                  <c:v>92687</c:v>
                </c:pt>
                <c:pt idx="5">
                  <c:v>91015</c:v>
                </c:pt>
                <c:pt idx="6">
                  <c:v>83429</c:v>
                </c:pt>
                <c:pt idx="7">
                  <c:v>74531</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Taittinger</c:v>
                  </c:pt>
                  <c:pt idx="5">
                    <c:v>Canard Duchêne</c:v>
                  </c:pt>
                  <c:pt idx="6">
                    <c:v>Heidsieck &amp; Co Monopole</c:v>
                  </c:pt>
                  <c:pt idx="7">
                    <c:v>De Blign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BCBD542-00D2-46DA-83ED-018F35C150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F95CCAC-9FD2-47BA-8C4C-0A5DD038AD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5F537D5-021B-4FE1-8082-03C4C1E457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EDC0602-D924-49EE-8E99-8D6B05C538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13436D4-7C3E-43D0-8D23-C0FB2DC33B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7C04CD8-2496-4850-9E07-ADB00185BE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ED3722C-B2E3-4ED7-ACA1-57303E58D9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28D68C5-7F3E-4A7A-BCEF-60C24667D2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651</c:v>
                </c:pt>
                <c:pt idx="1">
                  <c:v>30.619399999999999</c:v>
                </c:pt>
                <c:pt idx="2">
                  <c:v>32.537999999999997</c:v>
                </c:pt>
                <c:pt idx="3">
                  <c:v>38.537300000000002</c:v>
                </c:pt>
              </c:numCache>
            </c:numRef>
          </c:xVal>
          <c:yVal>
            <c:numRef>
              <c:f>Sheet1!$B$2:$B$5</c:f>
              <c:numCache>
                <c:formatCode>General</c:formatCode>
                <c:ptCount val="4"/>
                <c:pt idx="0">
                  <c:v>0.98799999999999999</c:v>
                </c:pt>
                <c:pt idx="1">
                  <c:v>1.028</c:v>
                </c:pt>
                <c:pt idx="2">
                  <c:v>1.044</c:v>
                </c:pt>
                <c:pt idx="3">
                  <c:v>1.03</c:v>
                </c:pt>
              </c:numCache>
            </c:numRef>
          </c:yVal>
          <c:bubbleSize>
            <c:numRef>
              <c:f>Sheet1!$C$2:$C$5</c:f>
              <c:numCache>
                <c:formatCode>General</c:formatCode>
                <c:ptCount val="4"/>
                <c:pt idx="0">
                  <c:v>74193</c:v>
                </c:pt>
                <c:pt idx="1">
                  <c:v>21158</c:v>
                </c:pt>
                <c:pt idx="2">
                  <c:v>5564</c:v>
                </c:pt>
                <c:pt idx="3">
                  <c:v>2582</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639E5AF3-0D83-49D7-B53E-C676747943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422777F4-F829-47A1-BAFE-E298165293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DE9F2E27-641B-4D76-B554-AAB06787D2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DFF7D090-C681-44B2-83DA-CD171C061C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C8E6FFAC-BB7F-43EE-ACB3-79A82305C6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EB2F98D0-E301-4B70-A0A1-47449D1EA7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BC32E34-1B04-416D-830E-FDD8FB8DC7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F7408F68-D251-4D6C-996A-B25088E210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0.879000000000001</c:v>
                </c:pt>
                <c:pt idx="1">
                  <c:v>44.436199999999999</c:v>
                </c:pt>
              </c:numCache>
            </c:numRef>
          </c:xVal>
          <c:yVal>
            <c:numRef>
              <c:f>Sheet1!$B$2:$B$3</c:f>
              <c:numCache>
                <c:formatCode>General</c:formatCode>
                <c:ptCount val="2"/>
                <c:pt idx="0">
                  <c:v>0.92900000000000005</c:v>
                </c:pt>
                <c:pt idx="1">
                  <c:v>1.3420000000000001</c:v>
                </c:pt>
              </c:numCache>
            </c:numRef>
          </c:yVal>
          <c:bubbleSize>
            <c:numRef>
              <c:f>Sheet1!$C$2:$C$3</c:f>
              <c:numCache>
                <c:formatCode>General</c:formatCode>
                <c:ptCount val="2"/>
                <c:pt idx="0">
                  <c:v>79359</c:v>
                </c:pt>
                <c:pt idx="1">
                  <c:v>23329</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29D45C-CCD0-4462-BBDA-4BD8A525DC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7A2CF8-2DE5-4B0D-8A2B-655858EBEA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6140AB-3377-48A1-BC41-65953E05E5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EF2653-8D39-45D9-A8C3-9F0C05ED93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04ED38-5121-45FC-A9FA-24037558D3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E0E4E5-EFCF-4C50-A860-71FEEB5CD9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8ED3D6-DFF0-4449-A93F-725453D2A2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E3A67A-4A96-4A4B-82D9-CE0A8112D0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61360000000002</c:v>
                </c:pt>
                <c:pt idx="1">
                  <c:v>157.7688</c:v>
                </c:pt>
                <c:pt idx="2">
                  <c:v>97.39</c:v>
                </c:pt>
                <c:pt idx="3">
                  <c:v>39.217599999999997</c:v>
                </c:pt>
                <c:pt idx="4">
                  <c:v>241.33330000000001</c:v>
                </c:pt>
                <c:pt idx="5">
                  <c:v>65.263900000000007</c:v>
                </c:pt>
                <c:pt idx="6">
                  <c:v>300.57139999999998</c:v>
                </c:pt>
                <c:pt idx="7">
                  <c:v>253.21430000000001</c:v>
                </c:pt>
              </c:numCache>
            </c:numRef>
          </c:xVal>
          <c:yVal>
            <c:numRef>
              <c:f>Sheet1!$B$2:$B$9</c:f>
              <c:numCache>
                <c:formatCode>General</c:formatCode>
                <c:ptCount val="8"/>
                <c:pt idx="0">
                  <c:v>1.825</c:v>
                </c:pt>
                <c:pt idx="1">
                  <c:v>0.94199999999999995</c:v>
                </c:pt>
                <c:pt idx="2">
                  <c:v>0.63200000000000001</c:v>
                </c:pt>
                <c:pt idx="3">
                  <c:v>0.26800000000000002</c:v>
                </c:pt>
                <c:pt idx="4">
                  <c:v>1.3640000000000001</c:v>
                </c:pt>
                <c:pt idx="5">
                  <c:v>0.432</c:v>
                </c:pt>
                <c:pt idx="6">
                  <c:v>1.754</c:v>
                </c:pt>
                <c:pt idx="7">
                  <c:v>1.4770000000000001</c:v>
                </c:pt>
              </c:numCache>
            </c:numRef>
          </c:yVal>
          <c:bubbleSize>
            <c:numRef>
              <c:f>Sheet1!$C$2:$C$9</c:f>
              <c:numCache>
                <c:formatCode>General</c:formatCode>
                <c:ptCount val="8"/>
                <c:pt idx="0">
                  <c:v>77471</c:v>
                </c:pt>
                <c:pt idx="1">
                  <c:v>27294</c:v>
                </c:pt>
                <c:pt idx="2">
                  <c:v>19478</c:v>
                </c:pt>
                <c:pt idx="3">
                  <c:v>7569</c:v>
                </c:pt>
                <c:pt idx="4">
                  <c:v>5792</c:v>
                </c:pt>
                <c:pt idx="5">
                  <c:v>4699</c:v>
                </c:pt>
                <c:pt idx="6">
                  <c:v>4208</c:v>
                </c:pt>
                <c:pt idx="7">
                  <c:v>354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iper Heidsieck</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1"/>
          <c:min val="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0DB792F-C3C7-49AD-BBB4-12EC22DE30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758295E-6378-40E2-A53B-A62D7A6DC7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5760563-3C8A-46C9-BD34-280E977C65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96D9B83-75D0-4E0F-A99F-2C55BFF767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978FB4C-F1BB-469C-B7EC-F131B4D08F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153C4C9-9C5B-47DD-AF0E-BB6D02C767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82109AC-C380-4454-A097-B7DE0E72CB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E90400B-7F30-48A4-A2B5-4DE7AED85A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33199999999994</c:v>
                </c:pt>
                <c:pt idx="1">
                  <c:v>56.6633</c:v>
                </c:pt>
                <c:pt idx="2">
                  <c:v>37.4512</c:v>
                </c:pt>
                <c:pt idx="3">
                  <c:v>27.365200000000002</c:v>
                </c:pt>
                <c:pt idx="4">
                  <c:v>82.421099999999996</c:v>
                </c:pt>
                <c:pt idx="5">
                  <c:v>38.498600000000003</c:v>
                </c:pt>
                <c:pt idx="6">
                  <c:v>42.989699999999999</c:v>
                </c:pt>
                <c:pt idx="7">
                  <c:v>37.436</c:v>
                </c:pt>
              </c:numCache>
            </c:numRef>
          </c:xVal>
          <c:yVal>
            <c:numRef>
              <c:f>Sheet1!$B$2:$B$9</c:f>
              <c:numCache>
                <c:formatCode>General</c:formatCode>
                <c:ptCount val="8"/>
                <c:pt idx="0">
                  <c:v>1.633</c:v>
                </c:pt>
                <c:pt idx="1">
                  <c:v>1.0780000000000001</c:v>
                </c:pt>
                <c:pt idx="2">
                  <c:v>0.64200000000000002</c:v>
                </c:pt>
                <c:pt idx="3">
                  <c:v>0.49299999999999999</c:v>
                </c:pt>
                <c:pt idx="4">
                  <c:v>1.3740000000000001</c:v>
                </c:pt>
                <c:pt idx="5">
                  <c:v>0.66900000000000004</c:v>
                </c:pt>
                <c:pt idx="6">
                  <c:v>0.85</c:v>
                </c:pt>
                <c:pt idx="7">
                  <c:v>0.63500000000000001</c:v>
                </c:pt>
              </c:numCache>
            </c:numRef>
          </c:yVal>
          <c:bubbleSize>
            <c:numRef>
              <c:f>Sheet1!$C$2:$C$9</c:f>
              <c:numCache>
                <c:formatCode>General</c:formatCode>
                <c:ptCount val="8"/>
                <c:pt idx="0">
                  <c:v>89712</c:v>
                </c:pt>
                <c:pt idx="1">
                  <c:v>39381</c:v>
                </c:pt>
                <c:pt idx="2">
                  <c:v>27639</c:v>
                </c:pt>
                <c:pt idx="3">
                  <c:v>19484</c:v>
                </c:pt>
                <c:pt idx="4">
                  <c:v>18792</c:v>
                </c:pt>
                <c:pt idx="5">
                  <c:v>13744</c:v>
                </c:pt>
                <c:pt idx="6">
                  <c:v>8340</c:v>
                </c:pt>
                <c:pt idx="7">
                  <c:v>789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3"/>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65BFF28-01C4-45E7-A996-53FB85747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15071533-6DD1-44E6-89D9-7F2FC74C4B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5FB05131-BDA6-4F52-BB71-6429D26314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A2185F4-E517-4EF5-9BD9-42775AA313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C9ACD30-7D29-4E5E-BF39-DE98EA6D75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1DBF82D-A2AD-40C6-B98B-99400EB1B0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7143C8A-A878-424F-BEC8-20339308E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6FC5E36-7637-41D6-80C6-A2C1D3DCCF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435700000000001</c:v>
                </c:pt>
              </c:numCache>
            </c:numRef>
          </c:xVal>
          <c:yVal>
            <c:numRef>
              <c:f>Sheet1!$B$2:$B$2</c:f>
              <c:numCache>
                <c:formatCode>General</c:formatCode>
                <c:ptCount val="1"/>
                <c:pt idx="0">
                  <c:v>1</c:v>
                </c:pt>
              </c:numCache>
            </c:numRef>
          </c:yVal>
          <c:bubbleSize>
            <c:numRef>
              <c:f>Sheet1!$C$2:$C$2</c:f>
              <c:numCache>
                <c:formatCode>General</c:formatCode>
                <c:ptCount val="1"/>
                <c:pt idx="0">
                  <c:v>20606</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4C92721A-07BF-4FE7-9A69-B2E6E88D2F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AD39D82-29AF-4002-8BCC-74848D0455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0EC0E38-BCDA-41D6-987D-7D3D8091EF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4D6DDDA-8162-4595-9B5E-14031F6EE1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FA1A3E9-DCAD-405C-941C-CF67F6A6A0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4C63326C-C213-4522-94E2-0F81702329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8D5C93BD-956D-4C5B-8072-66BE7F58DC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7597953D-2019-44CB-9848-1B1FDA8E44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154</c:v>
                </c:pt>
                <c:pt idx="1">
                  <c:v>9.2040000000000006</c:v>
                </c:pt>
                <c:pt idx="2">
                  <c:v>12.408200000000001</c:v>
                </c:pt>
                <c:pt idx="3">
                  <c:v>6.5754999999999999</c:v>
                </c:pt>
              </c:numCache>
            </c:numRef>
          </c:xVal>
          <c:yVal>
            <c:numRef>
              <c:f>Sheet1!$B$2:$B$5</c:f>
              <c:numCache>
                <c:formatCode>General</c:formatCode>
                <c:ptCount val="4"/>
                <c:pt idx="0">
                  <c:v>1.325</c:v>
                </c:pt>
                <c:pt idx="1">
                  <c:v>1.06</c:v>
                </c:pt>
                <c:pt idx="2">
                  <c:v>1.109</c:v>
                </c:pt>
                <c:pt idx="3">
                  <c:v>0.73799999999999999</c:v>
                </c:pt>
              </c:numCache>
            </c:numRef>
          </c:yVal>
          <c:bubbleSize>
            <c:numRef>
              <c:f>Sheet1!$C$2:$C$5</c:f>
              <c:numCache>
                <c:formatCode>General</c:formatCode>
                <c:ptCount val="4"/>
                <c:pt idx="0">
                  <c:v>29406</c:v>
                </c:pt>
                <c:pt idx="1">
                  <c:v>12361</c:v>
                </c:pt>
                <c:pt idx="2">
                  <c:v>5472</c:v>
                </c:pt>
                <c:pt idx="3">
                  <c:v>2525</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pt idx="3">
                    <c:v>Vilavero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629E40-EEED-43F9-9ABD-F0779DCC94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344E52-82CC-4BB6-8FBF-4C570BA283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F5D736-47A5-4C9A-A3D9-48D62BF1BB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F3F4BC8-4631-4AB8-9084-3AE1629560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5553BC7-13F3-427A-9B79-641C79EFA5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69F89A0-0F82-4A13-AD32-DC5974EEA5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14A1B78-6D84-4A04-AF0A-5417E323FC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0610CA-20DB-4816-98E2-E0B059EA3E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72000000000001</c:v>
                </c:pt>
                <c:pt idx="1">
                  <c:v>11.5655</c:v>
                </c:pt>
                <c:pt idx="2">
                  <c:v>13.4473</c:v>
                </c:pt>
              </c:numCache>
            </c:numRef>
          </c:xVal>
          <c:yVal>
            <c:numRef>
              <c:f>Sheet1!$B$2:$B$4</c:f>
              <c:numCache>
                <c:formatCode>General</c:formatCode>
                <c:ptCount val="3"/>
                <c:pt idx="0">
                  <c:v>0.97799999999999998</c:v>
                </c:pt>
                <c:pt idx="1">
                  <c:v>1.0169999999999999</c:v>
                </c:pt>
                <c:pt idx="2">
                  <c:v>1.171</c:v>
                </c:pt>
              </c:numCache>
            </c:numRef>
          </c:yVal>
          <c:bubbleSize>
            <c:numRef>
              <c:f>Sheet1!$C$2:$C$4</c:f>
              <c:numCache>
                <c:formatCode>General</c:formatCode>
                <c:ptCount val="3"/>
                <c:pt idx="0">
                  <c:v>15337</c:v>
                </c:pt>
                <c:pt idx="1">
                  <c:v>8304</c:v>
                </c:pt>
                <c:pt idx="2">
                  <c:v>4720</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96DA9B3-EF7B-47D6-B35F-B97C1F360F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A6041A3E-EA86-4209-9651-D0C7E10FDC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A533A23D-47FE-472E-92F8-D75F8D2C1F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9C3FF919-0455-409C-B2F3-B7F7BFC344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DE7288DF-9568-4B44-A8E0-3E8D1F5BF0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C50F6F58-9268-4235-AB9E-124D86EF7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2099B48B-06B8-4F7B-AAFD-21D3BC4D2A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DE51542-9EA5-40D7-AA03-EDAE8F91AC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843299999999999</c:v>
                </c:pt>
              </c:numCache>
            </c:numRef>
          </c:xVal>
          <c:yVal>
            <c:numRef>
              <c:f>Sheet1!$B$2:$B$2</c:f>
              <c:numCache>
                <c:formatCode>General</c:formatCode>
                <c:ptCount val="1"/>
                <c:pt idx="0">
                  <c:v>1.3560000000000001</c:v>
                </c:pt>
              </c:numCache>
            </c:numRef>
          </c:yVal>
          <c:bubbleSize>
            <c:numRef>
              <c:f>Sheet1!$C$2:$C$2</c:f>
              <c:numCache>
                <c:formatCode>General</c:formatCode>
                <c:ptCount val="1"/>
                <c:pt idx="0">
                  <c:v>2151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01452C1-671F-4A3F-BC33-A21D0A3822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40629CF-A2B5-404F-8106-3D944C61E1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B3B7D533-F400-42CE-B0FE-B44D2D7C66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9DC6DCDB-760B-4B48-B688-7D6048B43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D22CC26-F1DC-4E70-9881-F0B46B0A68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42CE453-5D4D-482F-BBE5-C3D540001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D1F0873-D1FE-4BF1-812B-CD245B49B7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F46BA1C-B163-4C9B-B33C-97E30741D5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15</c:v>
                </c:pt>
                <c:pt idx="1">
                  <c:v>10.521699999999999</c:v>
                </c:pt>
              </c:numCache>
            </c:numRef>
          </c:xVal>
          <c:yVal>
            <c:numRef>
              <c:f>Sheet1!$B$2:$B$3</c:f>
              <c:numCache>
                <c:formatCode>General</c:formatCode>
                <c:ptCount val="2"/>
                <c:pt idx="0">
                  <c:v>1.0229999999999999</c:v>
                </c:pt>
                <c:pt idx="1">
                  <c:v>0.80800000000000005</c:v>
                </c:pt>
              </c:numCache>
            </c:numRef>
          </c:yVal>
          <c:bubbleSize>
            <c:numRef>
              <c:f>Sheet1!$C$2:$C$3</c:f>
              <c:numCache>
                <c:formatCode>General</c:formatCode>
                <c:ptCount val="2"/>
                <c:pt idx="0">
                  <c:v>2512</c:v>
                </c:pt>
                <c:pt idx="1">
                  <c:v>242</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19D3E6-18AF-4749-BF9D-10EA8FAD2C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E386A2-0138-468E-91B5-1D754E5316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C3C089-4F61-4CA2-BD27-CBBE60C22A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F6D22A-AC15-4934-81F5-8B44B62C30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A52E52-F9C4-40BB-BE38-BDA4BA31D1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8CE876-D285-4374-AF59-1D114DC359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C440AF-6278-4316-88BF-2F7B11A7D0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7F1BB0-5442-47E9-ACC4-09FE186CF2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75000000000006</c:v>
                </c:pt>
                <c:pt idx="1">
                  <c:v>23.590299999999999</c:v>
                </c:pt>
                <c:pt idx="2">
                  <c:v>50.235199999999999</c:v>
                </c:pt>
                <c:pt idx="3">
                  <c:v>31.48</c:v>
                </c:pt>
                <c:pt idx="4">
                  <c:v>52.412700000000001</c:v>
                </c:pt>
                <c:pt idx="5">
                  <c:v>32.894399999999997</c:v>
                </c:pt>
                <c:pt idx="6">
                  <c:v>29.253399999999999</c:v>
                </c:pt>
                <c:pt idx="7">
                  <c:v>38.716000000000001</c:v>
                </c:pt>
              </c:numCache>
            </c:numRef>
          </c:xVal>
          <c:yVal>
            <c:numRef>
              <c:f>Sheet1!$B$2:$B$9</c:f>
              <c:numCache>
                <c:formatCode>General</c:formatCode>
                <c:ptCount val="8"/>
                <c:pt idx="0">
                  <c:v>1.9550000000000001</c:v>
                </c:pt>
                <c:pt idx="1">
                  <c:v>0.67800000000000005</c:v>
                </c:pt>
                <c:pt idx="2">
                  <c:v>1.403</c:v>
                </c:pt>
                <c:pt idx="3">
                  <c:v>0.90100000000000002</c:v>
                </c:pt>
                <c:pt idx="4">
                  <c:v>1.34</c:v>
                </c:pt>
                <c:pt idx="5">
                  <c:v>0.91600000000000004</c:v>
                </c:pt>
                <c:pt idx="6">
                  <c:v>0.83599999999999997</c:v>
                </c:pt>
                <c:pt idx="7">
                  <c:v>1.107</c:v>
                </c:pt>
              </c:numCache>
            </c:numRef>
          </c:yVal>
          <c:bubbleSize>
            <c:numRef>
              <c:f>Sheet1!$C$2:$C$9</c:f>
              <c:numCache>
                <c:formatCode>General</c:formatCode>
                <c:ptCount val="8"/>
                <c:pt idx="0">
                  <c:v>3453150</c:v>
                </c:pt>
                <c:pt idx="1">
                  <c:v>1317521</c:v>
                </c:pt>
                <c:pt idx="2">
                  <c:v>1108641</c:v>
                </c:pt>
                <c:pt idx="3">
                  <c:v>730304</c:v>
                </c:pt>
                <c:pt idx="4">
                  <c:v>682885</c:v>
                </c:pt>
                <c:pt idx="5">
                  <c:v>520981</c:v>
                </c:pt>
                <c:pt idx="6">
                  <c:v>468611</c:v>
                </c:pt>
                <c:pt idx="7">
                  <c:v>46784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5F1C5D-9412-4EEA-9FA4-40BFAC5A76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ACBAE8-BE78-41CF-A325-ACD188867A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7975B9-D163-458F-8D44-A47C59A36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4C549E-09A1-446E-90C6-4AC79FBC19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5B2249-24DB-4C2A-9A02-7B4635879B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D8E5F4-87A8-4899-8144-D7BDE4B3E8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4E457C-1D1E-406F-A0E4-8FA1339736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A14C1C-AB73-405E-9161-80150F51F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277500000000003</c:v>
                </c:pt>
                <c:pt idx="1">
                  <c:v>39.03</c:v>
                </c:pt>
                <c:pt idx="2">
                  <c:v>35.237200000000001</c:v>
                </c:pt>
                <c:pt idx="3">
                  <c:v>58.893099999999997</c:v>
                </c:pt>
                <c:pt idx="4">
                  <c:v>46.434600000000003</c:v>
                </c:pt>
                <c:pt idx="5">
                  <c:v>52.797199999999997</c:v>
                </c:pt>
                <c:pt idx="6">
                  <c:v>37.828899999999997</c:v>
                </c:pt>
                <c:pt idx="7">
                  <c:v>75.531400000000005</c:v>
                </c:pt>
              </c:numCache>
            </c:numRef>
          </c:xVal>
          <c:yVal>
            <c:numRef>
              <c:f>Sheet1!$B$2:$B$9</c:f>
              <c:numCache>
                <c:formatCode>General</c:formatCode>
                <c:ptCount val="8"/>
                <c:pt idx="0">
                  <c:v>1.3140000000000001</c:v>
                </c:pt>
                <c:pt idx="1">
                  <c:v>0.54800000000000004</c:v>
                </c:pt>
                <c:pt idx="2">
                  <c:v>0.47499999999999998</c:v>
                </c:pt>
                <c:pt idx="3">
                  <c:v>0.82</c:v>
                </c:pt>
                <c:pt idx="4">
                  <c:v>0.626</c:v>
                </c:pt>
                <c:pt idx="5">
                  <c:v>0.70899999999999996</c:v>
                </c:pt>
                <c:pt idx="6">
                  <c:v>0.51</c:v>
                </c:pt>
                <c:pt idx="7">
                  <c:v>1.016</c:v>
                </c:pt>
              </c:numCache>
            </c:numRef>
          </c:yVal>
          <c:bubbleSize>
            <c:numRef>
              <c:f>Sheet1!$C$2:$C$9</c:f>
              <c:numCache>
                <c:formatCode>General</c:formatCode>
                <c:ptCount val="8"/>
                <c:pt idx="0">
                  <c:v>3647322</c:v>
                </c:pt>
                <c:pt idx="1">
                  <c:v>359310</c:v>
                </c:pt>
                <c:pt idx="2">
                  <c:v>311285</c:v>
                </c:pt>
                <c:pt idx="3">
                  <c:v>215961</c:v>
                </c:pt>
                <c:pt idx="4">
                  <c:v>195397</c:v>
                </c:pt>
                <c:pt idx="5">
                  <c:v>139279</c:v>
                </c:pt>
                <c:pt idx="6">
                  <c:v>115643</c:v>
                </c:pt>
                <c:pt idx="7">
                  <c:v>1021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8759857-7E97-40CD-A50C-5177614A23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3A28017-C573-4A5A-AE85-A3B6F69EDD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2F229A9-123C-4E2F-A2A9-E690568B0C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73C8912-C8A1-48ED-94EF-627BE94796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17F5029-3192-4399-BD99-54011B9FEA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2061B29-A570-42E4-9243-80C65FC975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027B941-8978-451F-B81E-36B391F5C3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088EB44-6EA2-46DB-885C-440D4E88F3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156300000000002</c:v>
                </c:pt>
                <c:pt idx="1">
                  <c:v>22.1584</c:v>
                </c:pt>
                <c:pt idx="2">
                  <c:v>47.828200000000002</c:v>
                </c:pt>
                <c:pt idx="3">
                  <c:v>48.481099999999998</c:v>
                </c:pt>
                <c:pt idx="4">
                  <c:v>29.301100000000002</c:v>
                </c:pt>
                <c:pt idx="5">
                  <c:v>37.0914</c:v>
                </c:pt>
                <c:pt idx="6">
                  <c:v>51.601100000000002</c:v>
                </c:pt>
                <c:pt idx="7">
                  <c:v>29.787600000000001</c:v>
                </c:pt>
              </c:numCache>
            </c:numRef>
          </c:xVal>
          <c:yVal>
            <c:numRef>
              <c:f>Sheet1!$B$2:$B$9</c:f>
              <c:numCache>
                <c:formatCode>General</c:formatCode>
                <c:ptCount val="8"/>
                <c:pt idx="0">
                  <c:v>1.4279999999999999</c:v>
                </c:pt>
                <c:pt idx="1">
                  <c:v>0.56100000000000005</c:v>
                </c:pt>
                <c:pt idx="2">
                  <c:v>1.179</c:v>
                </c:pt>
                <c:pt idx="3">
                  <c:v>1.0920000000000001</c:v>
                </c:pt>
                <c:pt idx="4">
                  <c:v>0.74</c:v>
                </c:pt>
                <c:pt idx="5">
                  <c:v>0.93700000000000006</c:v>
                </c:pt>
                <c:pt idx="6">
                  <c:v>1.151</c:v>
                </c:pt>
                <c:pt idx="7">
                  <c:v>0.78400000000000003</c:v>
                </c:pt>
              </c:numCache>
            </c:numRef>
          </c:yVal>
          <c:bubbleSize>
            <c:numRef>
              <c:f>Sheet1!$C$2:$C$9</c:f>
              <c:numCache>
                <c:formatCode>General</c:formatCode>
                <c:ptCount val="8"/>
                <c:pt idx="0">
                  <c:v>6106691</c:v>
                </c:pt>
                <c:pt idx="1">
                  <c:v>3088765</c:v>
                </c:pt>
                <c:pt idx="2">
                  <c:v>2973050</c:v>
                </c:pt>
                <c:pt idx="3">
                  <c:v>1954226</c:v>
                </c:pt>
                <c:pt idx="4">
                  <c:v>1391478</c:v>
                </c:pt>
                <c:pt idx="5">
                  <c:v>1230508</c:v>
                </c:pt>
                <c:pt idx="6">
                  <c:v>1142706</c:v>
                </c:pt>
                <c:pt idx="7">
                  <c:v>114122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Taittinger</c:v>
                  </c:pt>
                  <c:pt idx="7">
                    <c:v>Canard Duchên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3B911E1-0300-4FB0-B94D-01AF9962F2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C7EE03E-83A4-4EED-9F0E-6539DE7231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63D6792-D760-4C77-8C76-2CE5067561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0397894-1036-404C-A99F-8447ECBF75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5E36329B-93A0-470F-9E68-DA4EA49F87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CB81C1FA-F3CA-492B-B79F-DA740058CB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C841926-26AF-474F-990A-D7E0D30A28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C11450D-C2FD-45AF-B74A-4152AFE9CB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662</c:v>
                </c:pt>
                <c:pt idx="1">
                  <c:v>30.448499999999999</c:v>
                </c:pt>
                <c:pt idx="2">
                  <c:v>31.352499999999999</c:v>
                </c:pt>
                <c:pt idx="3">
                  <c:v>34.601999999999997</c:v>
                </c:pt>
              </c:numCache>
            </c:numRef>
          </c:xVal>
          <c:yVal>
            <c:numRef>
              <c:f>Sheet1!$B$2:$B$5</c:f>
              <c:numCache>
                <c:formatCode>General</c:formatCode>
                <c:ptCount val="4"/>
                <c:pt idx="0">
                  <c:v>0.98799999999999999</c:v>
                </c:pt>
                <c:pt idx="1">
                  <c:v>1.014</c:v>
                </c:pt>
                <c:pt idx="2">
                  <c:v>1.044</c:v>
                </c:pt>
                <c:pt idx="3">
                  <c:v>1.097</c:v>
                </c:pt>
              </c:numCache>
            </c:numRef>
          </c:yVal>
          <c:bubbleSize>
            <c:numRef>
              <c:f>Sheet1!$C$2:$C$5</c:f>
              <c:numCache>
                <c:formatCode>General</c:formatCode>
                <c:ptCount val="4"/>
                <c:pt idx="0">
                  <c:v>1479719</c:v>
                </c:pt>
                <c:pt idx="1">
                  <c:v>386635</c:v>
                </c:pt>
                <c:pt idx="2">
                  <c:v>205547</c:v>
                </c:pt>
                <c:pt idx="3">
                  <c:v>456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DA540E1E-127B-4E50-9514-A8E5940486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3F226F5C-170C-4229-A822-B1DD96758C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1DF959E-7213-4082-967C-B47E268A2D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DB59F546-BE9E-4884-94AD-D16B0DD90F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4F1F8FD4-8DA5-41AA-9118-37F93494FA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B2B8AECD-00F2-4442-8F65-5363AB4832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327E925-76E1-4A18-97B1-DF9EECE67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9DCDA325-9EDC-41D4-99F7-6EAA0AEB1C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982</c:v>
                </c:pt>
                <c:pt idx="1">
                  <c:v>43.2714</c:v>
                </c:pt>
                <c:pt idx="2">
                  <c:v>38.2958</c:v>
                </c:pt>
              </c:numCache>
            </c:numRef>
          </c:xVal>
          <c:yVal>
            <c:numRef>
              <c:f>Sheet1!$B$2:$B$4</c:f>
              <c:numCache>
                <c:formatCode>General</c:formatCode>
                <c:ptCount val="3"/>
                <c:pt idx="0">
                  <c:v>0.93600000000000005</c:v>
                </c:pt>
                <c:pt idx="1">
                  <c:v>1.298</c:v>
                </c:pt>
                <c:pt idx="2">
                  <c:v>1.1539999999999999</c:v>
                </c:pt>
              </c:numCache>
            </c:numRef>
          </c:yVal>
          <c:bubbleSize>
            <c:numRef>
              <c:f>Sheet1!$C$2:$C$4</c:f>
              <c:numCache>
                <c:formatCode>General</c:formatCode>
                <c:ptCount val="3"/>
                <c:pt idx="0">
                  <c:v>1328637</c:v>
                </c:pt>
                <c:pt idx="1">
                  <c:v>380745</c:v>
                </c:pt>
                <c:pt idx="2">
                  <c:v>21752</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989125-8182-4216-A6F6-8FD27241C1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F48CC9-D5C2-4217-88B8-73DA8E4F80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CF609D-8602-4B3C-8A32-74AD6A579E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7629A9-2723-4225-80CB-1BD1CFB9DF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E3D965-AE6B-4B89-A9B1-6CDDD3420D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DB6D06-9404-4520-AECB-4060177AEF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08D256-A9E2-41C4-8F28-42D02D18AB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8912C1-F500-4C33-BCEE-7E74C6889F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2851</c:v>
                </c:pt>
                <c:pt idx="1">
                  <c:v>167.43950000000001</c:v>
                </c:pt>
                <c:pt idx="2">
                  <c:v>92.243399999999994</c:v>
                </c:pt>
                <c:pt idx="3">
                  <c:v>37.205300000000001</c:v>
                </c:pt>
                <c:pt idx="4">
                  <c:v>236.89070000000001</c:v>
                </c:pt>
                <c:pt idx="5">
                  <c:v>62.492800000000003</c:v>
                </c:pt>
                <c:pt idx="6">
                  <c:v>199.75</c:v>
                </c:pt>
                <c:pt idx="7">
                  <c:v>262.91759999999999</c:v>
                </c:pt>
              </c:numCache>
            </c:numRef>
          </c:xVal>
          <c:yVal>
            <c:numRef>
              <c:f>Sheet1!$B$2:$B$9</c:f>
              <c:numCache>
                <c:formatCode>General</c:formatCode>
                <c:ptCount val="8"/>
                <c:pt idx="0">
                  <c:v>1.927</c:v>
                </c:pt>
                <c:pt idx="1">
                  <c:v>1.2230000000000001</c:v>
                </c:pt>
                <c:pt idx="2">
                  <c:v>0.68899999999999995</c:v>
                </c:pt>
                <c:pt idx="3">
                  <c:v>0.27700000000000002</c:v>
                </c:pt>
                <c:pt idx="4">
                  <c:v>1.69</c:v>
                </c:pt>
                <c:pt idx="5">
                  <c:v>0.46300000000000002</c:v>
                </c:pt>
                <c:pt idx="6">
                  <c:v>1.421</c:v>
                </c:pt>
                <c:pt idx="7">
                  <c:v>1.605</c:v>
                </c:pt>
              </c:numCache>
            </c:numRef>
          </c:yVal>
          <c:bubbleSize>
            <c:numRef>
              <c:f>Sheet1!$C$2:$C$9</c:f>
              <c:numCache>
                <c:formatCode>General</c:formatCode>
                <c:ptCount val="8"/>
                <c:pt idx="0">
                  <c:v>723853</c:v>
                </c:pt>
                <c:pt idx="1">
                  <c:v>455603</c:v>
                </c:pt>
                <c:pt idx="2">
                  <c:v>160319</c:v>
                </c:pt>
                <c:pt idx="3">
                  <c:v>138478</c:v>
                </c:pt>
                <c:pt idx="4">
                  <c:v>58512</c:v>
                </c:pt>
                <c:pt idx="5">
                  <c:v>51869</c:v>
                </c:pt>
                <c:pt idx="6">
                  <c:v>31960</c:v>
                </c:pt>
                <c:pt idx="7">
                  <c:v>2234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Veuve Clicquot</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6"/>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9EF58D9-E510-49DB-9CFD-4B06062423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0AA7133-6C8E-4983-B00B-F5E06B2D5D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E2D7AB1-5211-4104-AF67-ED69D82405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44B429F-9580-468B-B595-B6599A424C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76D77B9-2E39-4EF5-A1D8-84EEEF0908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DC40D32-BE43-4BA5-B04B-618142B970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EF8D604-C626-4A2B-9BC3-0F3C237457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5880A13-EB95-4B98-88E9-0B72055795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459900000000005</c:v>
                </c:pt>
                <c:pt idx="1">
                  <c:v>52.298299999999998</c:v>
                </c:pt>
                <c:pt idx="2">
                  <c:v>37.457799999999999</c:v>
                </c:pt>
                <c:pt idx="3">
                  <c:v>26.686</c:v>
                </c:pt>
                <c:pt idx="4">
                  <c:v>80.477099999999993</c:v>
                </c:pt>
                <c:pt idx="5">
                  <c:v>37.464500000000001</c:v>
                </c:pt>
                <c:pt idx="6">
                  <c:v>40.722099999999998</c:v>
                </c:pt>
                <c:pt idx="7">
                  <c:v>36.009099999999997</c:v>
                </c:pt>
              </c:numCache>
            </c:numRef>
          </c:xVal>
          <c:yVal>
            <c:numRef>
              <c:f>Sheet1!$B$2:$B$9</c:f>
              <c:numCache>
                <c:formatCode>General</c:formatCode>
                <c:ptCount val="8"/>
                <c:pt idx="0">
                  <c:v>1.6060000000000001</c:v>
                </c:pt>
                <c:pt idx="1">
                  <c:v>1.0249999999999999</c:v>
                </c:pt>
                <c:pt idx="2">
                  <c:v>0.64900000000000002</c:v>
                </c:pt>
                <c:pt idx="3">
                  <c:v>0.499</c:v>
                </c:pt>
                <c:pt idx="4">
                  <c:v>1.393</c:v>
                </c:pt>
                <c:pt idx="5">
                  <c:v>0.64900000000000002</c:v>
                </c:pt>
                <c:pt idx="6">
                  <c:v>0.83799999999999997</c:v>
                </c:pt>
                <c:pt idx="7">
                  <c:v>0.624</c:v>
                </c:pt>
              </c:numCache>
            </c:numRef>
          </c:yVal>
          <c:bubbleSize>
            <c:numRef>
              <c:f>Sheet1!$C$2:$C$9</c:f>
              <c:numCache>
                <c:formatCode>General</c:formatCode>
                <c:ptCount val="8"/>
                <c:pt idx="0">
                  <c:v>846795</c:v>
                </c:pt>
                <c:pt idx="1">
                  <c:v>409757</c:v>
                </c:pt>
                <c:pt idx="2">
                  <c:v>299063</c:v>
                </c:pt>
                <c:pt idx="3">
                  <c:v>268461</c:v>
                </c:pt>
                <c:pt idx="4">
                  <c:v>258734</c:v>
                </c:pt>
                <c:pt idx="5">
                  <c:v>163645</c:v>
                </c:pt>
                <c:pt idx="6">
                  <c:v>140369</c:v>
                </c:pt>
                <c:pt idx="7">
                  <c:v>130497</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D37A390-4108-410E-9D45-3DECEF0006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92AAC8AB-6286-4F95-87DF-64C0E5961C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E8F3A70-FC59-44BA-99EB-17FFD5E557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69A11D7-AAB0-4459-965D-030118E9D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2BEA9A1-D30F-4328-8EA2-9E3564D179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466C135-2891-4915-B5B6-C3ECECAA1F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B32882FC-7F42-4E39-B71C-87C66F9ABE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EA42AEB-4CBD-4838-B992-DC63E28F17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76999999999999</c:v>
                </c:pt>
              </c:numCache>
            </c:numRef>
          </c:xVal>
          <c:yVal>
            <c:numRef>
              <c:f>Sheet1!$B$2:$B$2</c:f>
              <c:numCache>
                <c:formatCode>General</c:formatCode>
                <c:ptCount val="1"/>
                <c:pt idx="0">
                  <c:v>1</c:v>
                </c:pt>
              </c:numCache>
            </c:numRef>
          </c:yVal>
          <c:bubbleSize>
            <c:numRef>
              <c:f>Sheet1!$C$2:$C$2</c:f>
              <c:numCache>
                <c:formatCode>General</c:formatCode>
                <c:ptCount val="1"/>
                <c:pt idx="0">
                  <c:v>352518</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4D7C4970-64FA-4AF4-BC2E-0AF1CAA894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D6E9059F-106D-4737-8B2B-7B01E0C467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73953CFE-195F-4DA8-ADB3-A5A701C6D4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7F2B8A3D-4319-499C-999E-6D4E4F7639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D8A7350-26D7-45AE-B66A-8E341EB4DE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BA64E6F1-027A-4B21-A4FE-3D12A88679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D8F77057-29FB-44EB-8804-FA836A48D6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5137E1D3-CB71-4712-A12B-0C3D2989AC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37099999999999</c:v>
                </c:pt>
                <c:pt idx="1">
                  <c:v>9.0905000000000005</c:v>
                </c:pt>
                <c:pt idx="2">
                  <c:v>11.5092</c:v>
                </c:pt>
              </c:numCache>
            </c:numRef>
          </c:xVal>
          <c:yVal>
            <c:numRef>
              <c:f>Sheet1!$B$2:$B$4</c:f>
              <c:numCache>
                <c:formatCode>General</c:formatCode>
                <c:ptCount val="3"/>
                <c:pt idx="0">
                  <c:v>1.264</c:v>
                </c:pt>
                <c:pt idx="1">
                  <c:v>1.0049999999999999</c:v>
                </c:pt>
                <c:pt idx="2">
                  <c:v>1.0629999999999999</c:v>
                </c:pt>
              </c:numCache>
            </c:numRef>
          </c:yVal>
          <c:bubbleSize>
            <c:numRef>
              <c:f>Sheet1!$C$2:$C$4</c:f>
              <c:numCache>
                <c:formatCode>General</c:formatCode>
                <c:ptCount val="3"/>
                <c:pt idx="0">
                  <c:v>428822</c:v>
                </c:pt>
                <c:pt idx="1">
                  <c:v>237189</c:v>
                </c:pt>
                <c:pt idx="2">
                  <c:v>61275</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D81219-CF7B-4AEA-87C3-A580722F3F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375C56-6A7A-4ED8-AE14-66AEC0ACAB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4E7306-6C8A-46F4-B4F1-09AF997095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1BD45B0-BA79-4D1D-8D3A-8BEBD25761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ADCFCC9-3142-49DD-8D1C-73C10EF576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B578B11-253C-4468-A67C-725514AED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A9C574-E7AE-4C49-9861-F2A944AA3F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E3300A1-3D53-4249-8EB9-31EE960EF6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57</c:v>
                </c:pt>
                <c:pt idx="1">
                  <c:v>11.78</c:v>
                </c:pt>
                <c:pt idx="2">
                  <c:v>13.4511</c:v>
                </c:pt>
              </c:numCache>
            </c:numRef>
          </c:xVal>
          <c:yVal>
            <c:numRef>
              <c:f>Sheet1!$B$2:$B$4</c:f>
              <c:numCache>
                <c:formatCode>General</c:formatCode>
                <c:ptCount val="3"/>
                <c:pt idx="0">
                  <c:v>0.95799999999999996</c:v>
                </c:pt>
                <c:pt idx="1">
                  <c:v>0.94699999999999995</c:v>
                </c:pt>
                <c:pt idx="2">
                  <c:v>1.1299999999999999</c:v>
                </c:pt>
              </c:numCache>
            </c:numRef>
          </c:yVal>
          <c:bubbleSize>
            <c:numRef>
              <c:f>Sheet1!$C$2:$C$4</c:f>
              <c:numCache>
                <c:formatCode>General</c:formatCode>
                <c:ptCount val="3"/>
                <c:pt idx="0">
                  <c:v>224587</c:v>
                </c:pt>
                <c:pt idx="1">
                  <c:v>209943</c:v>
                </c:pt>
                <c:pt idx="2">
                  <c:v>122782</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A5FA2D1-A8DE-42FB-8F42-4C7A52E2BE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F3AC4270-F6F6-413A-916B-DA88C1D3EE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C463E9F5-E2DF-4B78-8D5E-C0A11CD06C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B596FC35-DBBE-4505-86CC-A69014B0D6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9CAD2CEB-B013-4616-A387-55B6FDF3E6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E29C3BB1-BECB-44A3-94C3-AF57E00B8B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BB0F57C6-227E-40C0-BAC4-973D99AC5A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42F6BDF5-F88B-4018-967E-49AF16BBB3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89700000000001</c:v>
                </c:pt>
              </c:numCache>
            </c:numRef>
          </c:xVal>
          <c:yVal>
            <c:numRef>
              <c:f>Sheet1!$B$2:$B$2</c:f>
              <c:numCache>
                <c:formatCode>General</c:formatCode>
                <c:ptCount val="1"/>
                <c:pt idx="0">
                  <c:v>1</c:v>
                </c:pt>
              </c:numCache>
            </c:numRef>
          </c:yVal>
          <c:bubbleSize>
            <c:numRef>
              <c:f>Sheet1!$C$2:$C$2</c:f>
              <c:numCache>
                <c:formatCode>General</c:formatCode>
                <c:ptCount val="1"/>
                <c:pt idx="0">
                  <c:v>2379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88B2B8-F4EE-4D04-8F74-74E56C40AC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867F7E-6964-4890-A5E7-BD6D92E608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EB727A-3980-4657-BE86-AEFE82AE55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50BB8BB-21AD-40A9-88A3-32D91CBD13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0145B5-6AD4-4BFF-90C2-6631DFE77A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9627FC-139E-4095-970E-A72F57DFD9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25DBD0-A206-43E9-843B-22A69610E5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20C701-C993-4404-A10C-07853F62E2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515299999999996</c:v>
                </c:pt>
                <c:pt idx="1">
                  <c:v>23.7239</c:v>
                </c:pt>
                <c:pt idx="2">
                  <c:v>49.200299999999999</c:v>
                </c:pt>
                <c:pt idx="3">
                  <c:v>31.5063</c:v>
                </c:pt>
                <c:pt idx="4">
                  <c:v>52.281500000000001</c:v>
                </c:pt>
                <c:pt idx="5">
                  <c:v>32.801400000000001</c:v>
                </c:pt>
                <c:pt idx="6">
                  <c:v>29.312200000000001</c:v>
                </c:pt>
                <c:pt idx="7">
                  <c:v>30.9068</c:v>
                </c:pt>
              </c:numCache>
            </c:numRef>
          </c:xVal>
          <c:yVal>
            <c:numRef>
              <c:f>Sheet1!$B$2:$B$9</c:f>
              <c:numCache>
                <c:formatCode>General</c:formatCode>
                <c:ptCount val="8"/>
                <c:pt idx="0">
                  <c:v>1.9810000000000001</c:v>
                </c:pt>
                <c:pt idx="1">
                  <c:v>0.68899999999999995</c:v>
                </c:pt>
                <c:pt idx="2">
                  <c:v>1.391</c:v>
                </c:pt>
                <c:pt idx="3">
                  <c:v>0.91100000000000003</c:v>
                </c:pt>
                <c:pt idx="4">
                  <c:v>1.335</c:v>
                </c:pt>
                <c:pt idx="5">
                  <c:v>0.92300000000000004</c:v>
                </c:pt>
                <c:pt idx="6">
                  <c:v>0.84799999999999998</c:v>
                </c:pt>
                <c:pt idx="7">
                  <c:v>0.89400000000000002</c:v>
                </c:pt>
              </c:numCache>
            </c:numRef>
          </c:yVal>
          <c:bubbleSize>
            <c:numRef>
              <c:f>Sheet1!$C$2:$C$9</c:f>
              <c:numCache>
                <c:formatCode>General</c:formatCode>
                <c:ptCount val="8"/>
                <c:pt idx="0">
                  <c:v>2733549</c:v>
                </c:pt>
                <c:pt idx="1">
                  <c:v>1023352</c:v>
                </c:pt>
                <c:pt idx="2">
                  <c:v>901841</c:v>
                </c:pt>
                <c:pt idx="3">
                  <c:v>627069</c:v>
                </c:pt>
                <c:pt idx="4">
                  <c:v>511679</c:v>
                </c:pt>
                <c:pt idx="5">
                  <c:v>429337</c:v>
                </c:pt>
                <c:pt idx="6">
                  <c:v>405270</c:v>
                </c:pt>
                <c:pt idx="7">
                  <c:v>37400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0BB8A81-218B-47F8-A6A8-7866AEC3C6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71B0217-7859-4AAC-AD88-35A8529DC2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EAB5090A-0F89-4B3F-95F3-E2826A1B1F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4839338B-57D7-465F-B2CD-8BC9C2446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A77973CB-60E7-40EF-99A5-6D08F5CC19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08D52A5B-4A4A-4635-A2D1-4CDD66B0DD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CDE83F4-D9CF-4F2C-83DD-245E1FCE8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96D25DD-1498-4169-9284-F7E28C5321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323</c:v>
                </c:pt>
                <c:pt idx="1">
                  <c:v>9.3663000000000007</c:v>
                </c:pt>
              </c:numCache>
            </c:numRef>
          </c:xVal>
          <c:yVal>
            <c:numRef>
              <c:f>Sheet1!$B$2:$B$3</c:f>
              <c:numCache>
                <c:formatCode>General</c:formatCode>
                <c:ptCount val="2"/>
                <c:pt idx="0">
                  <c:v>1.018</c:v>
                </c:pt>
                <c:pt idx="1">
                  <c:v>0.88700000000000001</c:v>
                </c:pt>
              </c:numCache>
            </c:numRef>
          </c:yVal>
          <c:bubbleSize>
            <c:numRef>
              <c:f>Sheet1!$C$2:$C$3</c:f>
              <c:numCache>
                <c:formatCode>General</c:formatCode>
                <c:ptCount val="2"/>
                <c:pt idx="0">
                  <c:v>42865</c:v>
                </c:pt>
                <c:pt idx="1">
                  <c:v>5779</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202337-258C-4209-A8C7-C8FF64AC56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EFC107-DC22-4243-8FF2-D517A1A067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DCC237-855F-41A9-A327-B1460F416B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BEB391-DA58-4083-BA25-8801929009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7D52A8-EDB1-4B33-A0CB-13A2ACB40C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E1E182-E27D-40F2-BC18-29D2E937F5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CC5A77-BC14-4D76-A129-5503A230AB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6A9A9F-3FE7-474A-A9DD-8585EC16A8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729699999999994</c:v>
                </c:pt>
                <c:pt idx="1">
                  <c:v>39.805500000000002</c:v>
                </c:pt>
                <c:pt idx="2">
                  <c:v>35.273699999999998</c:v>
                </c:pt>
                <c:pt idx="3">
                  <c:v>60.255800000000001</c:v>
                </c:pt>
                <c:pt idx="4">
                  <c:v>38.656100000000002</c:v>
                </c:pt>
                <c:pt idx="5">
                  <c:v>47.862200000000001</c:v>
                </c:pt>
                <c:pt idx="6">
                  <c:v>235.16220000000001</c:v>
                </c:pt>
                <c:pt idx="7">
                  <c:v>54.452500000000001</c:v>
                </c:pt>
              </c:numCache>
            </c:numRef>
          </c:xVal>
          <c:yVal>
            <c:numRef>
              <c:f>Sheet1!$B$2:$B$9</c:f>
              <c:numCache>
                <c:formatCode>General</c:formatCode>
                <c:ptCount val="8"/>
                <c:pt idx="0">
                  <c:v>1.224</c:v>
                </c:pt>
                <c:pt idx="1">
                  <c:v>0.52300000000000002</c:v>
                </c:pt>
                <c:pt idx="2">
                  <c:v>0.443</c:v>
                </c:pt>
                <c:pt idx="3">
                  <c:v>0.77400000000000002</c:v>
                </c:pt>
                <c:pt idx="4">
                  <c:v>0.48399999999999999</c:v>
                </c:pt>
                <c:pt idx="5">
                  <c:v>0.59299999999999997</c:v>
                </c:pt>
                <c:pt idx="6">
                  <c:v>2.629</c:v>
                </c:pt>
                <c:pt idx="7">
                  <c:v>0.66600000000000004</c:v>
                </c:pt>
              </c:numCache>
            </c:numRef>
          </c:yVal>
          <c:bubbleSize>
            <c:numRef>
              <c:f>Sheet1!$C$2:$C$9</c:f>
              <c:numCache>
                <c:formatCode>General</c:formatCode>
                <c:ptCount val="8"/>
                <c:pt idx="0">
                  <c:v>704092</c:v>
                </c:pt>
                <c:pt idx="1">
                  <c:v>60584</c:v>
                </c:pt>
                <c:pt idx="2">
                  <c:v>33122</c:v>
                </c:pt>
                <c:pt idx="3">
                  <c:v>28742</c:v>
                </c:pt>
                <c:pt idx="4">
                  <c:v>18323</c:v>
                </c:pt>
                <c:pt idx="5">
                  <c:v>17709</c:v>
                </c:pt>
                <c:pt idx="6">
                  <c:v>17402</c:v>
                </c:pt>
                <c:pt idx="7">
                  <c:v>1720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De Bligny</c:v>
                  </c:pt>
                  <c:pt idx="5">
                    <c:v>Henriot</c:v>
                  </c:pt>
                  <c:pt idx="6">
                    <c:v>Taittinger</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2"/>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CB62751-A181-43A0-861A-7751CCE2DC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227A301-165E-40F8-B895-C4FFACD3D1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2F6D22C-2D34-45B7-A7EC-D7491F6530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98CDF36-A2FB-463D-8DE2-9FAD56E4D1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659FED2-5402-4CEC-91B9-2B7722E6E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7E406D7-2ED1-4678-B748-12F752B7FB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74EFC71-EBC3-45DF-9470-7C3C0EE84E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B3B2C17-531F-43B4-8459-359A4D0E4E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297699999999999</c:v>
                </c:pt>
                <c:pt idx="1">
                  <c:v>22.195399999999999</c:v>
                </c:pt>
                <c:pt idx="2">
                  <c:v>49.484299999999998</c:v>
                </c:pt>
                <c:pt idx="3">
                  <c:v>49.416499999999999</c:v>
                </c:pt>
                <c:pt idx="4">
                  <c:v>29.332599999999999</c:v>
                </c:pt>
                <c:pt idx="5">
                  <c:v>53.543199999999999</c:v>
                </c:pt>
                <c:pt idx="6">
                  <c:v>64.374799999999993</c:v>
                </c:pt>
                <c:pt idx="7">
                  <c:v>30.589300000000001</c:v>
                </c:pt>
              </c:numCache>
            </c:numRef>
          </c:xVal>
          <c:yVal>
            <c:numRef>
              <c:f>Sheet1!$B$2:$B$9</c:f>
              <c:numCache>
                <c:formatCode>General</c:formatCode>
                <c:ptCount val="8"/>
                <c:pt idx="0">
                  <c:v>1.4419999999999999</c:v>
                </c:pt>
                <c:pt idx="1">
                  <c:v>0.55400000000000005</c:v>
                </c:pt>
                <c:pt idx="2">
                  <c:v>1.1679999999999999</c:v>
                </c:pt>
                <c:pt idx="3">
                  <c:v>1.0960000000000001</c:v>
                </c:pt>
                <c:pt idx="4">
                  <c:v>0.73799999999999999</c:v>
                </c:pt>
                <c:pt idx="5">
                  <c:v>1.151</c:v>
                </c:pt>
                <c:pt idx="6">
                  <c:v>1.504</c:v>
                </c:pt>
                <c:pt idx="7">
                  <c:v>0.79700000000000004</c:v>
                </c:pt>
              </c:numCache>
            </c:numRef>
          </c:yVal>
          <c:bubbleSize>
            <c:numRef>
              <c:f>Sheet1!$C$2:$C$9</c:f>
              <c:numCache>
                <c:formatCode>General</c:formatCode>
                <c:ptCount val="8"/>
                <c:pt idx="0">
                  <c:v>1010136</c:v>
                </c:pt>
                <c:pt idx="1">
                  <c:v>516597</c:v>
                </c:pt>
                <c:pt idx="2">
                  <c:v>416905</c:v>
                </c:pt>
                <c:pt idx="3">
                  <c:v>259140</c:v>
                </c:pt>
                <c:pt idx="4">
                  <c:v>217736</c:v>
                </c:pt>
                <c:pt idx="5">
                  <c:v>163039</c:v>
                </c:pt>
                <c:pt idx="6">
                  <c:v>152697</c:v>
                </c:pt>
                <c:pt idx="7">
                  <c:v>141139</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Taittinger</c:v>
                  </c:pt>
                  <c:pt idx="6">
                    <c:v>Roederer</c:v>
                  </c:pt>
                  <c:pt idx="7">
                    <c:v>Canard Duchên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CA6E5D9-AA63-4584-8D67-EECC809A78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F995019-7694-43A7-A3E6-8FD724E9AC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45B2BAA-8558-43A4-A65E-46FBC0D8C3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C55C2081-5ABD-4A3F-AE1C-1BDE2F6983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A8B2C508-4A05-4C3B-A46C-3B02457AE7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E31B7B69-12EC-4D1E-8F1F-4466DC8724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F52D76C6-3AA2-416B-B129-FBB1A0C1D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63652F7-5287-4C47-8032-228C546700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3569</c:v>
                </c:pt>
                <c:pt idx="1">
                  <c:v>30.4191</c:v>
                </c:pt>
                <c:pt idx="2">
                  <c:v>31.601700000000001</c:v>
                </c:pt>
                <c:pt idx="3">
                  <c:v>35.307699999999997</c:v>
                </c:pt>
              </c:numCache>
            </c:numRef>
          </c:xVal>
          <c:yVal>
            <c:numRef>
              <c:f>Sheet1!$B$2:$B$5</c:f>
              <c:numCache>
                <c:formatCode>General</c:formatCode>
                <c:ptCount val="4"/>
                <c:pt idx="0">
                  <c:v>0.98099999999999998</c:v>
                </c:pt>
                <c:pt idx="1">
                  <c:v>1.0189999999999999</c:v>
                </c:pt>
                <c:pt idx="2">
                  <c:v>1.048</c:v>
                </c:pt>
                <c:pt idx="3">
                  <c:v>1.0780000000000001</c:v>
                </c:pt>
              </c:numCache>
            </c:numRef>
          </c:yVal>
          <c:bubbleSize>
            <c:numRef>
              <c:f>Sheet1!$C$2:$C$5</c:f>
              <c:numCache>
                <c:formatCode>General</c:formatCode>
                <c:ptCount val="4"/>
                <c:pt idx="0">
                  <c:v>130785</c:v>
                </c:pt>
                <c:pt idx="1">
                  <c:v>29324</c:v>
                </c:pt>
                <c:pt idx="2">
                  <c:v>14600</c:v>
                </c:pt>
                <c:pt idx="3">
                  <c:v>6885</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1B6A465C-1322-4C92-A29E-6263F33457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353AA81-AF76-4075-A369-F430B9A81B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4E942364-D58F-404A-877D-FFAB22B09A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DEA52756-5966-45C4-A3FF-4A43AA81EF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8D13DC0D-12EC-4D3E-906A-33471E9905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F9628751-1856-4FBD-932E-B4D41CA556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FB9AF79-62BB-4AA7-AD2E-2B6C175A8E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4623594-1EAB-4032-A08A-4130132332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59499999999999</c:v>
                </c:pt>
                <c:pt idx="1">
                  <c:v>43.661499999999997</c:v>
                </c:pt>
              </c:numCache>
            </c:numRef>
          </c:xVal>
          <c:yVal>
            <c:numRef>
              <c:f>Sheet1!$B$2:$B$3</c:f>
              <c:numCache>
                <c:formatCode>General</c:formatCode>
                <c:ptCount val="2"/>
                <c:pt idx="0">
                  <c:v>0.93300000000000005</c:v>
                </c:pt>
                <c:pt idx="1">
                  <c:v>1.304</c:v>
                </c:pt>
              </c:numCache>
            </c:numRef>
          </c:yVal>
          <c:bubbleSize>
            <c:numRef>
              <c:f>Sheet1!$C$2:$C$3</c:f>
              <c:numCache>
                <c:formatCode>General</c:formatCode>
                <c:ptCount val="2"/>
                <c:pt idx="0">
                  <c:v>132884</c:v>
                </c:pt>
                <c:pt idx="1">
                  <c:v>39732</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ECA716-5364-4083-8F50-08FD3A3A48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622F34-0AFA-4F74-8F76-643F26EA2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A707E8-C95D-4204-9BC0-3C33793FF5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1388BA-35EB-497B-B671-7A2B3BF47C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3083CB-F016-40FB-99E3-93150C887F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7B999D-3455-4E1C-8E78-01A4DEF313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1C4C60-25A1-4CAE-850F-21C07FE118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C30FF5-10FE-4F59-BA2B-AAE29E52D5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8048</c:v>
                </c:pt>
                <c:pt idx="1">
                  <c:v>204.5564</c:v>
                </c:pt>
                <c:pt idx="2">
                  <c:v>96.085800000000006</c:v>
                </c:pt>
                <c:pt idx="3">
                  <c:v>37.682400000000001</c:v>
                </c:pt>
                <c:pt idx="4">
                  <c:v>264.74290000000002</c:v>
                </c:pt>
                <c:pt idx="5">
                  <c:v>245.7576</c:v>
                </c:pt>
                <c:pt idx="6">
                  <c:v>274.2593</c:v>
                </c:pt>
                <c:pt idx="7">
                  <c:v>65.481899999999996</c:v>
                </c:pt>
              </c:numCache>
            </c:numRef>
          </c:xVal>
          <c:yVal>
            <c:numRef>
              <c:f>Sheet1!$B$2:$B$9</c:f>
              <c:numCache>
                <c:formatCode>General</c:formatCode>
                <c:ptCount val="8"/>
                <c:pt idx="0">
                  <c:v>1.5309999999999999</c:v>
                </c:pt>
                <c:pt idx="1">
                  <c:v>1.1220000000000001</c:v>
                </c:pt>
                <c:pt idx="2">
                  <c:v>0.52200000000000002</c:v>
                </c:pt>
                <c:pt idx="3">
                  <c:v>0.219</c:v>
                </c:pt>
                <c:pt idx="4">
                  <c:v>1.327</c:v>
                </c:pt>
                <c:pt idx="5">
                  <c:v>1.2</c:v>
                </c:pt>
                <c:pt idx="6">
                  <c:v>1.3149999999999999</c:v>
                </c:pt>
                <c:pt idx="7">
                  <c:v>0.35</c:v>
                </c:pt>
              </c:numCache>
            </c:numRef>
          </c:yVal>
          <c:bubbleSize>
            <c:numRef>
              <c:f>Sheet1!$C$2:$C$9</c:f>
              <c:numCache>
                <c:formatCode>General</c:formatCode>
                <c:ptCount val="8"/>
                <c:pt idx="0">
                  <c:v>179697</c:v>
                </c:pt>
                <c:pt idx="1">
                  <c:v>81618</c:v>
                </c:pt>
                <c:pt idx="2">
                  <c:v>25751</c:v>
                </c:pt>
                <c:pt idx="3">
                  <c:v>11983</c:v>
                </c:pt>
                <c:pt idx="4">
                  <c:v>9266</c:v>
                </c:pt>
                <c:pt idx="5">
                  <c:v>8110</c:v>
                </c:pt>
                <c:pt idx="6">
                  <c:v>7405</c:v>
                </c:pt>
                <c:pt idx="7">
                  <c:v>543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Perrier Jouet</c:v>
                  </c:pt>
                  <c:pt idx="5">
                    <c:v>Bollinger</c:v>
                  </c:pt>
                  <c:pt idx="6">
                    <c:v>Piper Heidsieck</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2604518-5A55-43EF-9258-61F9AB3271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B6EABE5-611C-4CCE-B39E-33B8DB9BC4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3552F02-97EC-4D7E-9742-271F302001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FCA4B98-7DDF-4962-A514-9016D55680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380095A-79EA-45DE-BF5B-3ECC73E6A7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4BB82D9-AD7E-4400-A8F2-1E60510213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FD613D0-356F-4B12-A2EA-C607555C9B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6770F0C-21D3-4271-9CE9-2C5BF4B783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240300000000005</c:v>
                </c:pt>
                <c:pt idx="1">
                  <c:v>81.262900000000002</c:v>
                </c:pt>
                <c:pt idx="2">
                  <c:v>53.312800000000003</c:v>
                </c:pt>
                <c:pt idx="3">
                  <c:v>27.181899999999999</c:v>
                </c:pt>
                <c:pt idx="4">
                  <c:v>37.2483</c:v>
                </c:pt>
                <c:pt idx="5">
                  <c:v>37.9467</c:v>
                </c:pt>
                <c:pt idx="6">
                  <c:v>50.933100000000003</c:v>
                </c:pt>
                <c:pt idx="7">
                  <c:v>41.847900000000003</c:v>
                </c:pt>
              </c:numCache>
            </c:numRef>
          </c:xVal>
          <c:yVal>
            <c:numRef>
              <c:f>Sheet1!$B$2:$B$9</c:f>
              <c:numCache>
                <c:formatCode>General</c:formatCode>
                <c:ptCount val="8"/>
                <c:pt idx="0">
                  <c:v>1.6</c:v>
                </c:pt>
                <c:pt idx="1">
                  <c:v>1.4039999999999999</c:v>
                </c:pt>
                <c:pt idx="2">
                  <c:v>1.024</c:v>
                </c:pt>
                <c:pt idx="3">
                  <c:v>0.48799999999999999</c:v>
                </c:pt>
                <c:pt idx="4">
                  <c:v>0.63500000000000001</c:v>
                </c:pt>
                <c:pt idx="5">
                  <c:v>0.65400000000000003</c:v>
                </c:pt>
                <c:pt idx="6">
                  <c:v>0.85899999999999999</c:v>
                </c:pt>
                <c:pt idx="7">
                  <c:v>0.83299999999999996</c:v>
                </c:pt>
              </c:numCache>
            </c:numRef>
          </c:yVal>
          <c:bubbleSize>
            <c:numRef>
              <c:f>Sheet1!$C$2:$C$9</c:f>
              <c:numCache>
                <c:formatCode>General</c:formatCode>
                <c:ptCount val="8"/>
                <c:pt idx="0">
                  <c:v>165688</c:v>
                </c:pt>
                <c:pt idx="1">
                  <c:v>63060</c:v>
                </c:pt>
                <c:pt idx="2">
                  <c:v>58964</c:v>
                </c:pt>
                <c:pt idx="3">
                  <c:v>44823</c:v>
                </c:pt>
                <c:pt idx="4">
                  <c:v>43655</c:v>
                </c:pt>
                <c:pt idx="5">
                  <c:v>23489</c:v>
                </c:pt>
                <c:pt idx="6">
                  <c:v>18285</c:v>
                </c:pt>
                <c:pt idx="7">
                  <c:v>16237</c:v>
                </c:pt>
              </c:numCache>
            </c:numRef>
          </c:bubbleSize>
          <c:bubble3D val="0"/>
          <c:extLst>
            <c:ext xmlns:c15="http://schemas.microsoft.com/office/drawing/2012/chart" uri="{02D57815-91ED-43cb-92C2-25804820EDAC}">
              <c15:datalabelsRange>
                <c15:f>Sheet1!$E$2:$E$10</c15:f>
                <c15:dlblRangeCache>
                  <c:ptCount val="9"/>
                  <c:pt idx="0">
                    <c:v>Ruinart</c:v>
                  </c:pt>
                  <c:pt idx="1">
                    <c:v>Laurent Perrier</c:v>
                  </c:pt>
                  <c:pt idx="2">
                    <c:v>Deutz</c:v>
                  </c:pt>
                  <c:pt idx="3">
                    <c:v>Nicolas</c:v>
                  </c:pt>
                  <c:pt idx="4">
                    <c:v>Demoiselle</c:v>
                  </c:pt>
                  <c:pt idx="5">
                    <c:v>Nicolas Feuillatte</c:v>
                  </c:pt>
                  <c:pt idx="6">
                    <c:v>Pommery</c:v>
                  </c:pt>
                  <c:pt idx="7">
                    <c:v>Besserat De Bellefon</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B3CD302-8107-47F3-A23E-5E5E73C19F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F56AF0F2-A012-483E-98C5-04CB080EC8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9D7E4C8-81AB-4D15-9CBB-8737379C88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CFD73291-2EEC-4CFD-85BC-028995FDD3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7F7D088-8942-4C03-918E-4D905558BB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2130E293-F2A2-4B15-AC0D-79270D9D18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BA40DB4-AB7E-4F9F-9077-1E7EC3FBB7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A5F4390-AD46-4E87-AA7E-63FFC8F7B1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8293</c:v>
                </c:pt>
              </c:numCache>
            </c:numRef>
          </c:xVal>
          <c:yVal>
            <c:numRef>
              <c:f>Sheet1!$B$2:$B$2</c:f>
              <c:numCache>
                <c:formatCode>General</c:formatCode>
                <c:ptCount val="1"/>
                <c:pt idx="0">
                  <c:v>1</c:v>
                </c:pt>
              </c:numCache>
            </c:numRef>
          </c:yVal>
          <c:bubbleSize>
            <c:numRef>
              <c:f>Sheet1!$C$2:$C$2</c:f>
              <c:numCache>
                <c:formatCode>General</c:formatCode>
                <c:ptCount val="1"/>
                <c:pt idx="0">
                  <c:v>39373</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C3ACD63-A13C-4227-8B07-334B400F2F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FC087F0E-874A-4073-A3A7-BEFDB8B580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D94EA07-D0AD-40D2-85EF-EF059DD62F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F70CABB6-B954-4230-96D3-B3ABFE9E76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CC1AD07-91FD-4DE4-B3C9-DB689D92A8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9879B61B-A17A-4E9F-8650-22E106D175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70DF6850-13F3-49DE-BA01-04284DE324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957347C6-EBC7-48D7-AEDC-4E6C55533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709</c:v>
                </c:pt>
                <c:pt idx="1">
                  <c:v>9.1577000000000002</c:v>
                </c:pt>
                <c:pt idx="2">
                  <c:v>11.4771</c:v>
                </c:pt>
              </c:numCache>
            </c:numRef>
          </c:xVal>
          <c:yVal>
            <c:numRef>
              <c:f>Sheet1!$B$2:$B$4</c:f>
              <c:numCache>
                <c:formatCode>General</c:formatCode>
                <c:ptCount val="3"/>
                <c:pt idx="0">
                  <c:v>1.272</c:v>
                </c:pt>
                <c:pt idx="1">
                  <c:v>1.016</c:v>
                </c:pt>
                <c:pt idx="2">
                  <c:v>1.0620000000000001</c:v>
                </c:pt>
              </c:numCache>
            </c:numRef>
          </c:yVal>
          <c:bubbleSize>
            <c:numRef>
              <c:f>Sheet1!$C$2:$C$4</c:f>
              <c:numCache>
                <c:formatCode>General</c:formatCode>
                <c:ptCount val="3"/>
                <c:pt idx="0">
                  <c:v>78289</c:v>
                </c:pt>
                <c:pt idx="1">
                  <c:v>32061</c:v>
                </c:pt>
                <c:pt idx="2">
                  <c:v>8252</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0F00DF-0C72-4790-98C7-90D3739ABD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B5BF78-5FAC-43B8-9CC1-BA8898529E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A5B8EA-61DC-4B12-917F-F5B0ED94E6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AB9E0FC-9E9F-4F96-BF66-63E901804D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841DAA9-ED61-479C-A2C7-5C51384476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191262D-D998-4027-95D6-AB978B932D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1EBA94-1806-425C-81F0-D7A7DAB6F9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C7B8806-3C84-4082-B8AC-27657DB8FD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748</c:v>
                </c:pt>
                <c:pt idx="1">
                  <c:v>11.4427</c:v>
                </c:pt>
                <c:pt idx="2">
                  <c:v>13.5473</c:v>
                </c:pt>
              </c:numCache>
            </c:numRef>
          </c:xVal>
          <c:yVal>
            <c:numRef>
              <c:f>Sheet1!$B$2:$B$4</c:f>
              <c:numCache>
                <c:formatCode>General</c:formatCode>
                <c:ptCount val="3"/>
                <c:pt idx="0">
                  <c:v>0.96599999999999997</c:v>
                </c:pt>
                <c:pt idx="1">
                  <c:v>0.97499999999999998</c:v>
                </c:pt>
                <c:pt idx="2">
                  <c:v>1.1599999999999999</c:v>
                </c:pt>
              </c:numCache>
            </c:numRef>
          </c:yVal>
          <c:bubbleSize>
            <c:numRef>
              <c:f>Sheet1!$C$2:$C$4</c:f>
              <c:numCache>
                <c:formatCode>General</c:formatCode>
                <c:ptCount val="3"/>
                <c:pt idx="0">
                  <c:v>16609</c:v>
                </c:pt>
                <c:pt idx="1">
                  <c:v>12072</c:v>
                </c:pt>
                <c:pt idx="2">
                  <c:v>8589</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4BE87D-1EA0-435B-8AFB-3C0A45979E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867F16-5FC8-495D-B5E2-5198161FDA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6B5778-67C4-4564-8453-D9D83F9EEA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DDFD05-0CE5-483D-9DC6-3F5953F76E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D1BA9A-B27A-4DCA-982C-37C0FB4E10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28B8E7-F0AA-45B7-8D95-B0E4108879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7E9641-4DF7-4E62-8ADF-0976DBB0E3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887858-8C10-4A2F-B6ED-BCE2E11399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593400000000003</c:v>
                </c:pt>
                <c:pt idx="1">
                  <c:v>23.808499999999999</c:v>
                </c:pt>
                <c:pt idx="2">
                  <c:v>50.115900000000003</c:v>
                </c:pt>
                <c:pt idx="3">
                  <c:v>31.6996</c:v>
                </c:pt>
                <c:pt idx="4">
                  <c:v>52.491900000000001</c:v>
                </c:pt>
                <c:pt idx="5">
                  <c:v>29.232500000000002</c:v>
                </c:pt>
                <c:pt idx="6">
                  <c:v>33.807899999999997</c:v>
                </c:pt>
                <c:pt idx="7">
                  <c:v>31.170300000000001</c:v>
                </c:pt>
              </c:numCache>
            </c:numRef>
          </c:xVal>
          <c:yVal>
            <c:numRef>
              <c:f>Sheet1!$B$2:$B$9</c:f>
              <c:numCache>
                <c:formatCode>General</c:formatCode>
                <c:ptCount val="8"/>
                <c:pt idx="0">
                  <c:v>2.012</c:v>
                </c:pt>
                <c:pt idx="1">
                  <c:v>0.70899999999999996</c:v>
                </c:pt>
                <c:pt idx="2">
                  <c:v>1.4390000000000001</c:v>
                </c:pt>
                <c:pt idx="3">
                  <c:v>0.94199999999999995</c:v>
                </c:pt>
                <c:pt idx="4">
                  <c:v>1.3859999999999999</c:v>
                </c:pt>
                <c:pt idx="5">
                  <c:v>0.86899999999999999</c:v>
                </c:pt>
                <c:pt idx="6">
                  <c:v>0.96599999999999997</c:v>
                </c:pt>
                <c:pt idx="7">
                  <c:v>0.92600000000000005</c:v>
                </c:pt>
              </c:numCache>
            </c:numRef>
          </c:yVal>
          <c:bubbleSize>
            <c:numRef>
              <c:f>Sheet1!$C$2:$C$9</c:f>
              <c:numCache>
                <c:formatCode>General</c:formatCode>
                <c:ptCount val="8"/>
                <c:pt idx="0">
                  <c:v>2452284</c:v>
                </c:pt>
                <c:pt idx="1">
                  <c:v>1052215</c:v>
                </c:pt>
                <c:pt idx="2">
                  <c:v>800953</c:v>
                </c:pt>
                <c:pt idx="3">
                  <c:v>584730</c:v>
                </c:pt>
                <c:pt idx="4">
                  <c:v>451798</c:v>
                </c:pt>
                <c:pt idx="5">
                  <c:v>367569</c:v>
                </c:pt>
                <c:pt idx="6">
                  <c:v>360663</c:v>
                </c:pt>
                <c:pt idx="7">
                  <c:v>351009</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Heidsieck &amp; Co Monopole</c:v>
                  </c:pt>
                  <c:pt idx="6">
                    <c:v>Nicolas Feuillatt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9EEC49D-59A9-4194-8F7C-F6E3BD7D3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C66AED92-B3F0-43E3-8E1A-96708E4B0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355476F7-FE46-4A28-9AA4-7ACFB23951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2D7C380A-40EB-413F-BAD8-7C9DBF51FD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E2B43189-884A-4772-AF51-6B151C6353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25E70F37-2A6B-4E22-B99F-47C32F0A4C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16A72E86-46FE-42F0-9CE4-E649FA23F0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7905B51A-20D4-467F-89A7-86652456AD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18999999999998</c:v>
                </c:pt>
              </c:numCache>
            </c:numRef>
          </c:xVal>
          <c:yVal>
            <c:numRef>
              <c:f>Sheet1!$B$2:$B$2</c:f>
              <c:numCache>
                <c:formatCode>General</c:formatCode>
                <c:ptCount val="1"/>
                <c:pt idx="0">
                  <c:v>1</c:v>
                </c:pt>
              </c:numCache>
            </c:numRef>
          </c:yVal>
          <c:bubbleSize>
            <c:numRef>
              <c:f>Sheet1!$C$2:$C$2</c:f>
              <c:numCache>
                <c:formatCode>General</c:formatCode>
                <c:ptCount val="1"/>
                <c:pt idx="0">
                  <c:v>2217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35297DB-4070-4799-AF47-5D6957FF8F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ABB75C4-1A12-4603-8F0A-265E600906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E6C29C9A-5C04-4D8E-BED1-678D6F26A3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19A2AEB4-3C8D-455A-95DF-F066B3272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EA54785-D42E-4CAB-9E3E-2B2ADF7CC3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68F8635-175B-4D02-BCB8-A2DB7DD5B7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369FC4B-C922-491F-B9A2-AD0E87DB40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B162C2B-BC4E-494A-B11D-207E99E282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147</c:v>
                </c:pt>
                <c:pt idx="1">
                  <c:v>10.1408</c:v>
                </c:pt>
              </c:numCache>
            </c:numRef>
          </c:xVal>
          <c:yVal>
            <c:numRef>
              <c:f>Sheet1!$B$2:$B$3</c:f>
              <c:numCache>
                <c:formatCode>General</c:formatCode>
                <c:ptCount val="2"/>
                <c:pt idx="0">
                  <c:v>1.028</c:v>
                </c:pt>
                <c:pt idx="1">
                  <c:v>0.84599999999999997</c:v>
                </c:pt>
              </c:numCache>
            </c:numRef>
          </c:yVal>
          <c:bubbleSize>
            <c:numRef>
              <c:f>Sheet1!$C$2:$C$3</c:f>
              <c:numCache>
                <c:formatCode>General</c:formatCode>
                <c:ptCount val="2"/>
                <c:pt idx="0">
                  <c:v>4845</c:v>
                </c:pt>
                <c:pt idx="1">
                  <c:v>720</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DC8DB2-A39F-44C0-A46E-7BA4D981C8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6EDF6A-E85A-4045-BD6A-ED477047D9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3A0D40-D571-4E21-BD8A-9F15406971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DCF3C8-9AD0-4BC0-8531-BBAAEF6A99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C0CA13-1F37-4362-A379-979DF2E109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C13C51-B324-466D-9240-0DC66C7EC1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AFCCC4-001C-4D39-AB9D-4F971EDBCB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35A53D-1B43-43F7-BD70-55D714F8A0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1.1712</c:v>
                </c:pt>
                <c:pt idx="1">
                  <c:v>35.475900000000003</c:v>
                </c:pt>
                <c:pt idx="2">
                  <c:v>43.171999999999997</c:v>
                </c:pt>
                <c:pt idx="3">
                  <c:v>57.229799999999997</c:v>
                </c:pt>
                <c:pt idx="4">
                  <c:v>47.451099999999997</c:v>
                </c:pt>
                <c:pt idx="5">
                  <c:v>77.934200000000004</c:v>
                </c:pt>
                <c:pt idx="6">
                  <c:v>38.840800000000002</c:v>
                </c:pt>
                <c:pt idx="7">
                  <c:v>55.2742</c:v>
                </c:pt>
              </c:numCache>
            </c:numRef>
          </c:xVal>
          <c:yVal>
            <c:numRef>
              <c:f>Sheet1!$B$2:$B$9</c:f>
              <c:numCache>
                <c:formatCode>General</c:formatCode>
                <c:ptCount val="8"/>
                <c:pt idx="0">
                  <c:v>1.341</c:v>
                </c:pt>
                <c:pt idx="1">
                  <c:v>0.47599999999999998</c:v>
                </c:pt>
                <c:pt idx="2">
                  <c:v>0.58799999999999997</c:v>
                </c:pt>
                <c:pt idx="3">
                  <c:v>0.86</c:v>
                </c:pt>
                <c:pt idx="4">
                  <c:v>0.626</c:v>
                </c:pt>
                <c:pt idx="5">
                  <c:v>0.99099999999999999</c:v>
                </c:pt>
                <c:pt idx="6">
                  <c:v>0.50700000000000001</c:v>
                </c:pt>
                <c:pt idx="7">
                  <c:v>0.69799999999999995</c:v>
                </c:pt>
              </c:numCache>
            </c:numRef>
          </c:yVal>
          <c:bubbleSize>
            <c:numRef>
              <c:f>Sheet1!$C$2:$C$9</c:f>
              <c:numCache>
                <c:formatCode>General</c:formatCode>
                <c:ptCount val="8"/>
                <c:pt idx="0">
                  <c:v>286011</c:v>
                </c:pt>
                <c:pt idx="1">
                  <c:v>30119</c:v>
                </c:pt>
                <c:pt idx="2">
                  <c:v>27112</c:v>
                </c:pt>
                <c:pt idx="3">
                  <c:v>17684</c:v>
                </c:pt>
                <c:pt idx="4">
                  <c:v>12622</c:v>
                </c:pt>
                <c:pt idx="5">
                  <c:v>11846</c:v>
                </c:pt>
                <c:pt idx="6">
                  <c:v>11225</c:v>
                </c:pt>
                <c:pt idx="7">
                  <c:v>10281</c:v>
                </c:pt>
              </c:numCache>
            </c:numRef>
          </c:bubbleSize>
          <c:bubble3D val="0"/>
          <c:extLst>
            <c:ext xmlns:c15="http://schemas.microsoft.com/office/drawing/2012/chart" uri="{02D57815-91ED-43cb-92C2-25804820EDAC}">
              <c15:datalabelsRange>
                <c15:f>Sheet1!$E$2:$E$10</c15:f>
                <c15:dlblRangeCache>
                  <c:ptCount val="9"/>
                  <c:pt idx="0">
                    <c:v>Ruinart</c:v>
                  </c:pt>
                  <c:pt idx="1">
                    <c:v>Malard</c:v>
                  </c:pt>
                  <c:pt idx="2">
                    <c:v>Nicolas</c:v>
                  </c:pt>
                  <c:pt idx="3">
                    <c:v>Besserat De Bellefon</c:v>
                  </c:pt>
                  <c:pt idx="4">
                    <c:v>Henriot</c:v>
                  </c:pt>
                  <c:pt idx="5">
                    <c:v>Ayala</c:v>
                  </c:pt>
                  <c:pt idx="6">
                    <c:v>De Bligny</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1"/>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735AFD2-A7AC-4401-8594-F8D825BB9D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F4DB259-98D1-4079-8709-097B3DE131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C785B2A-1B13-4D37-90FC-E5CCD21E4C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CC537ED-17E4-4D28-BC12-7C252C7DB8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F65EDC1-FFBA-49F6-B81B-BBB56E2223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1D93754-1689-4614-B470-7DA4177AEF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90793F9-8139-4ABC-BDC6-2C5A96992D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B81DE32-3136-469E-9F1C-A3B9060455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992800000000003</c:v>
                </c:pt>
                <c:pt idx="1">
                  <c:v>50.215800000000002</c:v>
                </c:pt>
                <c:pt idx="2">
                  <c:v>22.9695</c:v>
                </c:pt>
                <c:pt idx="3">
                  <c:v>29.235499999999998</c:v>
                </c:pt>
                <c:pt idx="4">
                  <c:v>51.685499999999998</c:v>
                </c:pt>
                <c:pt idx="5">
                  <c:v>55.038899999999998</c:v>
                </c:pt>
                <c:pt idx="6">
                  <c:v>31.77</c:v>
                </c:pt>
                <c:pt idx="7">
                  <c:v>37.607300000000002</c:v>
                </c:pt>
              </c:numCache>
            </c:numRef>
          </c:xVal>
          <c:yVal>
            <c:numRef>
              <c:f>Sheet1!$B$2:$B$9</c:f>
              <c:numCache>
                <c:formatCode>General</c:formatCode>
                <c:ptCount val="8"/>
                <c:pt idx="0">
                  <c:v>1.411</c:v>
                </c:pt>
                <c:pt idx="1">
                  <c:v>1.163</c:v>
                </c:pt>
                <c:pt idx="2">
                  <c:v>0.56299999999999994</c:v>
                </c:pt>
                <c:pt idx="3">
                  <c:v>0.72599999999999998</c:v>
                </c:pt>
                <c:pt idx="4">
                  <c:v>1.0629999999999999</c:v>
                </c:pt>
                <c:pt idx="5">
                  <c:v>1.145</c:v>
                </c:pt>
                <c:pt idx="6">
                  <c:v>0.78400000000000003</c:v>
                </c:pt>
                <c:pt idx="7">
                  <c:v>0.93400000000000005</c:v>
                </c:pt>
              </c:numCache>
            </c:numRef>
          </c:yVal>
          <c:bubbleSize>
            <c:numRef>
              <c:f>Sheet1!$C$2:$C$9</c:f>
              <c:numCache>
                <c:formatCode>General</c:formatCode>
                <c:ptCount val="8"/>
                <c:pt idx="0">
                  <c:v>496882</c:v>
                </c:pt>
                <c:pt idx="1">
                  <c:v>276940</c:v>
                </c:pt>
                <c:pt idx="2">
                  <c:v>218187</c:v>
                </c:pt>
                <c:pt idx="3">
                  <c:v>125888</c:v>
                </c:pt>
                <c:pt idx="4">
                  <c:v>121616</c:v>
                </c:pt>
                <c:pt idx="5">
                  <c:v>118719</c:v>
                </c:pt>
                <c:pt idx="6">
                  <c:v>117962</c:v>
                </c:pt>
                <c:pt idx="7">
                  <c:v>10563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Heidsieck &amp; Co Monopole</c:v>
                  </c:pt>
                  <c:pt idx="4">
                    <c:v>Laurent Perrier</c:v>
                  </c:pt>
                  <c:pt idx="5">
                    <c:v>Taittinger</c:v>
                  </c:pt>
                  <c:pt idx="6">
                    <c:v>Canard Duchêne</c:v>
                  </c:pt>
                  <c:pt idx="7">
                    <c:v>Ayala</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AD35048-B1C8-4107-A51E-DF1A12B6E3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21BF7A8-05FF-4CBD-9094-1E7B8EF20B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960107C-AC07-41D8-9A47-7E01573532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31BB4CA-0155-4C19-94D0-4B3B94E73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A087F40-E6C5-4BA1-975B-E95E15C279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AFE07EA-2C10-405A-A192-9212469080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7814D896-0294-4C0F-B46C-6458ED844D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6E1C572-B9C2-4DF2-94C4-ECDA03AD60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57700000000001</c:v>
                </c:pt>
                <c:pt idx="1">
                  <c:v>30.572399999999998</c:v>
                </c:pt>
                <c:pt idx="2">
                  <c:v>32.226799999999997</c:v>
                </c:pt>
                <c:pt idx="3">
                  <c:v>37.310899999999997</c:v>
                </c:pt>
              </c:numCache>
            </c:numRef>
          </c:xVal>
          <c:yVal>
            <c:numRef>
              <c:f>Sheet1!$B$2:$B$5</c:f>
              <c:numCache>
                <c:formatCode>General</c:formatCode>
                <c:ptCount val="4"/>
                <c:pt idx="0">
                  <c:v>0.98599999999999999</c:v>
                </c:pt>
                <c:pt idx="1">
                  <c:v>1.022</c:v>
                </c:pt>
                <c:pt idx="2">
                  <c:v>1.0620000000000001</c:v>
                </c:pt>
                <c:pt idx="3">
                  <c:v>1.1220000000000001</c:v>
                </c:pt>
              </c:numCache>
            </c:numRef>
          </c:yVal>
          <c:bubbleSize>
            <c:numRef>
              <c:f>Sheet1!$C$2:$C$5</c:f>
              <c:numCache>
                <c:formatCode>General</c:formatCode>
                <c:ptCount val="4"/>
                <c:pt idx="0">
                  <c:v>105787</c:v>
                </c:pt>
                <c:pt idx="1">
                  <c:v>23663</c:v>
                </c:pt>
                <c:pt idx="2">
                  <c:v>9378</c:v>
                </c:pt>
                <c:pt idx="3">
                  <c:v>44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5"/>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8B1786B-5542-46EE-8672-85F1414FF3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5D428CE8-E76F-4374-9FE2-3CDCDB5FED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7BA2229-6339-4B27-81B5-8873D55D53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80AAB5A3-D170-4086-B859-DAE1C8CF72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9BB37729-1DB2-4292-9743-C9C19666EA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E893F8ED-D7A6-42D9-BE03-1685A24163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8130A750-E532-444B-B249-AEB6C39783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EF938E95-3F23-4395-B812-5C099CBA87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12800000000001</c:v>
                </c:pt>
                <c:pt idx="1">
                  <c:v>44.533299999999997</c:v>
                </c:pt>
                <c:pt idx="2">
                  <c:v>40.75</c:v>
                </c:pt>
              </c:numCache>
            </c:numRef>
          </c:xVal>
          <c:yVal>
            <c:numRef>
              <c:f>Sheet1!$B$2:$B$4</c:f>
              <c:numCache>
                <c:formatCode>General</c:formatCode>
                <c:ptCount val="3"/>
                <c:pt idx="0">
                  <c:v>0.94399999999999995</c:v>
                </c:pt>
                <c:pt idx="1">
                  <c:v>1.333</c:v>
                </c:pt>
                <c:pt idx="2">
                  <c:v>1.022</c:v>
                </c:pt>
              </c:numCache>
            </c:numRef>
          </c:yVal>
          <c:bubbleSize>
            <c:numRef>
              <c:f>Sheet1!$C$2:$C$4</c:f>
              <c:numCache>
                <c:formatCode>General</c:formatCode>
                <c:ptCount val="3"/>
                <c:pt idx="0">
                  <c:v>83558</c:v>
                </c:pt>
                <c:pt idx="1">
                  <c:v>19372</c:v>
                </c:pt>
                <c:pt idx="2">
                  <c:v>1630</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763137-E8CB-4CFC-86A0-74E2FCA045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B6AAAC-84C5-489E-8919-FCD28F1C9A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64D2E9-824A-42B2-A542-37B97EFB83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612D03-C31B-41FF-B27B-3DEE234D3B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E8B7366-CC55-4576-A557-FC57587EEC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DECCC2-9E5C-44A7-8057-DFA0C98394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9D581A-CA6B-465A-B356-219AE74A5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B6190C-F9D3-4E15-B8C9-D6F497A66E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70.98680000000002</c:v>
                </c:pt>
                <c:pt idx="1">
                  <c:v>161.57050000000001</c:v>
                </c:pt>
                <c:pt idx="2">
                  <c:v>98.010900000000007</c:v>
                </c:pt>
                <c:pt idx="3">
                  <c:v>38.633200000000002</c:v>
                </c:pt>
                <c:pt idx="4">
                  <c:v>65.814800000000005</c:v>
                </c:pt>
                <c:pt idx="5">
                  <c:v>307.44439999999997</c:v>
                </c:pt>
                <c:pt idx="6">
                  <c:v>272.39999999999998</c:v>
                </c:pt>
                <c:pt idx="7">
                  <c:v>235.4545</c:v>
                </c:pt>
              </c:numCache>
            </c:numRef>
          </c:xVal>
          <c:yVal>
            <c:numRef>
              <c:f>Sheet1!$B$2:$B$9</c:f>
              <c:numCache>
                <c:formatCode>General</c:formatCode>
                <c:ptCount val="8"/>
                <c:pt idx="0">
                  <c:v>1.8819999999999999</c:v>
                </c:pt>
                <c:pt idx="1">
                  <c:v>0.99099999999999999</c:v>
                </c:pt>
                <c:pt idx="2">
                  <c:v>0.61799999999999999</c:v>
                </c:pt>
                <c:pt idx="3">
                  <c:v>0.27</c:v>
                </c:pt>
                <c:pt idx="4">
                  <c:v>0.41899999999999998</c:v>
                </c:pt>
                <c:pt idx="5">
                  <c:v>1.849</c:v>
                </c:pt>
                <c:pt idx="6">
                  <c:v>1.456</c:v>
                </c:pt>
                <c:pt idx="7">
                  <c:v>1.3839999999999999</c:v>
                </c:pt>
              </c:numCache>
            </c:numRef>
          </c:yVal>
          <c:bubbleSize>
            <c:numRef>
              <c:f>Sheet1!$C$2:$C$9</c:f>
              <c:numCache>
                <c:formatCode>General</c:formatCode>
                <c:ptCount val="8"/>
                <c:pt idx="0">
                  <c:v>82380</c:v>
                </c:pt>
                <c:pt idx="1">
                  <c:v>25205</c:v>
                </c:pt>
                <c:pt idx="2">
                  <c:v>17936</c:v>
                </c:pt>
                <c:pt idx="3">
                  <c:v>8847</c:v>
                </c:pt>
                <c:pt idx="4">
                  <c:v>5331</c:v>
                </c:pt>
                <c:pt idx="5">
                  <c:v>2767</c:v>
                </c:pt>
                <c:pt idx="6">
                  <c:v>2724</c:v>
                </c:pt>
                <c:pt idx="7">
                  <c:v>2590</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Pommery</c:v>
                  </c:pt>
                  <c:pt idx="6">
                    <c:v>Piper Heidsieck</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9"/>
          <c:min val="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F3AB52E-6079-4C35-AD40-B909635357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CFB9999-466F-4B26-982D-914F5555A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6BF9784-0484-49A8-A8DE-3C22E99810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B88494B-E059-40E3-A0BE-CC8A86A979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5A9596E-D6BE-412D-ADB1-AC4098E5E3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7AA4462-6D0E-4557-A053-F3FAE2CD51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FCE7948-ABD0-49BF-8B39-323A491495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7AE517DC-4971-4B0D-BA68-DDB26B930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163300000000007</c:v>
                </c:pt>
                <c:pt idx="1">
                  <c:v>55.341099999999997</c:v>
                </c:pt>
                <c:pt idx="2">
                  <c:v>27.214600000000001</c:v>
                </c:pt>
                <c:pt idx="3">
                  <c:v>82.220100000000002</c:v>
                </c:pt>
                <c:pt idx="4">
                  <c:v>37.666699999999999</c:v>
                </c:pt>
                <c:pt idx="5">
                  <c:v>38.341000000000001</c:v>
                </c:pt>
                <c:pt idx="6">
                  <c:v>42.3598</c:v>
                </c:pt>
                <c:pt idx="7">
                  <c:v>51.7834</c:v>
                </c:pt>
              </c:numCache>
            </c:numRef>
          </c:xVal>
          <c:yVal>
            <c:numRef>
              <c:f>Sheet1!$B$2:$B$9</c:f>
              <c:numCache>
                <c:formatCode>General</c:formatCode>
                <c:ptCount val="8"/>
                <c:pt idx="0">
                  <c:v>1.6890000000000001</c:v>
                </c:pt>
                <c:pt idx="1">
                  <c:v>1.1259999999999999</c:v>
                </c:pt>
                <c:pt idx="2">
                  <c:v>0.52200000000000002</c:v>
                </c:pt>
                <c:pt idx="3">
                  <c:v>1.4670000000000001</c:v>
                </c:pt>
                <c:pt idx="4">
                  <c:v>0.67900000000000005</c:v>
                </c:pt>
                <c:pt idx="5">
                  <c:v>0.69199999999999995</c:v>
                </c:pt>
                <c:pt idx="6">
                  <c:v>0.92</c:v>
                </c:pt>
                <c:pt idx="7">
                  <c:v>0.92</c:v>
                </c:pt>
              </c:numCache>
            </c:numRef>
          </c:yVal>
          <c:bubbleSize>
            <c:numRef>
              <c:f>Sheet1!$C$2:$C$9</c:f>
              <c:numCache>
                <c:formatCode>General</c:formatCode>
                <c:ptCount val="8"/>
                <c:pt idx="0">
                  <c:v>77605</c:v>
                </c:pt>
                <c:pt idx="1">
                  <c:v>40399</c:v>
                </c:pt>
                <c:pt idx="2">
                  <c:v>26507</c:v>
                </c:pt>
                <c:pt idx="3">
                  <c:v>22035</c:v>
                </c:pt>
                <c:pt idx="4">
                  <c:v>20340</c:v>
                </c:pt>
                <c:pt idx="5">
                  <c:v>16755</c:v>
                </c:pt>
                <c:pt idx="6">
                  <c:v>11183</c:v>
                </c:pt>
                <c:pt idx="7">
                  <c:v>8130</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Laurent Perrier</c:v>
                  </c:pt>
                  <c:pt idx="4">
                    <c:v>Demoiselle</c:v>
                  </c:pt>
                  <c:pt idx="5">
                    <c:v>Nicolas Feuillatte</c:v>
                  </c:pt>
                  <c:pt idx="6">
                    <c:v>Besserat De Bellefon</c:v>
                  </c:pt>
                  <c:pt idx="7">
                    <c:v>Pommer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5DAEF82-C384-4A1B-AFE8-034C67720F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63EBE34D-E6DF-4418-BBEA-4C05CBEC6B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420FA3CD-45B4-4B13-BB72-CAC01D2B4B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8976B8E-2E3A-4EC9-A9EF-3C919A7CE0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2C64F9AB-1665-4EEB-A779-38A1BE4783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C70A4F8-C5AC-4316-827A-3282ACD35F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9B2189F-5CF6-44FC-AE04-51271C280C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C447E38-E4DB-4506-B56B-B9B52B0116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144</c:v>
                </c:pt>
              </c:numCache>
            </c:numRef>
          </c:xVal>
          <c:yVal>
            <c:numRef>
              <c:f>Sheet1!$B$2:$B$2</c:f>
              <c:numCache>
                <c:formatCode>General</c:formatCode>
                <c:ptCount val="1"/>
                <c:pt idx="0">
                  <c:v>1</c:v>
                </c:pt>
              </c:numCache>
            </c:numRef>
          </c:yVal>
          <c:bubbleSize>
            <c:numRef>
              <c:f>Sheet1!$C$2:$C$2</c:f>
              <c:numCache>
                <c:formatCode>General</c:formatCode>
                <c:ptCount val="1"/>
                <c:pt idx="0">
                  <c:v>33731</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20FC2B3-4922-408A-87BD-E1A1C7112F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0D1DAC2-D354-4C49-A039-2B0AC6CA99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17B8A11-0D9C-48CE-BD75-D9778BE738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293E507-B839-4A8F-B2C6-E1E62C790A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E06F79F7-5C47-4475-B52A-D7177D7A2A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9BD2654C-5945-4C2A-892B-1C7373B4EA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3309F59-6EDB-4265-9E5D-498179D323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C65F41FA-3858-4A19-8D1B-4E6295484D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886</c:v>
                </c:pt>
                <c:pt idx="1">
                  <c:v>9.1776</c:v>
                </c:pt>
                <c:pt idx="2">
                  <c:v>11.551</c:v>
                </c:pt>
                <c:pt idx="3">
                  <c:v>6.4760999999999997</c:v>
                </c:pt>
              </c:numCache>
            </c:numRef>
          </c:xVal>
          <c:yVal>
            <c:numRef>
              <c:f>Sheet1!$B$2:$B$5</c:f>
              <c:numCache>
                <c:formatCode>General</c:formatCode>
                <c:ptCount val="4"/>
                <c:pt idx="0">
                  <c:v>1.3320000000000001</c:v>
                </c:pt>
                <c:pt idx="1">
                  <c:v>1.0660000000000001</c:v>
                </c:pt>
                <c:pt idx="2">
                  <c:v>1.119</c:v>
                </c:pt>
                <c:pt idx="3">
                  <c:v>0.749</c:v>
                </c:pt>
              </c:numCache>
            </c:numRef>
          </c:yVal>
          <c:bubbleSize>
            <c:numRef>
              <c:f>Sheet1!$C$2:$C$5</c:f>
              <c:numCache>
                <c:formatCode>General</c:formatCode>
                <c:ptCount val="4"/>
                <c:pt idx="0">
                  <c:v>41175</c:v>
                </c:pt>
                <c:pt idx="1">
                  <c:v>22788</c:v>
                </c:pt>
                <c:pt idx="2">
                  <c:v>8259</c:v>
                </c:pt>
                <c:pt idx="3">
                  <c:v>7726</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pt idx="3">
                    <c:v>Vilavero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A35A4C-3DE4-406E-9BE7-DAE68D4B44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E2D3A6-D8B5-48E5-AC3D-BCE2287819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005EB2-094E-4721-ADC9-E35A5B1A45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5C0B9D-549D-4848-9BB9-8604C61F95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DBE887-4EE6-47E6-B819-4577FA74DF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77CEF0-1992-4C3F-AA79-BE79BF63E1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55A2EF-8DB6-4D5A-B566-F6A50FC063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C11B79-93A9-4639-B8B6-BB3CB8C199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111</c:v>
                </c:pt>
                <c:pt idx="1">
                  <c:v>31.078399999999998</c:v>
                </c:pt>
                <c:pt idx="2">
                  <c:v>26.736799999999999</c:v>
                </c:pt>
                <c:pt idx="3">
                  <c:v>24.309100000000001</c:v>
                </c:pt>
                <c:pt idx="4">
                  <c:v>18.720199999999998</c:v>
                </c:pt>
                <c:pt idx="5">
                  <c:v>69.356999999999999</c:v>
                </c:pt>
                <c:pt idx="6">
                  <c:v>41.793300000000002</c:v>
                </c:pt>
                <c:pt idx="7">
                  <c:v>23.585599999999999</c:v>
                </c:pt>
              </c:numCache>
            </c:numRef>
          </c:xVal>
          <c:yVal>
            <c:numRef>
              <c:f>Sheet1!$B$2:$B$9</c:f>
              <c:numCache>
                <c:formatCode>General</c:formatCode>
                <c:ptCount val="8"/>
                <c:pt idx="0">
                  <c:v>1.0429999999999999</c:v>
                </c:pt>
                <c:pt idx="1">
                  <c:v>1.4119999999999999</c:v>
                </c:pt>
                <c:pt idx="2">
                  <c:v>1.2110000000000001</c:v>
                </c:pt>
                <c:pt idx="3">
                  <c:v>1.038</c:v>
                </c:pt>
                <c:pt idx="4">
                  <c:v>0.28699999999999998</c:v>
                </c:pt>
                <c:pt idx="5">
                  <c:v>3.1949999999999998</c:v>
                </c:pt>
                <c:pt idx="6">
                  <c:v>1.88</c:v>
                </c:pt>
                <c:pt idx="7">
                  <c:v>1.1259999999999999</c:v>
                </c:pt>
              </c:numCache>
            </c:numRef>
          </c:yVal>
          <c:bubbleSize>
            <c:numRef>
              <c:f>Sheet1!$C$2:$C$9</c:f>
              <c:numCache>
                <c:formatCode>General</c:formatCode>
                <c:ptCount val="8"/>
                <c:pt idx="0">
                  <c:v>83416559</c:v>
                </c:pt>
                <c:pt idx="1">
                  <c:v>40272903</c:v>
                </c:pt>
                <c:pt idx="2">
                  <c:v>38917245</c:v>
                </c:pt>
                <c:pt idx="3">
                  <c:v>28145421</c:v>
                </c:pt>
                <c:pt idx="4">
                  <c:v>26885600</c:v>
                </c:pt>
                <c:pt idx="5">
                  <c:v>25463946</c:v>
                </c:pt>
                <c:pt idx="6">
                  <c:v>23810173</c:v>
                </c:pt>
                <c:pt idx="7">
                  <c:v>5693651</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anard Duchêne</c:v>
                  </c:pt>
                  <c:pt idx="3">
                    <c:v>Alfred De Rothschild</c:v>
                  </c:pt>
                  <c:pt idx="4">
                    <c:v>Charles Lafitte</c:v>
                  </c:pt>
                  <c:pt idx="5">
                    <c:v>Ruinart</c:v>
                  </c:pt>
                  <c:pt idx="6">
                    <c:v>Moët &amp; Chandon</c:v>
                  </c:pt>
                  <c:pt idx="7">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40C789-0F39-49E2-8924-2A32102412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13EE0E-B850-476A-863C-BE197A642B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1B3180-D812-4A81-8C07-206403C8D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9693CB4-168C-4C2B-978C-8A1862D576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BA607E6-438D-474C-AD75-06DF6D767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AC0C0CF-48FD-479A-8E21-6D55037CF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40FD7DB-5B21-490B-A331-78E8FAE24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95DFF3-9E20-4637-AFC4-5425D4B4F6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199999999999</c:v>
                </c:pt>
                <c:pt idx="1">
                  <c:v>12.0534</c:v>
                </c:pt>
                <c:pt idx="2">
                  <c:v>13.274900000000001</c:v>
                </c:pt>
              </c:numCache>
            </c:numRef>
          </c:xVal>
          <c:yVal>
            <c:numRef>
              <c:f>Sheet1!$B$2:$B$4</c:f>
              <c:numCache>
                <c:formatCode>General</c:formatCode>
                <c:ptCount val="3"/>
                <c:pt idx="0">
                  <c:v>0.96099999999999997</c:v>
                </c:pt>
                <c:pt idx="1">
                  <c:v>0.93700000000000006</c:v>
                </c:pt>
                <c:pt idx="2">
                  <c:v>1.141</c:v>
                </c:pt>
              </c:numCache>
            </c:numRef>
          </c:yVal>
          <c:bubbleSize>
            <c:numRef>
              <c:f>Sheet1!$C$2:$C$4</c:f>
              <c:numCache>
                <c:formatCode>General</c:formatCode>
                <c:ptCount val="3"/>
                <c:pt idx="0">
                  <c:v>10707</c:v>
                </c:pt>
                <c:pt idx="1">
                  <c:v>7220</c:v>
                </c:pt>
                <c:pt idx="2">
                  <c:v>6133</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BF44A7A-3D98-491F-B0FA-D39E8A3FEF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C04AD8D0-B8EA-4642-9C7D-EDA5AD2249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5DD44E29-AD95-4360-AFF9-A6EAE5F40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B4B5DC3F-1DB2-4D33-86A4-451063ECF9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7EB9BA38-E0EC-4325-8771-74484411A2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832A3138-1F42-4018-8F3B-06ED24501B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6F2EA568-375A-4DBE-9F01-6EAB3EF1D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29775E13-8832-482E-9503-8C6B161FBA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62100000000001</c:v>
                </c:pt>
              </c:numCache>
            </c:numRef>
          </c:xVal>
          <c:yVal>
            <c:numRef>
              <c:f>Sheet1!$B$2:$B$2</c:f>
              <c:numCache>
                <c:formatCode>General</c:formatCode>
                <c:ptCount val="1"/>
                <c:pt idx="0">
                  <c:v>1</c:v>
                </c:pt>
              </c:numCache>
            </c:numRef>
          </c:yVal>
          <c:bubbleSize>
            <c:numRef>
              <c:f>Sheet1!$C$2:$C$2</c:f>
              <c:numCache>
                <c:formatCode>General</c:formatCode>
                <c:ptCount val="1"/>
                <c:pt idx="0">
                  <c:v>13997</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C712BCC-66B7-489A-B852-4934B678B4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60EB5A2-B1C7-4AFB-B521-0F3F3F7C4A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774AF67F-C5ED-4C46-8EEA-4E446A335B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8FA6C247-64C2-4AF0-B6F4-3FF206FD4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973290E-9671-49D1-9585-C66096AD9C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658B5EE-6EA0-4368-B07C-AEE491F7DC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A3B8E49-7F56-4BB6-874A-2EFAEFF57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C41B598-D713-4D6A-8B9F-68997F5B2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875</c:v>
                </c:pt>
                <c:pt idx="1">
                  <c:v>10.392200000000001</c:v>
                </c:pt>
              </c:numCache>
            </c:numRef>
          </c:xVal>
          <c:yVal>
            <c:numRef>
              <c:f>Sheet1!$B$2:$B$3</c:f>
              <c:numCache>
                <c:formatCode>General</c:formatCode>
                <c:ptCount val="2"/>
                <c:pt idx="0">
                  <c:v>1.046</c:v>
                </c:pt>
                <c:pt idx="1">
                  <c:v>0.83699999999999997</c:v>
                </c:pt>
              </c:numCache>
            </c:numRef>
          </c:yVal>
          <c:bubbleSize>
            <c:numRef>
              <c:f>Sheet1!$C$2:$C$3</c:f>
              <c:numCache>
                <c:formatCode>General</c:formatCode>
                <c:ptCount val="2"/>
                <c:pt idx="0">
                  <c:v>2327</c:v>
                </c:pt>
                <c:pt idx="1">
                  <c:v>530</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E9CD9E-02FA-4C6E-919A-75EE5F0735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D35C26-9CC3-4842-B50C-0F7A64CC22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B5C134-A0B2-4C67-ADAE-354E3F086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7B1B33-A729-4A56-95FC-CA667BC1EC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95602D-2EE0-47A2-A201-AE2F0F328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B68241-5ADE-424A-B254-C785E68440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E6E741A-F6D5-48C0-B4BB-53E1B1B541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25989A-842D-4769-BF69-E96FFA8A97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08700000000005</c:v>
                </c:pt>
                <c:pt idx="1">
                  <c:v>60.156500000000001</c:v>
                </c:pt>
                <c:pt idx="2">
                  <c:v>35.562199999999997</c:v>
                </c:pt>
                <c:pt idx="3">
                  <c:v>41.855200000000004</c:v>
                </c:pt>
                <c:pt idx="4">
                  <c:v>48.439599999999999</c:v>
                </c:pt>
                <c:pt idx="5">
                  <c:v>55.195900000000002</c:v>
                </c:pt>
                <c:pt idx="6">
                  <c:v>82.162800000000004</c:v>
                </c:pt>
                <c:pt idx="7">
                  <c:v>37.318800000000003</c:v>
                </c:pt>
              </c:numCache>
            </c:numRef>
          </c:xVal>
          <c:yVal>
            <c:numRef>
              <c:f>Sheet1!$B$2:$B$9</c:f>
              <c:numCache>
                <c:formatCode>General</c:formatCode>
                <c:ptCount val="8"/>
                <c:pt idx="0">
                  <c:v>1.413</c:v>
                </c:pt>
                <c:pt idx="1">
                  <c:v>0.91100000000000003</c:v>
                </c:pt>
                <c:pt idx="2">
                  <c:v>0.50600000000000001</c:v>
                </c:pt>
                <c:pt idx="3">
                  <c:v>0.59899999999999998</c:v>
                </c:pt>
                <c:pt idx="4">
                  <c:v>0.66100000000000003</c:v>
                </c:pt>
                <c:pt idx="5">
                  <c:v>0.77400000000000002</c:v>
                </c:pt>
                <c:pt idx="6">
                  <c:v>1.0449999999999999</c:v>
                </c:pt>
                <c:pt idx="7">
                  <c:v>0.50800000000000001</c:v>
                </c:pt>
              </c:numCache>
            </c:numRef>
          </c:yVal>
          <c:bubbleSize>
            <c:numRef>
              <c:f>Sheet1!$C$2:$C$9</c:f>
              <c:numCache>
                <c:formatCode>General</c:formatCode>
                <c:ptCount val="8"/>
                <c:pt idx="0">
                  <c:v>113838</c:v>
                </c:pt>
                <c:pt idx="1">
                  <c:v>13836</c:v>
                </c:pt>
                <c:pt idx="2">
                  <c:v>13727</c:v>
                </c:pt>
                <c:pt idx="3">
                  <c:v>12431</c:v>
                </c:pt>
                <c:pt idx="4">
                  <c:v>8816</c:v>
                </c:pt>
                <c:pt idx="5">
                  <c:v>8169</c:v>
                </c:pt>
                <c:pt idx="6">
                  <c:v>7066</c:v>
                </c:pt>
                <c:pt idx="7">
                  <c:v>5971</c:v>
                </c:pt>
              </c:numCache>
            </c:numRef>
          </c:bubbleSize>
          <c:bubble3D val="0"/>
          <c:extLst>
            <c:ext xmlns:c15="http://schemas.microsoft.com/office/drawing/2012/chart" uri="{02D57815-91ED-43cb-92C2-25804820EDAC}">
              <c15:datalabelsRange>
                <c15:f>Sheet1!$E$2:$E$10</c15:f>
                <c15:dlblRangeCache>
                  <c:ptCount val="9"/>
                  <c:pt idx="0">
                    <c:v>Ruinart</c:v>
                  </c:pt>
                  <c:pt idx="1">
                    <c:v>Besserat De Bellefon</c:v>
                  </c:pt>
                  <c:pt idx="2">
                    <c:v>Malard</c:v>
                  </c:pt>
                  <c:pt idx="3">
                    <c:v>Nicolas</c:v>
                  </c:pt>
                  <c:pt idx="4">
                    <c:v>Henriot</c:v>
                  </c:pt>
                  <c:pt idx="5">
                    <c:v>Delamotte</c:v>
                  </c:pt>
                  <c:pt idx="6">
                    <c:v>Ayala</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DC9FE3D-A009-493A-9EF9-CA46A0360A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FC04A5F-9E62-4F1E-B11E-D84E0719F7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BA48218-61CC-4D43-8EE0-EAC8F64CA2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926DDA5-6EE9-4B9E-8B94-93708EE02D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695AEBB-9C92-4D5F-AD4E-C553592E4A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DD2F4BB-64A4-48E3-94E6-C2301C54BF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431637E-F069-4CE7-8525-2E4F2A96BF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8C102B0-B9D0-4980-95EA-6DF900054B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182699999999997</c:v>
                </c:pt>
                <c:pt idx="1">
                  <c:v>22.021899999999999</c:v>
                </c:pt>
                <c:pt idx="2">
                  <c:v>49.603200000000001</c:v>
                </c:pt>
                <c:pt idx="3">
                  <c:v>29.059000000000001</c:v>
                </c:pt>
                <c:pt idx="4">
                  <c:v>37.816699999999997</c:v>
                </c:pt>
                <c:pt idx="5">
                  <c:v>30.0596</c:v>
                </c:pt>
                <c:pt idx="6">
                  <c:v>31.234200000000001</c:v>
                </c:pt>
                <c:pt idx="7">
                  <c:v>53.264400000000002</c:v>
                </c:pt>
              </c:numCache>
            </c:numRef>
          </c:xVal>
          <c:yVal>
            <c:numRef>
              <c:f>Sheet1!$B$2:$B$9</c:f>
              <c:numCache>
                <c:formatCode>General</c:formatCode>
                <c:ptCount val="8"/>
                <c:pt idx="0">
                  <c:v>1.5169999999999999</c:v>
                </c:pt>
                <c:pt idx="1">
                  <c:v>0.58699999999999997</c:v>
                </c:pt>
                <c:pt idx="2">
                  <c:v>1.2549999999999999</c:v>
                </c:pt>
                <c:pt idx="3">
                  <c:v>0.78</c:v>
                </c:pt>
                <c:pt idx="4">
                  <c:v>1.012</c:v>
                </c:pt>
                <c:pt idx="5">
                  <c:v>0.80500000000000005</c:v>
                </c:pt>
                <c:pt idx="6">
                  <c:v>0.82099999999999995</c:v>
                </c:pt>
                <c:pt idx="7">
                  <c:v>1.173</c:v>
                </c:pt>
              </c:numCache>
            </c:numRef>
          </c:yVal>
          <c:bubbleSize>
            <c:numRef>
              <c:f>Sheet1!$C$2:$C$9</c:f>
              <c:numCache>
                <c:formatCode>General</c:formatCode>
                <c:ptCount val="8"/>
                <c:pt idx="0">
                  <c:v>235698</c:v>
                </c:pt>
                <c:pt idx="1">
                  <c:v>185733</c:v>
                </c:pt>
                <c:pt idx="2">
                  <c:v>144147</c:v>
                </c:pt>
                <c:pt idx="3">
                  <c:v>91042</c:v>
                </c:pt>
                <c:pt idx="4">
                  <c:v>66217</c:v>
                </c:pt>
                <c:pt idx="5">
                  <c:v>65109</c:v>
                </c:pt>
                <c:pt idx="6">
                  <c:v>54691</c:v>
                </c:pt>
                <c:pt idx="7">
                  <c:v>5097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Heidsieck &amp; Co Monopole</c:v>
                  </c:pt>
                  <c:pt idx="4">
                    <c:v>Ayala</c:v>
                  </c:pt>
                  <c:pt idx="5">
                    <c:v>De Bligny</c:v>
                  </c:pt>
                  <c:pt idx="6">
                    <c:v>Canard Duchêne</c:v>
                  </c:pt>
                  <c:pt idx="7">
                    <c:v>Laurent Perri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EFAECDE-7825-4E26-B2AE-0EAC9928D5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05FBC1F-FE78-4027-BB75-88C6C997B6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A2ADCE0-DBB5-45F8-83B0-4E70BFDDF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4381E29-6E06-47F5-8591-26445DA924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1DB86590-AA2C-4015-B822-3D0428B317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09961E29-1FAB-429E-A0A1-D469B9799C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039AD80F-2ED7-4D42-A85D-213EE6E9C3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4225F38-EB63-489C-B3C9-D4850EE905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36900000000001</c:v>
                </c:pt>
                <c:pt idx="1">
                  <c:v>31.312200000000001</c:v>
                </c:pt>
                <c:pt idx="2">
                  <c:v>30.658899999999999</c:v>
                </c:pt>
                <c:pt idx="3">
                  <c:v>40.5139</c:v>
                </c:pt>
              </c:numCache>
            </c:numRef>
          </c:xVal>
          <c:yVal>
            <c:numRef>
              <c:f>Sheet1!$B$2:$B$5</c:f>
              <c:numCache>
                <c:formatCode>General</c:formatCode>
                <c:ptCount val="4"/>
                <c:pt idx="0">
                  <c:v>0.98</c:v>
                </c:pt>
                <c:pt idx="1">
                  <c:v>1.0369999999999999</c:v>
                </c:pt>
                <c:pt idx="2">
                  <c:v>1.0249999999999999</c:v>
                </c:pt>
                <c:pt idx="3">
                  <c:v>1.085</c:v>
                </c:pt>
              </c:numCache>
            </c:numRef>
          </c:yVal>
          <c:bubbleSize>
            <c:numRef>
              <c:f>Sheet1!$C$2:$C$5</c:f>
              <c:numCache>
                <c:formatCode>General</c:formatCode>
                <c:ptCount val="4"/>
                <c:pt idx="0">
                  <c:v>59698</c:v>
                </c:pt>
                <c:pt idx="1">
                  <c:v>19257</c:v>
                </c:pt>
                <c:pt idx="2">
                  <c:v>13122</c:v>
                </c:pt>
                <c:pt idx="3">
                  <c:v>2917</c:v>
                </c:pt>
              </c:numCache>
            </c:numRef>
          </c:bubbleSize>
          <c:bubble3D val="0"/>
          <c:extLst>
            <c:ext xmlns:c15="http://schemas.microsoft.com/office/drawing/2012/chart" uri="{02D57815-91ED-43cb-92C2-25804820EDAC}">
              <c15:datalabelsRange>
                <c15:f>Sheet1!$E$2:$E$10</c15:f>
                <c15:dlblRangeCache>
                  <c:ptCount val="9"/>
                  <c:pt idx="0">
                    <c:v>Malard</c:v>
                  </c:pt>
                  <c:pt idx="1">
                    <c:v>Louis Martin</c:v>
                  </c:pt>
                  <c:pt idx="2">
                    <c:v>Vesselle</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DFB8684-C036-41B9-9E08-201A431893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5BE7AD05-4220-4EAE-95A8-3F48B66E5D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B3C971C-8C8B-43DA-8FD2-11575BF736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2AE94D02-DE90-49CE-AEB8-ACBBFBFACC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99CCE0B8-397C-4C03-9A82-4B133CB51C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C776F06F-C9E5-40B1-930A-CC8E1F9417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EDB029AC-32AF-463E-B4FA-CD14BE3E3C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4B61C286-B25A-444C-B1FC-888931120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644300000000001</c:v>
                </c:pt>
                <c:pt idx="1">
                  <c:v>45.026499999999999</c:v>
                </c:pt>
                <c:pt idx="2">
                  <c:v>41.7</c:v>
                </c:pt>
              </c:numCache>
            </c:numRef>
          </c:xVal>
          <c:yVal>
            <c:numRef>
              <c:f>Sheet1!$B$2:$B$4</c:f>
              <c:numCache>
                <c:formatCode>General</c:formatCode>
                <c:ptCount val="3"/>
                <c:pt idx="0">
                  <c:v>0.96199999999999997</c:v>
                </c:pt>
                <c:pt idx="1">
                  <c:v>1.2869999999999999</c:v>
                </c:pt>
                <c:pt idx="2">
                  <c:v>1.1859999999999999</c:v>
                </c:pt>
              </c:numCache>
            </c:numRef>
          </c:yVal>
          <c:bubbleSize>
            <c:numRef>
              <c:f>Sheet1!$C$2:$C$4</c:f>
              <c:numCache>
                <c:formatCode>General</c:formatCode>
                <c:ptCount val="3"/>
                <c:pt idx="0">
                  <c:v>32562</c:v>
                </c:pt>
                <c:pt idx="1">
                  <c:v>5088</c:v>
                </c:pt>
                <c:pt idx="2">
                  <c:v>417</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E719D5-98F3-4F2A-9301-E85C28A43A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7B4A36-03A4-4C3A-B623-3E8C3EF4E0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43A4F6-3D77-423A-AAB2-E7D7D5F63C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E48666-B08C-4699-AC40-39EA23ED01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66FDA0-6FFF-4D34-A56A-A16C0CDAE4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81E35A-DF1E-49F4-A26F-6DA8D598E1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3E2AC3E-3FF3-4EBE-B78F-3F88B03261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20864C-45CA-4C98-9962-BF1ADDDB2B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9.46550000000002</c:v>
                </c:pt>
                <c:pt idx="1">
                  <c:v>208.47620000000001</c:v>
                </c:pt>
                <c:pt idx="2">
                  <c:v>104.5789</c:v>
                </c:pt>
                <c:pt idx="3">
                  <c:v>39.538499999999999</c:v>
                </c:pt>
                <c:pt idx="4">
                  <c:v>68.75</c:v>
                </c:pt>
                <c:pt idx="5">
                  <c:v>236</c:v>
                </c:pt>
                <c:pt idx="6">
                  <c:v>198.57140000000001</c:v>
                </c:pt>
                <c:pt idx="7">
                  <c:v>246.25</c:v>
                </c:pt>
              </c:numCache>
            </c:numRef>
          </c:xVal>
          <c:yVal>
            <c:numRef>
              <c:f>Sheet1!$B$2:$B$9</c:f>
              <c:numCache>
                <c:formatCode>General</c:formatCode>
                <c:ptCount val="8"/>
                <c:pt idx="0">
                  <c:v>1.758</c:v>
                </c:pt>
                <c:pt idx="1">
                  <c:v>1.24</c:v>
                </c:pt>
                <c:pt idx="2">
                  <c:v>0.58399999999999996</c:v>
                </c:pt>
                <c:pt idx="3">
                  <c:v>0.26100000000000001</c:v>
                </c:pt>
                <c:pt idx="4">
                  <c:v>0.443</c:v>
                </c:pt>
                <c:pt idx="5">
                  <c:v>1.248</c:v>
                </c:pt>
                <c:pt idx="6">
                  <c:v>1.2250000000000001</c:v>
                </c:pt>
                <c:pt idx="7">
                  <c:v>1.302</c:v>
                </c:pt>
              </c:numCache>
            </c:numRef>
          </c:yVal>
          <c:bubbleSize>
            <c:numRef>
              <c:f>Sheet1!$C$2:$C$9</c:f>
              <c:numCache>
                <c:formatCode>General</c:formatCode>
                <c:ptCount val="8"/>
                <c:pt idx="0">
                  <c:v>31258</c:v>
                </c:pt>
                <c:pt idx="1">
                  <c:v>13134</c:v>
                </c:pt>
                <c:pt idx="2">
                  <c:v>5961</c:v>
                </c:pt>
                <c:pt idx="3">
                  <c:v>3598</c:v>
                </c:pt>
                <c:pt idx="4">
                  <c:v>1925</c:v>
                </c:pt>
                <c:pt idx="5">
                  <c:v>1652</c:v>
                </c:pt>
                <c:pt idx="6">
                  <c:v>1390</c:v>
                </c:pt>
                <c:pt idx="7">
                  <c:v>98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Bollinger</c:v>
                  </c:pt>
                  <c:pt idx="6">
                    <c:v>Pommery</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3"/>
          <c:min val="3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446BBA2-48DB-4DD2-9C8B-A5B64DB806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D2A2F16-6A75-4876-999C-245034834D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45FDEF2-43C3-4E7A-A2F0-14F8EB328C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C9F9325-884D-4A73-85E9-7A7EDFCC3B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400FB72-6062-4ED5-9357-5B04A5F603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30B6396-052F-4169-A56F-DDA7DCC47E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2260488-DF81-4EF8-98F1-3ED6789284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73FCD2F-5F26-4BC7-BF66-A150E5A19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1899999999999</c:v>
                </c:pt>
                <c:pt idx="1">
                  <c:v>53.874099999999999</c:v>
                </c:pt>
                <c:pt idx="2">
                  <c:v>26.968</c:v>
                </c:pt>
                <c:pt idx="3">
                  <c:v>38.4514</c:v>
                </c:pt>
                <c:pt idx="4">
                  <c:v>83.289900000000003</c:v>
                </c:pt>
                <c:pt idx="5">
                  <c:v>46.578899999999997</c:v>
                </c:pt>
                <c:pt idx="6">
                  <c:v>37.1111</c:v>
                </c:pt>
                <c:pt idx="7">
                  <c:v>52.4298</c:v>
                </c:pt>
              </c:numCache>
            </c:numRef>
          </c:xVal>
          <c:yVal>
            <c:numRef>
              <c:f>Sheet1!$B$2:$B$9</c:f>
              <c:numCache>
                <c:formatCode>General</c:formatCode>
                <c:ptCount val="8"/>
                <c:pt idx="0">
                  <c:v>1.77</c:v>
                </c:pt>
                <c:pt idx="1">
                  <c:v>1.131</c:v>
                </c:pt>
                <c:pt idx="2">
                  <c:v>0.53300000000000003</c:v>
                </c:pt>
                <c:pt idx="3">
                  <c:v>0.71599999999999997</c:v>
                </c:pt>
                <c:pt idx="4">
                  <c:v>1.552</c:v>
                </c:pt>
                <c:pt idx="5">
                  <c:v>0.93400000000000005</c:v>
                </c:pt>
                <c:pt idx="6">
                  <c:v>0.70199999999999996</c:v>
                </c:pt>
                <c:pt idx="7">
                  <c:v>0.97599999999999998</c:v>
                </c:pt>
              </c:numCache>
            </c:numRef>
          </c:yVal>
          <c:bubbleSize>
            <c:numRef>
              <c:f>Sheet1!$C$2:$C$9</c:f>
              <c:numCache>
                <c:formatCode>General</c:formatCode>
                <c:ptCount val="8"/>
                <c:pt idx="0">
                  <c:v>39590</c:v>
                </c:pt>
                <c:pt idx="1">
                  <c:v>22681</c:v>
                </c:pt>
                <c:pt idx="2">
                  <c:v>15156</c:v>
                </c:pt>
                <c:pt idx="3">
                  <c:v>12266</c:v>
                </c:pt>
                <c:pt idx="4">
                  <c:v>11494</c:v>
                </c:pt>
                <c:pt idx="5">
                  <c:v>7965</c:v>
                </c:pt>
                <c:pt idx="6">
                  <c:v>7014</c:v>
                </c:pt>
                <c:pt idx="7">
                  <c:v>6344</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Besserat De Bellefon</c:v>
                  </c:pt>
                  <c:pt idx="6">
                    <c:v>Malard</c:v>
                  </c:pt>
                  <c:pt idx="7">
                    <c:v>Pommer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72A82C3-EC94-4FD5-9898-80B1B8845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B3ABF7C1-6930-4D02-A974-F90629D590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1F545A17-7E24-4266-B861-D4D92D357C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26B37C58-AB58-46DE-A41D-26AC4FE4BF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CAD405F7-683B-4453-9C4A-7EC52A238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19993F6-B8B6-4A34-B1BD-31B8C24D9C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B985E8E-F953-4DF0-882B-78C2EE89B3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71C4559-F18D-4235-A298-48B8AAADF8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576</c:v>
                </c:pt>
              </c:numCache>
            </c:numRef>
          </c:xVal>
          <c:yVal>
            <c:numRef>
              <c:f>Sheet1!$B$2:$B$2</c:f>
              <c:numCache>
                <c:formatCode>General</c:formatCode>
                <c:ptCount val="1"/>
                <c:pt idx="0">
                  <c:v>1</c:v>
                </c:pt>
              </c:numCache>
            </c:numRef>
          </c:yVal>
          <c:bubbleSize>
            <c:numRef>
              <c:f>Sheet1!$C$2:$C$2</c:f>
              <c:numCache>
                <c:formatCode>General</c:formatCode>
                <c:ptCount val="1"/>
                <c:pt idx="0">
                  <c:v>14860</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7CE21A-2531-4BDB-A8AF-3E53353DCC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7CFA78-8489-4711-AF34-BD8AC4F2F6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658935-A871-4155-9393-EC5585EE55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C543D6-28CA-46B6-9ADB-3FEDFA02B0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75DB49-75E3-4BB4-AE13-893393C33F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D51D37-D71B-439E-98FD-834BE58877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E54469-27D5-4D14-9055-161AB08AD6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339E81-E104-41E2-A32C-BD905B2364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43</c:v>
                </c:pt>
                <c:pt idx="1">
                  <c:v>23.652999999999999</c:v>
                </c:pt>
                <c:pt idx="2">
                  <c:v>49.904499999999999</c:v>
                </c:pt>
                <c:pt idx="3">
                  <c:v>52.704900000000002</c:v>
                </c:pt>
                <c:pt idx="4">
                  <c:v>31.571200000000001</c:v>
                </c:pt>
                <c:pt idx="5">
                  <c:v>32.979300000000002</c:v>
                </c:pt>
                <c:pt idx="6">
                  <c:v>29.282399999999999</c:v>
                </c:pt>
                <c:pt idx="7">
                  <c:v>78.368899999999996</c:v>
                </c:pt>
              </c:numCache>
            </c:numRef>
          </c:xVal>
          <c:yVal>
            <c:numRef>
              <c:f>Sheet1!$B$2:$B$9</c:f>
              <c:numCache>
                <c:formatCode>General</c:formatCode>
                <c:ptCount val="8"/>
                <c:pt idx="0">
                  <c:v>1.9390000000000001</c:v>
                </c:pt>
                <c:pt idx="1">
                  <c:v>0.66600000000000004</c:v>
                </c:pt>
                <c:pt idx="2">
                  <c:v>1.3720000000000001</c:v>
                </c:pt>
                <c:pt idx="3">
                  <c:v>1.3240000000000001</c:v>
                </c:pt>
                <c:pt idx="4">
                  <c:v>0.88600000000000001</c:v>
                </c:pt>
                <c:pt idx="5">
                  <c:v>0.90400000000000003</c:v>
                </c:pt>
                <c:pt idx="6">
                  <c:v>0.82299999999999995</c:v>
                </c:pt>
                <c:pt idx="7">
                  <c:v>2.1869999999999998</c:v>
                </c:pt>
              </c:numCache>
            </c:numRef>
          </c:yVal>
          <c:bubbleSize>
            <c:numRef>
              <c:f>Sheet1!$C$2:$C$9</c:f>
              <c:numCache>
                <c:formatCode>General</c:formatCode>
                <c:ptCount val="8"/>
                <c:pt idx="0">
                  <c:v>15694034</c:v>
                </c:pt>
                <c:pt idx="1">
                  <c:v>5705587</c:v>
                </c:pt>
                <c:pt idx="2">
                  <c:v>4988401</c:v>
                </c:pt>
                <c:pt idx="3">
                  <c:v>3290262</c:v>
                </c:pt>
                <c:pt idx="4">
                  <c:v>3234970</c:v>
                </c:pt>
                <c:pt idx="5">
                  <c:v>2270261</c:v>
                </c:pt>
                <c:pt idx="6">
                  <c:v>2092464</c:v>
                </c:pt>
                <c:pt idx="7">
                  <c:v>205028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20EE2A3-2C43-4D2B-81E1-7261E75517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71DD51E-AA1D-4F4D-8802-A053C9917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B89A76A-A9D4-45F0-8A45-F50A5F8B52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A225E8F-6AF9-4C67-AB14-ED9D118D0B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D2BA474-89B5-416D-8384-9B6AE413CD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48B5311-CE58-45E6-AA48-84395F83BE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884BC86-F465-4BCF-9232-A93098315D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7351E80-84F3-43B7-9E47-5624704E95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0999999999996</c:v>
                </c:pt>
                <c:pt idx="1">
                  <c:v>4.2683</c:v>
                </c:pt>
                <c:pt idx="2">
                  <c:v>5.8516000000000004</c:v>
                </c:pt>
                <c:pt idx="3">
                  <c:v>7.1054000000000004</c:v>
                </c:pt>
                <c:pt idx="4">
                  <c:v>6.9976000000000003</c:v>
                </c:pt>
                <c:pt idx="5">
                  <c:v>6.3528000000000002</c:v>
                </c:pt>
                <c:pt idx="6">
                  <c:v>4.9656000000000002</c:v>
                </c:pt>
                <c:pt idx="7">
                  <c:v>7.1954000000000002</c:v>
                </c:pt>
              </c:numCache>
            </c:numRef>
          </c:xVal>
          <c:yVal>
            <c:numRef>
              <c:f>Sheet1!$B$2:$B$9</c:f>
              <c:numCache>
                <c:formatCode>General</c:formatCode>
                <c:ptCount val="8"/>
                <c:pt idx="0">
                  <c:v>1.1240000000000001</c:v>
                </c:pt>
                <c:pt idx="1">
                  <c:v>0.38400000000000001</c:v>
                </c:pt>
                <c:pt idx="2">
                  <c:v>1.286</c:v>
                </c:pt>
                <c:pt idx="3">
                  <c:v>1.3109999999999999</c:v>
                </c:pt>
                <c:pt idx="4">
                  <c:v>1.8540000000000001</c:v>
                </c:pt>
                <c:pt idx="5">
                  <c:v>1.5669999999999999</c:v>
                </c:pt>
                <c:pt idx="6">
                  <c:v>0.44500000000000001</c:v>
                </c:pt>
                <c:pt idx="7">
                  <c:v>1.446</c:v>
                </c:pt>
              </c:numCache>
            </c:numRef>
          </c:yVal>
          <c:bubbleSize>
            <c:numRef>
              <c:f>Sheet1!$C$2:$C$9</c:f>
              <c:numCache>
                <c:formatCode>General</c:formatCode>
                <c:ptCount val="8"/>
                <c:pt idx="0">
                  <c:v>132987950</c:v>
                </c:pt>
                <c:pt idx="1">
                  <c:v>39552397</c:v>
                </c:pt>
                <c:pt idx="2">
                  <c:v>33996423</c:v>
                </c:pt>
                <c:pt idx="3">
                  <c:v>32603771</c:v>
                </c:pt>
                <c:pt idx="4">
                  <c:v>26217786</c:v>
                </c:pt>
                <c:pt idx="5">
                  <c:v>21170443</c:v>
                </c:pt>
                <c:pt idx="6">
                  <c:v>19554616</c:v>
                </c:pt>
                <c:pt idx="7">
                  <c:v>17071028</c:v>
                </c:pt>
              </c:numCache>
            </c:numRef>
          </c:bubbleSize>
          <c:bubble3D val="0"/>
          <c:extLst>
            <c:ext xmlns:c15="http://schemas.microsoft.com/office/drawing/2012/chart" uri="{02D57815-91ED-43cb-92C2-25804820EDAC}">
              <c15:datalabelsRange>
                <c15:f>Sheet1!$E$2:$E$10</c15:f>
                <c15:dlblRangeCache>
                  <c:ptCount val="9"/>
                  <c:pt idx="0">
                    <c:v>Mdd</c:v>
                  </c:pt>
                  <c:pt idx="1">
                    <c:v>Charles Volner</c:v>
                  </c:pt>
                  <c:pt idx="2">
                    <c:v>Freixenet</c:v>
                  </c:pt>
                  <c:pt idx="3">
                    <c:v>Wolfberger</c:v>
                  </c:pt>
                  <c:pt idx="4">
                    <c:v>Riccadonna</c:v>
                  </c:pt>
                  <c:pt idx="5">
                    <c:v>Vilaveroni</c:v>
                  </c:pt>
                  <c:pt idx="6">
                    <c:v>Kriter</c:v>
                  </c:pt>
                  <c:pt idx="7">
                    <c:v>Arthur Metz</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08CA1E02-07C4-407B-900C-283D33FF41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D8D7B12A-7A95-41FC-948B-3A2A7692F7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55096754-0B18-4161-93DD-FDD0CA0B5D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AF2A5CEA-AB5E-4FB2-8D13-A37E3B92A7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8AD9F881-CB39-4926-A3BC-E879F909D7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9D1BA4CE-9E63-4C40-847E-91169112CF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5ECEDC5-E8BE-4A1F-9775-CF6AF2EEAC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DFAD1BB3-DB15-46B7-9BF2-87A01AAFA2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90399999999999</c:v>
                </c:pt>
                <c:pt idx="1">
                  <c:v>9.1667000000000005</c:v>
                </c:pt>
                <c:pt idx="2">
                  <c:v>10.4292</c:v>
                </c:pt>
              </c:numCache>
            </c:numRef>
          </c:xVal>
          <c:yVal>
            <c:numRef>
              <c:f>Sheet1!$B$2:$B$4</c:f>
              <c:numCache>
                <c:formatCode>General</c:formatCode>
                <c:ptCount val="3"/>
                <c:pt idx="0">
                  <c:v>1.3240000000000001</c:v>
                </c:pt>
                <c:pt idx="1">
                  <c:v>1.06</c:v>
                </c:pt>
                <c:pt idx="2">
                  <c:v>1.145</c:v>
                </c:pt>
              </c:numCache>
            </c:numRef>
          </c:yVal>
          <c:bubbleSize>
            <c:numRef>
              <c:f>Sheet1!$C$2:$C$4</c:f>
              <c:numCache>
                <c:formatCode>General</c:formatCode>
                <c:ptCount val="3"/>
                <c:pt idx="0">
                  <c:v>13214</c:v>
                </c:pt>
                <c:pt idx="1">
                  <c:v>5555</c:v>
                </c:pt>
                <c:pt idx="2">
                  <c:v>2284</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C4E6A2-14E0-4AB0-90A6-D71B620EF5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016C3E-CCA0-40DB-A892-097D136DED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D304E7-AE8E-4D55-825A-2578E5584E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B15E69D-3B3B-4BAF-911D-2EF1ED587A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2D40272-B5A3-496D-9A15-108FD527F9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94DE684-2893-481B-993C-BE532AB74D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E58D90C-EEEB-41C2-B663-099517B825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6C2DBB9-E26C-4E56-B5B4-CA7775A6ED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4400000000001</c:v>
                </c:pt>
                <c:pt idx="1">
                  <c:v>11.525499999999999</c:v>
                </c:pt>
                <c:pt idx="2">
                  <c:v>13.9803</c:v>
                </c:pt>
              </c:numCache>
            </c:numRef>
          </c:xVal>
          <c:yVal>
            <c:numRef>
              <c:f>Sheet1!$B$2:$B$4</c:f>
              <c:numCache>
                <c:formatCode>General</c:formatCode>
                <c:ptCount val="3"/>
                <c:pt idx="0">
                  <c:v>0.99099999999999999</c:v>
                </c:pt>
                <c:pt idx="1">
                  <c:v>1.0349999999999999</c:v>
                </c:pt>
                <c:pt idx="2">
                  <c:v>1.2250000000000001</c:v>
                </c:pt>
              </c:numCache>
            </c:numRef>
          </c:yVal>
          <c:bubbleSize>
            <c:numRef>
              <c:f>Sheet1!$C$2:$C$4</c:f>
              <c:numCache>
                <c:formatCode>General</c:formatCode>
                <c:ptCount val="3"/>
                <c:pt idx="0">
                  <c:v>10800</c:v>
                </c:pt>
                <c:pt idx="1">
                  <c:v>5878</c:v>
                </c:pt>
                <c:pt idx="2">
                  <c:v>2125</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7A3EF1C-EFAB-44CC-A0EE-7BB50A7580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212DFE12-DA7C-43FB-8B07-D0D80CF8F8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4F385082-05AE-4839-BB0C-7A96A5A59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ACB40B5A-6ECA-4C2E-B6D5-80451FAA28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9B4F1E07-7265-4529-8876-1167DA0275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F1C5E0A4-1656-4481-B54E-A6D28E1D07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5F7CAA7E-54EB-40A1-B68A-BEA5921C54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E80D30D9-2F13-4396-AA3F-02C3E8E317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818</c:v>
                </c:pt>
              </c:numCache>
            </c:numRef>
          </c:xVal>
          <c:yVal>
            <c:numRef>
              <c:f>Sheet1!$B$2:$B$2</c:f>
              <c:numCache>
                <c:formatCode>General</c:formatCode>
                <c:ptCount val="1"/>
                <c:pt idx="0">
                  <c:v>1</c:v>
                </c:pt>
              </c:numCache>
            </c:numRef>
          </c:yVal>
          <c:bubbleSize>
            <c:numRef>
              <c:f>Sheet1!$C$2:$C$2</c:f>
              <c:numCache>
                <c:formatCode>General</c:formatCode>
                <c:ptCount val="1"/>
                <c:pt idx="0">
                  <c:v>961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8B3EA4C-6162-4ADE-BC14-15B78C52B2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C9A8F84-9154-4BAF-8624-8206827D49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C55F7F6-0B35-4CE5-9D19-A8FAE3F90F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72C3FCF8-8890-4F87-8BD2-23D356BCFF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8525D26-BBED-4E1C-AA7A-7C78886167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1E0C438-74A3-4292-8BED-4265736D61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1E60484-74FA-48A2-BB80-5D55C295F5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3A8C0B9-8232-4C27-854F-EBE59C4EFE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453</c:v>
                </c:pt>
                <c:pt idx="1">
                  <c:v>10.7027</c:v>
                </c:pt>
              </c:numCache>
            </c:numRef>
          </c:xVal>
          <c:yVal>
            <c:numRef>
              <c:f>Sheet1!$B$2:$B$3</c:f>
              <c:numCache>
                <c:formatCode>General</c:formatCode>
                <c:ptCount val="2"/>
                <c:pt idx="0">
                  <c:v>0.9</c:v>
                </c:pt>
                <c:pt idx="1">
                  <c:v>0.81599999999999995</c:v>
                </c:pt>
              </c:numCache>
            </c:numRef>
          </c:yVal>
          <c:bubbleSize>
            <c:numRef>
              <c:f>Sheet1!$C$2:$C$3</c:f>
              <c:numCache>
                <c:formatCode>General</c:formatCode>
                <c:ptCount val="2"/>
                <c:pt idx="0">
                  <c:v>2200</c:v>
                </c:pt>
                <c:pt idx="1">
                  <c:v>396</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066AF1-B0F6-4445-8C9B-A60923C394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87D740-1F04-4889-A94F-D1C46E18BB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C0E8DD-D4EE-4E99-B43C-B6D073F969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028CAB-0612-40DC-B9F6-A20F185B59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6E96B6-38FE-41EC-A192-9D2E6D8BB1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38D9BB-3EAE-4A05-8837-DFC25A32CF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1CE629-3744-469A-A876-89030F5BC3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982D55-2606-4A06-BA58-5E563995C4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6083</c:v>
                </c:pt>
                <c:pt idx="1">
                  <c:v>40.554200000000002</c:v>
                </c:pt>
                <c:pt idx="2">
                  <c:v>35.214300000000001</c:v>
                </c:pt>
                <c:pt idx="3">
                  <c:v>77.7453</c:v>
                </c:pt>
                <c:pt idx="4">
                  <c:v>56.062899999999999</c:v>
                </c:pt>
                <c:pt idx="5">
                  <c:v>48.319699999999997</c:v>
                </c:pt>
                <c:pt idx="6">
                  <c:v>40.115099999999998</c:v>
                </c:pt>
                <c:pt idx="7">
                  <c:v>72.929599999999994</c:v>
                </c:pt>
              </c:numCache>
            </c:numRef>
          </c:xVal>
          <c:yVal>
            <c:numRef>
              <c:f>Sheet1!$B$2:$B$9</c:f>
              <c:numCache>
                <c:formatCode>General</c:formatCode>
                <c:ptCount val="8"/>
                <c:pt idx="0">
                  <c:v>2.0590000000000002</c:v>
                </c:pt>
                <c:pt idx="1">
                  <c:v>0.89200000000000002</c:v>
                </c:pt>
                <c:pt idx="2">
                  <c:v>0.74399999999999999</c:v>
                </c:pt>
                <c:pt idx="3">
                  <c:v>1.4770000000000001</c:v>
                </c:pt>
                <c:pt idx="4">
                  <c:v>1.0329999999999999</c:v>
                </c:pt>
                <c:pt idx="5">
                  <c:v>0.90100000000000002</c:v>
                </c:pt>
                <c:pt idx="6">
                  <c:v>0.78300000000000003</c:v>
                </c:pt>
                <c:pt idx="7">
                  <c:v>1.3240000000000001</c:v>
                </c:pt>
              </c:numCache>
            </c:numRef>
          </c:yVal>
          <c:bubbleSize>
            <c:numRef>
              <c:f>Sheet1!$C$2:$C$9</c:f>
              <c:numCache>
                <c:formatCode>General</c:formatCode>
                <c:ptCount val="8"/>
                <c:pt idx="0">
                  <c:v>81984</c:v>
                </c:pt>
                <c:pt idx="1">
                  <c:v>13099</c:v>
                </c:pt>
                <c:pt idx="2">
                  <c:v>8874</c:v>
                </c:pt>
                <c:pt idx="3">
                  <c:v>8241</c:v>
                </c:pt>
                <c:pt idx="4">
                  <c:v>8017</c:v>
                </c:pt>
                <c:pt idx="5">
                  <c:v>5895</c:v>
                </c:pt>
                <c:pt idx="6">
                  <c:v>5576</c:v>
                </c:pt>
                <c:pt idx="7">
                  <c:v>51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Ayala</c:v>
                  </c:pt>
                  <c:pt idx="4">
                    <c:v>Delamotte</c:v>
                  </c:pt>
                  <c:pt idx="5">
                    <c:v>Henriot</c:v>
                  </c:pt>
                  <c:pt idx="6">
                    <c:v>De Bligny</c:v>
                  </c:pt>
                  <c:pt idx="7">
                    <c:v>De Venog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3"/>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10F42B7-D310-4A8D-AB18-B1249A802B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0697EBD-F7E0-422C-AAEB-A1980DD54C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A2CDDB4-3666-4472-8615-6780CECE62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2473180-7FC4-4402-8417-77394EBF47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6F44666-BF21-4B0B-A7F4-19764BEF9E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1564620-512F-469C-BB94-EAAD0C6202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D93C4C4-D94E-4D38-AAD7-526811C345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E9565AF-4D11-4AAC-846F-988AA4E78C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734200000000001</c:v>
                </c:pt>
                <c:pt idx="1">
                  <c:v>21.622299999999999</c:v>
                </c:pt>
                <c:pt idx="2">
                  <c:v>48.889699999999998</c:v>
                </c:pt>
                <c:pt idx="3">
                  <c:v>51.144300000000001</c:v>
                </c:pt>
                <c:pt idx="4">
                  <c:v>33.765999999999998</c:v>
                </c:pt>
                <c:pt idx="5">
                  <c:v>63.582700000000003</c:v>
                </c:pt>
                <c:pt idx="6">
                  <c:v>37.339100000000002</c:v>
                </c:pt>
                <c:pt idx="7">
                  <c:v>54.231400000000001</c:v>
                </c:pt>
              </c:numCache>
            </c:numRef>
          </c:xVal>
          <c:yVal>
            <c:numRef>
              <c:f>Sheet1!$B$2:$B$9</c:f>
              <c:numCache>
                <c:formatCode>General</c:formatCode>
                <c:ptCount val="8"/>
                <c:pt idx="0">
                  <c:v>1.528</c:v>
                </c:pt>
                <c:pt idx="1">
                  <c:v>0.57299999999999995</c:v>
                </c:pt>
                <c:pt idx="2">
                  <c:v>1.2290000000000001</c:v>
                </c:pt>
                <c:pt idx="3">
                  <c:v>1.153</c:v>
                </c:pt>
                <c:pt idx="4">
                  <c:v>0.90600000000000003</c:v>
                </c:pt>
                <c:pt idx="5">
                  <c:v>1.5640000000000001</c:v>
                </c:pt>
                <c:pt idx="6">
                  <c:v>0.997</c:v>
                </c:pt>
                <c:pt idx="7">
                  <c:v>1.2030000000000001</c:v>
                </c:pt>
              </c:numCache>
            </c:numRef>
          </c:yVal>
          <c:bubbleSize>
            <c:numRef>
              <c:f>Sheet1!$C$2:$C$9</c:f>
              <c:numCache>
                <c:formatCode>General</c:formatCode>
                <c:ptCount val="8"/>
                <c:pt idx="0">
                  <c:v>184954</c:v>
                </c:pt>
                <c:pt idx="1">
                  <c:v>116501</c:v>
                </c:pt>
                <c:pt idx="2">
                  <c:v>77588</c:v>
                </c:pt>
                <c:pt idx="3">
                  <c:v>49252</c:v>
                </c:pt>
                <c:pt idx="4">
                  <c:v>47610</c:v>
                </c:pt>
                <c:pt idx="5">
                  <c:v>41901</c:v>
                </c:pt>
                <c:pt idx="6">
                  <c:v>41185</c:v>
                </c:pt>
                <c:pt idx="7">
                  <c:v>34220</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Canard Duchêne</c:v>
                  </c:pt>
                  <c:pt idx="5">
                    <c:v>Bollinger</c:v>
                  </c:pt>
                  <c:pt idx="6">
                    <c:v>Ayala</c:v>
                  </c:pt>
                  <c:pt idx="7">
                    <c:v>Taitting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
          <c:min val="1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C3D9B5B-A22C-4DA8-91AF-B66AF8FB41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E061A25-A74A-4CF7-9110-66DB9DFB9F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923D0A0A-3CB9-44FF-A2BD-848B4DEF54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C4D9A10-9FA4-4F94-BC33-A77E13E6B6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FED959A5-56DC-441C-9B46-EEA94B3CA6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3D716D5-01C6-45A0-821D-8C99171F9B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2950B36-924B-4ABC-AB0E-A081635B48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A34AEE8-5DED-40A7-AAC9-ADA2323CE7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215199999999999</c:v>
                </c:pt>
                <c:pt idx="1">
                  <c:v>30.151700000000002</c:v>
                </c:pt>
                <c:pt idx="2">
                  <c:v>31.995200000000001</c:v>
                </c:pt>
                <c:pt idx="3">
                  <c:v>39.242400000000004</c:v>
                </c:pt>
              </c:numCache>
            </c:numRef>
          </c:xVal>
          <c:yVal>
            <c:numRef>
              <c:f>Sheet1!$B$2:$B$5</c:f>
              <c:numCache>
                <c:formatCode>General</c:formatCode>
                <c:ptCount val="4"/>
                <c:pt idx="0">
                  <c:v>0.98599999999999999</c:v>
                </c:pt>
                <c:pt idx="1">
                  <c:v>1.0049999999999999</c:v>
                </c:pt>
                <c:pt idx="2">
                  <c:v>1.0469999999999999</c:v>
                </c:pt>
                <c:pt idx="3">
                  <c:v>1.0920000000000001</c:v>
                </c:pt>
              </c:numCache>
            </c:numRef>
          </c:yVal>
          <c:bubbleSize>
            <c:numRef>
              <c:f>Sheet1!$C$2:$C$5</c:f>
              <c:numCache>
                <c:formatCode>General</c:formatCode>
                <c:ptCount val="4"/>
                <c:pt idx="0">
                  <c:v>32984</c:v>
                </c:pt>
                <c:pt idx="1">
                  <c:v>11729</c:v>
                </c:pt>
                <c:pt idx="2">
                  <c:v>6623</c:v>
                </c:pt>
                <c:pt idx="3">
                  <c:v>1295</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
          <c:min val="2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5B92888C-8E41-480A-8735-82B8EA0EE7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A50531B-E5D3-4E9E-A28E-165342DCC8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58A68C6-756F-4BA7-9CED-86FE1758F3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F26B0626-090F-4233-894E-CE12C05A00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E0C0A879-844F-47B9-8102-5E45F9C87E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82F2F5F2-0ADF-4F4B-BCF9-68C0F42BB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00A78ECA-9B6C-47AB-90EB-6340166F2B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DE2CE377-AD6F-48D4-B565-5E48C96E60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1.212</c:v>
                </c:pt>
                <c:pt idx="1">
                  <c:v>43.988500000000002</c:v>
                </c:pt>
                <c:pt idx="2">
                  <c:v>39.526299999999999</c:v>
                </c:pt>
                <c:pt idx="3">
                  <c:v>40.066699999999997</c:v>
                </c:pt>
              </c:numCache>
            </c:numRef>
          </c:xVal>
          <c:yVal>
            <c:numRef>
              <c:f>Sheet1!$B$2:$B$5</c:f>
              <c:numCache>
                <c:formatCode>General</c:formatCode>
                <c:ptCount val="4"/>
                <c:pt idx="0">
                  <c:v>0.94599999999999995</c:v>
                </c:pt>
                <c:pt idx="1">
                  <c:v>1.335</c:v>
                </c:pt>
                <c:pt idx="2">
                  <c:v>0.98099999999999998</c:v>
                </c:pt>
                <c:pt idx="3">
                  <c:v>1.145</c:v>
                </c:pt>
              </c:numCache>
            </c:numRef>
          </c:yVal>
          <c:bubbleSize>
            <c:numRef>
              <c:f>Sheet1!$C$2:$C$5</c:f>
              <c:numCache>
                <c:formatCode>General</c:formatCode>
                <c:ptCount val="4"/>
                <c:pt idx="0">
                  <c:v>34739</c:v>
                </c:pt>
                <c:pt idx="1">
                  <c:v>7654</c:v>
                </c:pt>
                <c:pt idx="2">
                  <c:v>1502</c:v>
                </c:pt>
                <c:pt idx="3">
                  <c:v>601</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pt idx="3">
                    <c:v>Piper Heidsieck</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7A2484-C732-482F-9F20-11D09F6E4D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4307B2-BFA2-4605-918C-0FF96861AC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E4ACF9-490C-4806-A4C6-9ADA28AA20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DAFB53-5370-46D4-B935-40E5B299B9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118957-6EEF-4781-B11A-573711027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E9C34E-3816-4EF5-8EBB-B67578F28E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6BABD7-7B71-4451-A6D0-37A97A7901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F8DFB0-66E8-487F-837B-6008BADA48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84.45569999999998</c:v>
                </c:pt>
                <c:pt idx="1">
                  <c:v>146.87</c:v>
                </c:pt>
                <c:pt idx="2">
                  <c:v>98.268699999999995</c:v>
                </c:pt>
                <c:pt idx="3">
                  <c:v>38.807899999999997</c:v>
                </c:pt>
                <c:pt idx="4">
                  <c:v>255.3158</c:v>
                </c:pt>
                <c:pt idx="5">
                  <c:v>67.7</c:v>
                </c:pt>
                <c:pt idx="6">
                  <c:v>218.27269999999999</c:v>
                </c:pt>
                <c:pt idx="7">
                  <c:v>341.1429</c:v>
                </c:pt>
              </c:numCache>
            </c:numRef>
          </c:xVal>
          <c:yVal>
            <c:numRef>
              <c:f>Sheet1!$B$2:$B$9</c:f>
              <c:numCache>
                <c:formatCode>General</c:formatCode>
                <c:ptCount val="8"/>
                <c:pt idx="0">
                  <c:v>2.2229999999999999</c:v>
                </c:pt>
                <c:pt idx="1">
                  <c:v>1.105</c:v>
                </c:pt>
                <c:pt idx="2">
                  <c:v>0.78600000000000003</c:v>
                </c:pt>
                <c:pt idx="3">
                  <c:v>0.34100000000000003</c:v>
                </c:pt>
                <c:pt idx="4">
                  <c:v>1.976</c:v>
                </c:pt>
                <c:pt idx="5">
                  <c:v>0.52100000000000002</c:v>
                </c:pt>
                <c:pt idx="6">
                  <c:v>1.5109999999999999</c:v>
                </c:pt>
                <c:pt idx="7">
                  <c:v>2.3620000000000001</c:v>
                </c:pt>
              </c:numCache>
            </c:numRef>
          </c:yVal>
          <c:bubbleSize>
            <c:numRef>
              <c:f>Sheet1!$C$2:$C$9</c:f>
              <c:numCache>
                <c:formatCode>General</c:formatCode>
                <c:ptCount val="8"/>
                <c:pt idx="0">
                  <c:v>22472</c:v>
                </c:pt>
                <c:pt idx="1">
                  <c:v>14687</c:v>
                </c:pt>
                <c:pt idx="2">
                  <c:v>6584</c:v>
                </c:pt>
                <c:pt idx="3">
                  <c:v>5860</c:v>
                </c:pt>
                <c:pt idx="4">
                  <c:v>4851</c:v>
                </c:pt>
                <c:pt idx="5">
                  <c:v>2708</c:v>
                </c:pt>
                <c:pt idx="6">
                  <c:v>2401</c:v>
                </c:pt>
                <c:pt idx="7">
                  <c:v>238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errier Jouet</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9"/>
          <c:min val="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F05DAAF-C499-411B-97B3-81775E814B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AD0AAC6-2101-4D02-BD58-5BACDDD975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EB384D6-A475-4AB9-A0D9-BD321D1558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4D434A4-9666-4D85-878D-C722A34F47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CB8C825-9778-4252-B898-C068138891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B4623F9-8C41-4FEF-875A-D993278B9A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105E7F6-A387-4C2A-AC01-86D865D21A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DF2EACB-295C-4C5E-8896-8C95C566DB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99299999999999</c:v>
                </c:pt>
                <c:pt idx="1">
                  <c:v>58.336399999999998</c:v>
                </c:pt>
                <c:pt idx="2">
                  <c:v>25.557099999999998</c:v>
                </c:pt>
                <c:pt idx="3">
                  <c:v>37.690100000000001</c:v>
                </c:pt>
                <c:pt idx="4">
                  <c:v>84.796300000000002</c:v>
                </c:pt>
                <c:pt idx="5">
                  <c:v>35.964500000000001</c:v>
                </c:pt>
                <c:pt idx="6">
                  <c:v>37.8874</c:v>
                </c:pt>
                <c:pt idx="7">
                  <c:v>52.653799999999997</c:v>
                </c:pt>
              </c:numCache>
            </c:numRef>
          </c:xVal>
          <c:yVal>
            <c:numRef>
              <c:f>Sheet1!$B$2:$B$9</c:f>
              <c:numCache>
                <c:formatCode>General</c:formatCode>
                <c:ptCount val="8"/>
                <c:pt idx="0">
                  <c:v>1.92</c:v>
                </c:pt>
                <c:pt idx="1">
                  <c:v>1.36</c:v>
                </c:pt>
                <c:pt idx="2">
                  <c:v>0.55500000000000005</c:v>
                </c:pt>
                <c:pt idx="3">
                  <c:v>0.78700000000000003</c:v>
                </c:pt>
                <c:pt idx="4">
                  <c:v>1.655</c:v>
                </c:pt>
                <c:pt idx="5">
                  <c:v>0.749</c:v>
                </c:pt>
                <c:pt idx="6">
                  <c:v>0.72899999999999998</c:v>
                </c:pt>
                <c:pt idx="7">
                  <c:v>1.0640000000000001</c:v>
                </c:pt>
              </c:numCache>
            </c:numRef>
          </c:yVal>
          <c:bubbleSize>
            <c:numRef>
              <c:f>Sheet1!$C$2:$C$9</c:f>
              <c:numCache>
                <c:formatCode>General</c:formatCode>
                <c:ptCount val="8"/>
                <c:pt idx="0">
                  <c:v>26677</c:v>
                </c:pt>
                <c:pt idx="1">
                  <c:v>19076</c:v>
                </c:pt>
                <c:pt idx="2">
                  <c:v>18810</c:v>
                </c:pt>
                <c:pt idx="3">
                  <c:v>11797</c:v>
                </c:pt>
                <c:pt idx="4">
                  <c:v>9158</c:v>
                </c:pt>
                <c:pt idx="5">
                  <c:v>7085</c:v>
                </c:pt>
                <c:pt idx="6">
                  <c:v>5721</c:v>
                </c:pt>
                <c:pt idx="7">
                  <c:v>5476</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Malard</c:v>
                  </c:pt>
                  <c:pt idx="6">
                    <c:v>Nicolas Feuillatte</c:v>
                  </c:pt>
                  <c:pt idx="7">
                    <c:v>Pommer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
          <c:min val="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7FA85E1-3EA8-45FF-8665-6D86C7C99A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F581AF6-EA9A-404C-9E73-BFD20C1DFD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6DD0949-8EBD-4193-81E9-AFE523391F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FC5480D-8587-41AB-B343-6D011CA924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889384F-8611-4C21-A305-E5367E53B0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49A1E8C-620B-4670-AEB9-38110F1B5C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F67E5AE-2C15-409A-A895-B8A595816C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0E1FCE5-4821-4DC6-B1E0-E5F388DC44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5872999999999999</c:v>
                </c:pt>
                <c:pt idx="1">
                  <c:v>3.6678000000000002</c:v>
                </c:pt>
                <c:pt idx="2">
                  <c:v>3.9388000000000001</c:v>
                </c:pt>
                <c:pt idx="3">
                  <c:v>2.9659</c:v>
                </c:pt>
                <c:pt idx="4">
                  <c:v>5.45</c:v>
                </c:pt>
                <c:pt idx="5">
                  <c:v>7.4157999999999999</c:v>
                </c:pt>
                <c:pt idx="6">
                  <c:v>29.135300000000001</c:v>
                </c:pt>
              </c:numCache>
            </c:numRef>
          </c:xVal>
          <c:yVal>
            <c:numRef>
              <c:f>Sheet1!$B$2:$B$8</c:f>
              <c:numCache>
                <c:formatCode>General</c:formatCode>
                <c:ptCount val="7"/>
                <c:pt idx="0">
                  <c:v>0.93100000000000005</c:v>
                </c:pt>
                <c:pt idx="1">
                  <c:v>0.95099999999999996</c:v>
                </c:pt>
                <c:pt idx="2">
                  <c:v>1.0089999999999999</c:v>
                </c:pt>
                <c:pt idx="3">
                  <c:v>0.76900000000000002</c:v>
                </c:pt>
                <c:pt idx="4">
                  <c:v>1.4139999999999999</c:v>
                </c:pt>
                <c:pt idx="5">
                  <c:v>1.9059999999999999</c:v>
                </c:pt>
                <c:pt idx="6">
                  <c:v>7.5529999999999999</c:v>
                </c:pt>
              </c:numCache>
            </c:numRef>
          </c:yVal>
          <c:bubbleSize>
            <c:numRef>
              <c:f>Sheet1!$C$2:$C$8</c:f>
              <c:numCache>
                <c:formatCode>General</c:formatCode>
                <c:ptCount val="7"/>
                <c:pt idx="0">
                  <c:v>8393288</c:v>
                </c:pt>
                <c:pt idx="1">
                  <c:v>5214126</c:v>
                </c:pt>
                <c:pt idx="2">
                  <c:v>4064943</c:v>
                </c:pt>
                <c:pt idx="3">
                  <c:v>2391008</c:v>
                </c:pt>
                <c:pt idx="4">
                  <c:v>1430636</c:v>
                </c:pt>
                <c:pt idx="5">
                  <c:v>436974</c:v>
                </c:pt>
                <c:pt idx="6">
                  <c:v>337562</c:v>
                </c:pt>
              </c:numCache>
            </c:numRef>
          </c:bubbleSize>
          <c:bubble3D val="0"/>
          <c:extLst>
            <c:ext xmlns:c15="http://schemas.microsoft.com/office/drawing/2012/chart" uri="{02D57815-91ED-43cb-92C2-25804820EDAC}">
              <c15:datalabelsRange>
                <c15:f>Sheet1!$E$2:$E$10</c15:f>
                <c15:dlblRangeCache>
                  <c:ptCount val="9"/>
                  <c:pt idx="0">
                    <c:v>D'Artigny</c:v>
                  </c:pt>
                  <c:pt idx="1">
                    <c:v>Festillant</c:v>
                  </c:pt>
                  <c:pt idx="2">
                    <c:v>Petillant De Listel</c:v>
                  </c:pt>
                  <c:pt idx="3">
                    <c:v>Mdd</c:v>
                  </c:pt>
                  <c:pt idx="4">
                    <c:v>Freixenet</c:v>
                  </c:pt>
                  <c:pt idx="5">
                    <c:v>Ackerman</c:v>
                  </c:pt>
                  <c:pt idx="6">
                    <c:v>De Chanceny</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1AB6E0E-8E6C-45A0-AD21-BD7DEBF79D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FA5D5650-7C84-41EE-B876-408D84E005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535E963-C3E2-40DC-B0FC-40B3BDCA49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7F3BF9FD-5FFE-45D3-901E-9AACCE8742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F5F6EA0A-0B17-47A3-9F06-5650B63DC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43A0D641-9481-4E8E-A220-9C16331EEC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284310D1-154A-4C3C-A919-978B8D251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83D1A1A-3AC3-4286-B27E-EB5998B906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973800000000001</c:v>
                </c:pt>
              </c:numCache>
            </c:numRef>
          </c:xVal>
          <c:yVal>
            <c:numRef>
              <c:f>Sheet1!$B$2:$B$2</c:f>
              <c:numCache>
                <c:formatCode>General</c:formatCode>
                <c:ptCount val="1"/>
                <c:pt idx="0">
                  <c:v>1</c:v>
                </c:pt>
              </c:numCache>
            </c:numRef>
          </c:yVal>
          <c:bubbleSize>
            <c:numRef>
              <c:f>Sheet1!$C$2:$C$2</c:f>
              <c:numCache>
                <c:formatCode>General</c:formatCode>
                <c:ptCount val="1"/>
                <c:pt idx="0">
                  <c:v>3957</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5D2408C1-6434-4457-9B8F-E6FE55DEF8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C6580F77-2874-47BC-BEEA-6AF0D1B243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F09DF734-C433-4085-A0C3-D7960763F3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ECB3A913-80D4-429C-9817-78754FC7C4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7ADE5D13-34DD-4DBC-865E-EDB7D7A782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9408A33F-A552-41ED-88CD-7332364303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B50E3C30-457E-4D40-992C-CFFB33D72C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70A1969B-F0FE-4231-9FFD-514F007A08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9.0344999999999995</c:v>
                </c:pt>
                <c:pt idx="1">
                  <c:v>11.645300000000001</c:v>
                </c:pt>
                <c:pt idx="2">
                  <c:v>11.3782</c:v>
                </c:pt>
              </c:numCache>
            </c:numRef>
          </c:xVal>
          <c:yVal>
            <c:numRef>
              <c:f>Sheet1!$B$2:$B$4</c:f>
              <c:numCache>
                <c:formatCode>General</c:formatCode>
                <c:ptCount val="3"/>
                <c:pt idx="0">
                  <c:v>1.079</c:v>
                </c:pt>
                <c:pt idx="1">
                  <c:v>1.337</c:v>
                </c:pt>
                <c:pt idx="2">
                  <c:v>1.115</c:v>
                </c:pt>
              </c:numCache>
            </c:numRef>
          </c:yVal>
          <c:bubbleSize>
            <c:numRef>
              <c:f>Sheet1!$C$2:$C$4</c:f>
              <c:numCache>
                <c:formatCode>General</c:formatCode>
                <c:ptCount val="3"/>
                <c:pt idx="0">
                  <c:v>3930</c:v>
                </c:pt>
                <c:pt idx="1">
                  <c:v>3447</c:v>
                </c:pt>
                <c:pt idx="2">
                  <c:v>1775</c:v>
                </c:pt>
              </c:numCache>
            </c:numRef>
          </c:bubbleSize>
          <c:bubble3D val="0"/>
          <c:extLst>
            <c:ext xmlns:c15="http://schemas.microsoft.com/office/drawing/2012/chart" uri="{02D57815-91ED-43cb-92C2-25804820EDAC}">
              <c15:datalabelsRange>
                <c15:f>Sheet1!$E$2:$E$10</c15:f>
                <c15:dlblRangeCache>
                  <c:ptCount val="9"/>
                  <c:pt idx="0">
                    <c:v>Savian</c:v>
                  </c:pt>
                  <c:pt idx="1">
                    <c:v>Bottega</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586B84-CC3D-4593-998C-092B50BCD5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689A55-4FFC-450F-87B2-E0C9B0B13D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7FAD24-D8A8-4D7E-A3B0-22A2B6AD9D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5BB557B-E0FB-415A-AF26-0843AD4F64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1C982C2-2613-45F7-A416-6D73884F34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E5D2A2A-CC60-4DEA-8777-981ABA4C15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F9ECA05-1BAC-44DD-AA6E-7BC5749B5E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130DF6C-B51C-47F4-BCAA-48F847D6AC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005</c:v>
                </c:pt>
                <c:pt idx="1">
                  <c:v>13.552199999999999</c:v>
                </c:pt>
                <c:pt idx="2">
                  <c:v>13.9505</c:v>
                </c:pt>
              </c:numCache>
            </c:numRef>
          </c:xVal>
          <c:yVal>
            <c:numRef>
              <c:f>Sheet1!$B$2:$B$4</c:f>
              <c:numCache>
                <c:formatCode>General</c:formatCode>
                <c:ptCount val="3"/>
                <c:pt idx="0">
                  <c:v>1</c:v>
                </c:pt>
                <c:pt idx="1">
                  <c:v>0.97099999999999997</c:v>
                </c:pt>
                <c:pt idx="2">
                  <c:v>1.1890000000000001</c:v>
                </c:pt>
              </c:numCache>
            </c:numRef>
          </c:yVal>
          <c:bubbleSize>
            <c:numRef>
              <c:f>Sheet1!$C$2:$C$4</c:f>
              <c:numCache>
                <c:formatCode>General</c:formatCode>
                <c:ptCount val="3"/>
                <c:pt idx="0">
                  <c:v>2188</c:v>
                </c:pt>
                <c:pt idx="1">
                  <c:v>1816</c:v>
                </c:pt>
                <c:pt idx="2">
                  <c:v>1409</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90D9D8B-8BCF-4B95-BD77-997206BE9C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CE060C29-4980-45A3-B6F4-A39BC1F6CF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D14DDDC0-7C07-411D-83C1-3B427AA589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6D1C58CE-FFCB-4E61-928A-030906803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26480BC4-1CE6-4E2B-B4F7-F763F3335E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CED2D58C-9487-4AF8-A8D2-1A90875532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266AC9F1-16EE-4552-AE29-E72DB8D68B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EAD4D6B6-D3B8-43C4-88F5-6921931574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33100000000002</c:v>
                </c:pt>
              </c:numCache>
            </c:numRef>
          </c:xVal>
          <c:yVal>
            <c:numRef>
              <c:f>Sheet1!$B$2:$B$2</c:f>
              <c:numCache>
                <c:formatCode>General</c:formatCode>
                <c:ptCount val="1"/>
                <c:pt idx="0">
                  <c:v>1.5169999999999999</c:v>
                </c:pt>
              </c:numCache>
            </c:numRef>
          </c:yVal>
          <c:bubbleSize>
            <c:numRef>
              <c:f>Sheet1!$C$2:$C$2</c:f>
              <c:numCache>
                <c:formatCode>General</c:formatCode>
                <c:ptCount val="1"/>
                <c:pt idx="0">
                  <c:v>68483</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8AFDF81-B42F-4F30-ADAA-6A88F0E608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F312D09-C220-44E2-A5D2-328F758B47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A6FC98C-9D47-4A94-BBFE-C5CA116C2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0F3BE942-DB8D-41B4-9D67-1C3BFABB11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C6ADF481-F1D2-47CC-B308-7A0CAB60BD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E1DDD191-47CC-475B-A69A-70E50B629C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432A769-6C02-4390-AB97-DD628D0BFE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A8A65ED-4EB3-4781-9883-8BC9E93E77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212400000000001</c:v>
                </c:pt>
                <c:pt idx="1">
                  <c:v>9.5396999999999998</c:v>
                </c:pt>
              </c:numCache>
            </c:numRef>
          </c:xVal>
          <c:yVal>
            <c:numRef>
              <c:f>Sheet1!$B$2:$B$3</c:f>
              <c:numCache>
                <c:formatCode>General</c:formatCode>
                <c:ptCount val="2"/>
                <c:pt idx="0">
                  <c:v>1.097</c:v>
                </c:pt>
                <c:pt idx="1">
                  <c:v>0.84199999999999997</c:v>
                </c:pt>
              </c:numCache>
            </c:numRef>
          </c:yVal>
          <c:bubbleSize>
            <c:numRef>
              <c:f>Sheet1!$C$2:$C$3</c:f>
              <c:numCache>
                <c:formatCode>General</c:formatCode>
                <c:ptCount val="2"/>
                <c:pt idx="0">
                  <c:v>1267</c:v>
                </c:pt>
                <c:pt idx="1">
                  <c:v>60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09C74B-971B-47BF-90BA-BA4ED41C37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E9F4C3-6710-4CEC-8A19-E95561AB52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D3AA9A-BC24-44F2-8E82-F51CC95695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02BE03-C605-4B80-8E66-CAD14D1F0C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3EED54-2673-420E-B54A-540E87A66B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A68F9C-8903-40BF-84CF-9D179FB4B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F87450-AFCF-4F5B-A0F2-E370641A2D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D3D37D-D5D5-4D53-9A00-D24685C698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792599999999993</c:v>
                </c:pt>
                <c:pt idx="1">
                  <c:v>39.543100000000003</c:v>
                </c:pt>
                <c:pt idx="2">
                  <c:v>35.273200000000003</c:v>
                </c:pt>
                <c:pt idx="3">
                  <c:v>59.5274</c:v>
                </c:pt>
                <c:pt idx="4">
                  <c:v>84.996300000000005</c:v>
                </c:pt>
                <c:pt idx="5">
                  <c:v>46.717700000000001</c:v>
                </c:pt>
                <c:pt idx="6">
                  <c:v>53.284199999999998</c:v>
                </c:pt>
                <c:pt idx="7">
                  <c:v>203.2747</c:v>
                </c:pt>
              </c:numCache>
            </c:numRef>
          </c:xVal>
          <c:yVal>
            <c:numRef>
              <c:f>Sheet1!$B$2:$B$9</c:f>
              <c:numCache>
                <c:formatCode>General</c:formatCode>
                <c:ptCount val="8"/>
                <c:pt idx="0">
                  <c:v>1.272</c:v>
                </c:pt>
                <c:pt idx="1">
                  <c:v>0.52700000000000002</c:v>
                </c:pt>
                <c:pt idx="2">
                  <c:v>0.45400000000000001</c:v>
                </c:pt>
                <c:pt idx="3">
                  <c:v>0.79</c:v>
                </c:pt>
                <c:pt idx="4">
                  <c:v>1.091</c:v>
                </c:pt>
                <c:pt idx="5">
                  <c:v>0.60199999999999998</c:v>
                </c:pt>
                <c:pt idx="6">
                  <c:v>0.68</c:v>
                </c:pt>
                <c:pt idx="7">
                  <c:v>2.66</c:v>
                </c:pt>
              </c:numCache>
            </c:numRef>
          </c:yVal>
          <c:bubbleSize>
            <c:numRef>
              <c:f>Sheet1!$C$2:$C$9</c:f>
              <c:numCache>
                <c:formatCode>General</c:formatCode>
                <c:ptCount val="8"/>
                <c:pt idx="0">
                  <c:v>1886198</c:v>
                </c:pt>
                <c:pt idx="1">
                  <c:v>146191</c:v>
                </c:pt>
                <c:pt idx="2">
                  <c:v>116472</c:v>
                </c:pt>
                <c:pt idx="3">
                  <c:v>76076</c:v>
                </c:pt>
                <c:pt idx="4">
                  <c:v>67997</c:v>
                </c:pt>
                <c:pt idx="5">
                  <c:v>66853</c:v>
                </c:pt>
                <c:pt idx="6">
                  <c:v>61490</c:v>
                </c:pt>
                <c:pt idx="7">
                  <c:v>4736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Perrier Jouet</c:v>
                  </c:pt>
                  <c:pt idx="5">
                    <c:v>Henriot</c:v>
                  </c:pt>
                  <c:pt idx="6">
                    <c:v>Delamotte</c:v>
                  </c:pt>
                  <c:pt idx="7">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4"/>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610EF05-CD0F-4315-B37A-3F4376A72E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4F2AB06-5B10-4B91-BDCA-FEDDCF0D1A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083F487-FB89-401C-B295-B844D38170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D940DAA-9060-40E0-B934-3610FFC1F8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BF61E17-1F66-4795-801A-AD99833623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091FE5E-B21C-4DA0-B643-C6B5FF4A7E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C3CBBFA-A610-4BE7-B74A-912111FE30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4F8F170-17E2-4C9D-8CB1-9456138A8C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299700000000001</c:v>
                </c:pt>
                <c:pt idx="1">
                  <c:v>22.172899999999998</c:v>
                </c:pt>
                <c:pt idx="2">
                  <c:v>48.503</c:v>
                </c:pt>
                <c:pt idx="3">
                  <c:v>49.451500000000003</c:v>
                </c:pt>
                <c:pt idx="4">
                  <c:v>29.2928</c:v>
                </c:pt>
                <c:pt idx="5">
                  <c:v>52.2971</c:v>
                </c:pt>
                <c:pt idx="6">
                  <c:v>36.934699999999999</c:v>
                </c:pt>
                <c:pt idx="7">
                  <c:v>63.779800000000002</c:v>
                </c:pt>
              </c:numCache>
            </c:numRef>
          </c:xVal>
          <c:yVal>
            <c:numRef>
              <c:f>Sheet1!$B$2:$B$9</c:f>
              <c:numCache>
                <c:formatCode>General</c:formatCode>
                <c:ptCount val="8"/>
                <c:pt idx="0">
                  <c:v>1.4139999999999999</c:v>
                </c:pt>
                <c:pt idx="1">
                  <c:v>0.54800000000000004</c:v>
                </c:pt>
                <c:pt idx="2">
                  <c:v>1.1579999999999999</c:v>
                </c:pt>
                <c:pt idx="3">
                  <c:v>1.0820000000000001</c:v>
                </c:pt>
                <c:pt idx="4">
                  <c:v>0.72599999999999998</c:v>
                </c:pt>
                <c:pt idx="5">
                  <c:v>1.1299999999999999</c:v>
                </c:pt>
                <c:pt idx="6">
                  <c:v>0.91600000000000004</c:v>
                </c:pt>
                <c:pt idx="7">
                  <c:v>1.468</c:v>
                </c:pt>
              </c:numCache>
            </c:numRef>
          </c:yVal>
          <c:bubbleSize>
            <c:numRef>
              <c:f>Sheet1!$C$2:$C$9</c:f>
              <c:numCache>
                <c:formatCode>General</c:formatCode>
                <c:ptCount val="8"/>
                <c:pt idx="0">
                  <c:v>2563614</c:v>
                </c:pt>
                <c:pt idx="1">
                  <c:v>1187314</c:v>
                </c:pt>
                <c:pt idx="2">
                  <c:v>1173967</c:v>
                </c:pt>
                <c:pt idx="3">
                  <c:v>855759</c:v>
                </c:pt>
                <c:pt idx="4">
                  <c:v>546545</c:v>
                </c:pt>
                <c:pt idx="5">
                  <c:v>490285</c:v>
                </c:pt>
                <c:pt idx="6">
                  <c:v>464971</c:v>
                </c:pt>
                <c:pt idx="7">
                  <c:v>4344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Taittinger</c:v>
                  </c:pt>
                  <c:pt idx="6">
                    <c:v>Ayala</c:v>
                  </c:pt>
                  <c:pt idx="7">
                    <c:v>Bolling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57E35C4-4731-4DD4-9BB7-55EED170D5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867AFB5-6B14-4C80-87F0-196239E7FF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2C1876F-D0E1-4F55-AD1D-0F2083616B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75B68BB-B589-4278-822A-08F9BE970D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180C8FFA-AD11-4F8B-B193-E380ADA29E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42BF1F34-3888-421F-8FDE-889026137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78952E3F-7D9F-4A7F-8D8E-054F650BC9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8CAA8F4-0A27-4806-BA5C-2246CD0E70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31199999999998</c:v>
                </c:pt>
                <c:pt idx="1">
                  <c:v>30.371099999999998</c:v>
                </c:pt>
                <c:pt idx="2">
                  <c:v>31.214400000000001</c:v>
                </c:pt>
                <c:pt idx="3">
                  <c:v>36.494700000000002</c:v>
                </c:pt>
              </c:numCache>
            </c:numRef>
          </c:xVal>
          <c:yVal>
            <c:numRef>
              <c:f>Sheet1!$B$2:$B$5</c:f>
              <c:numCache>
                <c:formatCode>General</c:formatCode>
                <c:ptCount val="4"/>
                <c:pt idx="0">
                  <c:v>0.98599999999999999</c:v>
                </c:pt>
                <c:pt idx="1">
                  <c:v>1.014</c:v>
                </c:pt>
                <c:pt idx="2">
                  <c:v>1.0409999999999999</c:v>
                </c:pt>
                <c:pt idx="3">
                  <c:v>1.101</c:v>
                </c:pt>
              </c:numCache>
            </c:numRef>
          </c:yVal>
          <c:bubbleSize>
            <c:numRef>
              <c:f>Sheet1!$C$2:$C$5</c:f>
              <c:numCache>
                <c:formatCode>General</c:formatCode>
                <c:ptCount val="4"/>
                <c:pt idx="0">
                  <c:v>508084</c:v>
                </c:pt>
                <c:pt idx="1">
                  <c:v>137581</c:v>
                </c:pt>
                <c:pt idx="2">
                  <c:v>98575</c:v>
                </c:pt>
                <c:pt idx="3">
                  <c:v>10328</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2AA71D43-56D1-4377-A0AA-311CFB98EA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05F79A29-05B7-4731-A785-88E0CF7404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DE1E705C-D5DC-4296-B12D-3710E80C4E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6F4AC4B3-C7BF-4C0B-88DF-9B14D1B748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E1B421F6-DE83-43EA-B630-A4E3668FA4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BF61AA0D-B5DE-465F-9EA6-A59CF842E2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6843D637-98A2-43FF-9942-7C270AB19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005F7D5-175D-4BC8-9E22-FAC49CEB20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17700000000001</c:v>
                </c:pt>
                <c:pt idx="1">
                  <c:v>43.048900000000003</c:v>
                </c:pt>
                <c:pt idx="2">
                  <c:v>38.2864</c:v>
                </c:pt>
              </c:numCache>
            </c:numRef>
          </c:xVal>
          <c:yVal>
            <c:numRef>
              <c:f>Sheet1!$B$2:$B$4</c:f>
              <c:numCache>
                <c:formatCode>General</c:formatCode>
                <c:ptCount val="3"/>
                <c:pt idx="0">
                  <c:v>0.93100000000000005</c:v>
                </c:pt>
                <c:pt idx="1">
                  <c:v>1.2849999999999999</c:v>
                </c:pt>
                <c:pt idx="2">
                  <c:v>1.149</c:v>
                </c:pt>
              </c:numCache>
            </c:numRef>
          </c:yVal>
          <c:bubbleSize>
            <c:numRef>
              <c:f>Sheet1!$C$2:$C$4</c:f>
              <c:numCache>
                <c:formatCode>General</c:formatCode>
                <c:ptCount val="3"/>
                <c:pt idx="0">
                  <c:v>484873</c:v>
                </c:pt>
                <c:pt idx="1">
                  <c:v>156612</c:v>
                </c:pt>
                <c:pt idx="2">
                  <c:v>8423</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9B8023-9EAA-43B8-B9CB-C77B0ECA24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F01C76-F090-4091-A762-928B21AB29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14A730-C63C-4A17-95CC-5061EB63D8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98A7EA-78AA-4D42-873B-476A3EDC33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B71960-A919-4015-A7E8-86700493C0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616B97-5241-44BC-B0AA-C2DE21EC1F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B46659-E625-47ED-AA9A-95C434AFB8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D70397-B901-46A9-88E3-2CA98E306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32530000000003</c:v>
                </c:pt>
                <c:pt idx="1">
                  <c:v>184.5984</c:v>
                </c:pt>
                <c:pt idx="2">
                  <c:v>92.714600000000004</c:v>
                </c:pt>
                <c:pt idx="3">
                  <c:v>37.124699999999997</c:v>
                </c:pt>
                <c:pt idx="4">
                  <c:v>62.449199999999998</c:v>
                </c:pt>
                <c:pt idx="5">
                  <c:v>207.6866</c:v>
                </c:pt>
                <c:pt idx="6">
                  <c:v>240.72479999999999</c:v>
                </c:pt>
                <c:pt idx="7">
                  <c:v>254.5325</c:v>
                </c:pt>
              </c:numCache>
            </c:numRef>
          </c:xVal>
          <c:yVal>
            <c:numRef>
              <c:f>Sheet1!$B$2:$B$9</c:f>
              <c:numCache>
                <c:formatCode>General</c:formatCode>
                <c:ptCount val="8"/>
                <c:pt idx="0">
                  <c:v>1.6719999999999999</c:v>
                </c:pt>
                <c:pt idx="1">
                  <c:v>1.1439999999999999</c:v>
                </c:pt>
                <c:pt idx="2">
                  <c:v>0.59399999999999997</c:v>
                </c:pt>
                <c:pt idx="3">
                  <c:v>0.23799999999999999</c:v>
                </c:pt>
                <c:pt idx="4">
                  <c:v>0.4</c:v>
                </c:pt>
                <c:pt idx="5">
                  <c:v>1.2609999999999999</c:v>
                </c:pt>
                <c:pt idx="6">
                  <c:v>1.355</c:v>
                </c:pt>
                <c:pt idx="7">
                  <c:v>1.3640000000000001</c:v>
                </c:pt>
              </c:numCache>
            </c:numRef>
          </c:yVal>
          <c:bubbleSize>
            <c:numRef>
              <c:f>Sheet1!$C$2:$C$9</c:f>
              <c:numCache>
                <c:formatCode>General</c:formatCode>
                <c:ptCount val="8"/>
                <c:pt idx="0">
                  <c:v>483688</c:v>
                </c:pt>
                <c:pt idx="1">
                  <c:v>271175</c:v>
                </c:pt>
                <c:pt idx="2">
                  <c:v>72781</c:v>
                </c:pt>
                <c:pt idx="3">
                  <c:v>47037</c:v>
                </c:pt>
                <c:pt idx="4">
                  <c:v>29476</c:v>
                </c:pt>
                <c:pt idx="5">
                  <c:v>27830</c:v>
                </c:pt>
                <c:pt idx="6">
                  <c:v>26239</c:v>
                </c:pt>
                <c:pt idx="7">
                  <c:v>19599</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Veuve Clicquot</c:v>
                  </c:pt>
                  <c:pt idx="6">
                    <c:v>Bollinger</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51FF24-5B93-4795-82A5-98187D997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B8A29F-5EB4-442D-B066-A23FA9CD65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DCCEB6-77AD-4720-BA12-E51ED03DC0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39AB56-C167-48B6-A913-A70F439F5C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EB434B-3A6C-408E-A8D4-E8003BF7AB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FE4FC5-26C5-4E18-8EEC-497B2B4BEE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0E9A50-9BE9-4DCF-B3A1-46A6220C7E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CA4EEC7-E8AD-40E2-AC46-07D2EFB6AA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43</c:v>
                </c:pt>
                <c:pt idx="1">
                  <c:v>23.652999999999999</c:v>
                </c:pt>
                <c:pt idx="2">
                  <c:v>49.904499999999999</c:v>
                </c:pt>
                <c:pt idx="3">
                  <c:v>52.704900000000002</c:v>
                </c:pt>
                <c:pt idx="4">
                  <c:v>31.571200000000001</c:v>
                </c:pt>
                <c:pt idx="5">
                  <c:v>32.979300000000002</c:v>
                </c:pt>
                <c:pt idx="6">
                  <c:v>29.282399999999999</c:v>
                </c:pt>
                <c:pt idx="7">
                  <c:v>78.368899999999996</c:v>
                </c:pt>
              </c:numCache>
            </c:numRef>
          </c:xVal>
          <c:yVal>
            <c:numRef>
              <c:f>Sheet1!$B$2:$B$9</c:f>
              <c:numCache>
                <c:formatCode>General</c:formatCode>
                <c:ptCount val="8"/>
                <c:pt idx="0">
                  <c:v>1.599</c:v>
                </c:pt>
                <c:pt idx="1">
                  <c:v>0.55000000000000004</c:v>
                </c:pt>
                <c:pt idx="2">
                  <c:v>1.131</c:v>
                </c:pt>
                <c:pt idx="3">
                  <c:v>1.0920000000000001</c:v>
                </c:pt>
                <c:pt idx="4">
                  <c:v>0.73099999999999998</c:v>
                </c:pt>
                <c:pt idx="5">
                  <c:v>0.746</c:v>
                </c:pt>
                <c:pt idx="6">
                  <c:v>0.67800000000000005</c:v>
                </c:pt>
                <c:pt idx="7">
                  <c:v>1.804</c:v>
                </c:pt>
              </c:numCache>
            </c:numRef>
          </c:yVal>
          <c:bubbleSize>
            <c:numRef>
              <c:f>Sheet1!$C$2:$C$9</c:f>
              <c:numCache>
                <c:formatCode>General</c:formatCode>
                <c:ptCount val="8"/>
                <c:pt idx="0">
                  <c:v>15694034</c:v>
                </c:pt>
                <c:pt idx="1">
                  <c:v>5705587</c:v>
                </c:pt>
                <c:pt idx="2">
                  <c:v>4988401</c:v>
                </c:pt>
                <c:pt idx="3">
                  <c:v>3290262</c:v>
                </c:pt>
                <c:pt idx="4">
                  <c:v>3234970</c:v>
                </c:pt>
                <c:pt idx="5">
                  <c:v>2270261</c:v>
                </c:pt>
                <c:pt idx="6">
                  <c:v>2092464</c:v>
                </c:pt>
                <c:pt idx="7">
                  <c:v>205028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86CD5C5-DA07-44C8-A5A5-B958EA68A9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A901A98-8D41-4A7E-B1E2-70385A306F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7CAF983-C2BC-4DCA-AB2F-3A54F6E266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7EDCC80-C764-4B82-8B58-BCEBA6F13B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B98AB1C-3A7E-41B9-ACBC-9CA60F0AD0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2F2D717-443B-4526-B3CC-0787BB130C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8D5241F-3A05-465C-9FDC-E158422E48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A28434B6-0D04-443E-BEA5-D525062240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851299999999995</c:v>
                </c:pt>
                <c:pt idx="1">
                  <c:v>53.107500000000002</c:v>
                </c:pt>
                <c:pt idx="2">
                  <c:v>80.259200000000007</c:v>
                </c:pt>
                <c:pt idx="3">
                  <c:v>37.256500000000003</c:v>
                </c:pt>
                <c:pt idx="4">
                  <c:v>26.4526</c:v>
                </c:pt>
                <c:pt idx="5">
                  <c:v>557.5847</c:v>
                </c:pt>
                <c:pt idx="6">
                  <c:v>626.5625</c:v>
                </c:pt>
                <c:pt idx="7">
                  <c:v>37.585900000000002</c:v>
                </c:pt>
              </c:numCache>
            </c:numRef>
          </c:xVal>
          <c:yVal>
            <c:numRef>
              <c:f>Sheet1!$B$2:$B$9</c:f>
              <c:numCache>
                <c:formatCode>General</c:formatCode>
                <c:ptCount val="8"/>
                <c:pt idx="0">
                  <c:v>1.4450000000000001</c:v>
                </c:pt>
                <c:pt idx="1">
                  <c:v>0.92800000000000005</c:v>
                </c:pt>
                <c:pt idx="2">
                  <c:v>1.2370000000000001</c:v>
                </c:pt>
                <c:pt idx="3">
                  <c:v>0.57299999999999995</c:v>
                </c:pt>
                <c:pt idx="4">
                  <c:v>0.438</c:v>
                </c:pt>
                <c:pt idx="5">
                  <c:v>8.5380000000000003</c:v>
                </c:pt>
                <c:pt idx="6">
                  <c:v>9.4710000000000001</c:v>
                </c:pt>
                <c:pt idx="7">
                  <c:v>0.57999999999999996</c:v>
                </c:pt>
              </c:numCache>
            </c:numRef>
          </c:yVal>
          <c:bubbleSize>
            <c:numRef>
              <c:f>Sheet1!$C$2:$C$9</c:f>
              <c:numCache>
                <c:formatCode>General</c:formatCode>
                <c:ptCount val="8"/>
                <c:pt idx="0">
                  <c:v>384857</c:v>
                </c:pt>
                <c:pt idx="1">
                  <c:v>195595</c:v>
                </c:pt>
                <c:pt idx="2">
                  <c:v>146473</c:v>
                </c:pt>
                <c:pt idx="3">
                  <c:v>120413</c:v>
                </c:pt>
                <c:pt idx="4">
                  <c:v>108588</c:v>
                </c:pt>
                <c:pt idx="5">
                  <c:v>102038</c:v>
                </c:pt>
                <c:pt idx="6">
                  <c:v>90225</c:v>
                </c:pt>
                <c:pt idx="7">
                  <c:v>7543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Demoiselle</c:v>
                  </c:pt>
                  <c:pt idx="4">
                    <c:v>Nicolas</c:v>
                  </c:pt>
                  <c:pt idx="5">
                    <c:v>Dom Perignon</c:v>
                  </c:pt>
                  <c:pt idx="6">
                    <c:v>Roederer</c:v>
                  </c:pt>
                  <c:pt idx="7">
                    <c:v>Nicolas Feuillatt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2"/>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7070AED-7D6C-479E-BEB2-E6D0094A3B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1AD5592F-E64E-4E08-9920-E372191F30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206B653-CCCE-45D8-B6F7-643EC0B310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6C6C2BF0-32DD-4E0D-B485-7DA549395F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25B5E97C-A367-4565-ABA1-6ECE784C57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428F862-C8BD-4220-BB20-71443C4281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FAFC19F0-7ABC-44A4-9BC1-ACC444CFB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B44FD41-7AD1-456A-8840-C37803D296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675</c:v>
                </c:pt>
              </c:numCache>
            </c:numRef>
          </c:xVal>
          <c:yVal>
            <c:numRef>
              <c:f>Sheet1!$B$2:$B$2</c:f>
              <c:numCache>
                <c:formatCode>General</c:formatCode>
                <c:ptCount val="1"/>
                <c:pt idx="0">
                  <c:v>1</c:v>
                </c:pt>
              </c:numCache>
            </c:numRef>
          </c:yVal>
          <c:bubbleSize>
            <c:numRef>
              <c:f>Sheet1!$C$2:$C$2</c:f>
              <c:numCache>
                <c:formatCode>General</c:formatCode>
                <c:ptCount val="1"/>
                <c:pt idx="0">
                  <c:v>123577</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1E4187F4-A237-4994-A667-C19D64D2A9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328F36F-C1B6-46B7-B380-348FB6EE82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3E725E5A-1BA3-40E3-B36A-C410B8304A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3F306B00-B55D-4775-9F9A-2AB34F9922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49117902-B486-47BA-B798-6CB44870E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D3C70DEA-F31E-43E1-8DEB-AE3A650A9B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8CAF2B8A-901E-490E-BA3C-70E5B9F83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D9305E23-88D9-4BD9-A7A4-912DE8BED7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457</c:v>
                </c:pt>
                <c:pt idx="1">
                  <c:v>9.1258999999999997</c:v>
                </c:pt>
                <c:pt idx="2">
                  <c:v>11.2964</c:v>
                </c:pt>
                <c:pt idx="3">
                  <c:v>6.4696999999999996</c:v>
                </c:pt>
              </c:numCache>
            </c:numRef>
          </c:xVal>
          <c:yVal>
            <c:numRef>
              <c:f>Sheet1!$B$2:$B$5</c:f>
              <c:numCache>
                <c:formatCode>General</c:formatCode>
                <c:ptCount val="4"/>
                <c:pt idx="0">
                  <c:v>1.2709999999999999</c:v>
                </c:pt>
                <c:pt idx="1">
                  <c:v>1.0129999999999999</c:v>
                </c:pt>
                <c:pt idx="2">
                  <c:v>1.0720000000000001</c:v>
                </c:pt>
                <c:pt idx="3">
                  <c:v>0.71799999999999997</c:v>
                </c:pt>
              </c:numCache>
            </c:numRef>
          </c:yVal>
          <c:bubbleSize>
            <c:numRef>
              <c:f>Sheet1!$C$2:$C$5</c:f>
              <c:numCache>
                <c:formatCode>General</c:formatCode>
                <c:ptCount val="4"/>
                <c:pt idx="0">
                  <c:v>195596</c:v>
                </c:pt>
                <c:pt idx="1">
                  <c:v>96917</c:v>
                </c:pt>
                <c:pt idx="2">
                  <c:v>19859</c:v>
                </c:pt>
                <c:pt idx="3">
                  <c:v>7686</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pt idx="3">
                    <c:v>Vilavero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07989F-A117-4CC6-BA1A-C17DABDC34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2A0679-D71F-4934-8262-CC0450A1AD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1908FC-B15A-4055-85B8-9F5F6C5A34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7162A06-94FD-4CA8-8DD9-FDCC97B1A3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B185CA1-A9DE-4044-B1A5-7AEDB10533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15CE2FF-E2F3-4294-823F-D5A1024CEC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3251BBE-426E-4404-88F7-CD9E50B8D6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E849D93-EE08-4F7C-ACEE-3AE93550A9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108</c:v>
                </c:pt>
                <c:pt idx="1">
                  <c:v>11.7963</c:v>
                </c:pt>
                <c:pt idx="2">
                  <c:v>13.266400000000001</c:v>
                </c:pt>
              </c:numCache>
            </c:numRef>
          </c:xVal>
          <c:yVal>
            <c:numRef>
              <c:f>Sheet1!$B$2:$B$4</c:f>
              <c:numCache>
                <c:formatCode>General</c:formatCode>
                <c:ptCount val="3"/>
                <c:pt idx="0">
                  <c:v>0.95299999999999996</c:v>
                </c:pt>
                <c:pt idx="1">
                  <c:v>0.94699999999999995</c:v>
                </c:pt>
                <c:pt idx="2">
                  <c:v>1.115</c:v>
                </c:pt>
              </c:numCache>
            </c:numRef>
          </c:yVal>
          <c:bubbleSize>
            <c:numRef>
              <c:f>Sheet1!$C$2:$C$4</c:f>
              <c:numCache>
                <c:formatCode>General</c:formatCode>
                <c:ptCount val="3"/>
                <c:pt idx="0">
                  <c:v>64924</c:v>
                </c:pt>
                <c:pt idx="1">
                  <c:v>64278</c:v>
                </c:pt>
                <c:pt idx="2">
                  <c:v>37597</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248490A-F07F-41BD-9000-152D3DF95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41B365CA-9962-401C-ACF5-D72A3CAC5B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89E6D48F-2DDA-4CC8-93BE-646A671DA9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BD3B57F2-EF34-408A-86AF-DD6B744D15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B0ED615D-3363-470E-8FC2-9026A1CA16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5584B982-53C3-42F1-B591-E70D3DF259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C036C96E-2453-4202-AFE2-3C238DF1B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0A8CCE1F-33DC-4C29-A670-341E405331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77600000000001</c:v>
                </c:pt>
              </c:numCache>
            </c:numRef>
          </c:xVal>
          <c:yVal>
            <c:numRef>
              <c:f>Sheet1!$B$2:$B$2</c:f>
              <c:numCache>
                <c:formatCode>General</c:formatCode>
                <c:ptCount val="1"/>
                <c:pt idx="0">
                  <c:v>1</c:v>
                </c:pt>
              </c:numCache>
            </c:numRef>
          </c:yVal>
          <c:bubbleSize>
            <c:numRef>
              <c:f>Sheet1!$C$2:$C$2</c:f>
              <c:numCache>
                <c:formatCode>General</c:formatCode>
                <c:ptCount val="1"/>
                <c:pt idx="0">
                  <c:v>78512</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E91EBEB-AAF4-4D44-A1FB-A0B56899DF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A632566-BAA0-4039-A5C5-0E82A2823C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4F7D12C8-BF18-4E96-B893-CFFE509720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9B79485E-1686-42C4-BB1B-24D88C3F67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EA3A661-52EE-43BC-A503-6799CF47CF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BB6FC45-2AE3-497E-B251-86C80B9C2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C8438DCD-44EB-4B7A-800F-067FD5E2CC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564412E-BD33-460E-80E5-20382D9E57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51099999999999</c:v>
                </c:pt>
                <c:pt idx="1">
                  <c:v>9.6081000000000003</c:v>
                </c:pt>
              </c:numCache>
            </c:numRef>
          </c:xVal>
          <c:yVal>
            <c:numRef>
              <c:f>Sheet1!$B$2:$B$3</c:f>
              <c:numCache>
                <c:formatCode>General</c:formatCode>
                <c:ptCount val="2"/>
                <c:pt idx="0">
                  <c:v>1.014</c:v>
                </c:pt>
                <c:pt idx="1">
                  <c:v>0.78600000000000003</c:v>
                </c:pt>
              </c:numCache>
            </c:numRef>
          </c:yVal>
          <c:bubbleSize>
            <c:numRef>
              <c:f>Sheet1!$C$2:$C$3</c:f>
              <c:numCache>
                <c:formatCode>General</c:formatCode>
                <c:ptCount val="2"/>
                <c:pt idx="0">
                  <c:v>14041</c:v>
                </c:pt>
                <c:pt idx="1">
                  <c:v>71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AC37C6-5F90-48EC-A776-1B94F8472C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FB6279-0FA5-4D3E-8810-166072CD58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015A7A-44CE-4245-ACB5-C7D6B96549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D4A8D6-FA4B-4EA1-B477-FA14EACF14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6EA03B-0BC8-48D9-BDC7-9BA03CD3AF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B8A535-358E-4295-8C38-C83DBBBED1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E6C415-3EE3-4683-9A2F-A16F37CBE2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B5B9F4-BB65-415E-85A3-6994F998CD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354299999999995</c:v>
                </c:pt>
                <c:pt idx="1">
                  <c:v>40.190100000000001</c:v>
                </c:pt>
                <c:pt idx="2">
                  <c:v>35.284500000000001</c:v>
                </c:pt>
                <c:pt idx="3">
                  <c:v>58.968699999999998</c:v>
                </c:pt>
                <c:pt idx="4">
                  <c:v>46.8782</c:v>
                </c:pt>
                <c:pt idx="5">
                  <c:v>53.136400000000002</c:v>
                </c:pt>
                <c:pt idx="6">
                  <c:v>37.7256</c:v>
                </c:pt>
                <c:pt idx="7">
                  <c:v>76.505700000000004</c:v>
                </c:pt>
              </c:numCache>
            </c:numRef>
          </c:xVal>
          <c:yVal>
            <c:numRef>
              <c:f>Sheet1!$B$2:$B$9</c:f>
              <c:numCache>
                <c:formatCode>General</c:formatCode>
                <c:ptCount val="8"/>
                <c:pt idx="0">
                  <c:v>1.347</c:v>
                </c:pt>
                <c:pt idx="1">
                  <c:v>0.56200000000000006</c:v>
                </c:pt>
                <c:pt idx="2">
                  <c:v>0.48899999999999999</c:v>
                </c:pt>
                <c:pt idx="3">
                  <c:v>0.85199999999999998</c:v>
                </c:pt>
                <c:pt idx="4">
                  <c:v>0.64400000000000002</c:v>
                </c:pt>
                <c:pt idx="5">
                  <c:v>0.72799999999999998</c:v>
                </c:pt>
                <c:pt idx="6">
                  <c:v>0.52500000000000002</c:v>
                </c:pt>
                <c:pt idx="7">
                  <c:v>1.0209999999999999</c:v>
                </c:pt>
              </c:numCache>
            </c:numRef>
          </c:yVal>
          <c:bubbleSize>
            <c:numRef>
              <c:f>Sheet1!$C$2:$C$9</c:f>
              <c:numCache>
                <c:formatCode>General</c:formatCode>
                <c:ptCount val="8"/>
                <c:pt idx="0">
                  <c:v>638221</c:v>
                </c:pt>
                <c:pt idx="1">
                  <c:v>73588</c:v>
                </c:pt>
                <c:pt idx="2">
                  <c:v>60513</c:v>
                </c:pt>
                <c:pt idx="3">
                  <c:v>45170</c:v>
                </c:pt>
                <c:pt idx="4">
                  <c:v>36940</c:v>
                </c:pt>
                <c:pt idx="5">
                  <c:v>32732</c:v>
                </c:pt>
                <c:pt idx="6">
                  <c:v>20485</c:v>
                </c:pt>
                <c:pt idx="7">
                  <c:v>2027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8512333-50A7-4A48-A159-F9517521CC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DC319A4-09FD-4C87-8555-1D6B3B026C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1137A03-CE2D-4C14-A900-DC4DC7E619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7AC2C18-F925-452B-8C1F-00E3A75EAD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4120EFF-362F-40CC-A4CC-E016A70B66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A319166-E3B2-4C06-8EF1-285D425134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D2469E9-E645-4071-8680-37F10C87C9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E5D2E45-7F8C-458F-AECE-4A429B57D5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3232</c:v>
                </c:pt>
                <c:pt idx="1">
                  <c:v>22.019500000000001</c:v>
                </c:pt>
                <c:pt idx="2">
                  <c:v>47.583399999999997</c:v>
                </c:pt>
                <c:pt idx="3">
                  <c:v>47.922400000000003</c:v>
                </c:pt>
                <c:pt idx="4">
                  <c:v>29.2836</c:v>
                </c:pt>
                <c:pt idx="5">
                  <c:v>29.9375</c:v>
                </c:pt>
                <c:pt idx="6">
                  <c:v>36.992400000000004</c:v>
                </c:pt>
                <c:pt idx="7">
                  <c:v>52.214700000000001</c:v>
                </c:pt>
              </c:numCache>
            </c:numRef>
          </c:xVal>
          <c:yVal>
            <c:numRef>
              <c:f>Sheet1!$B$2:$B$9</c:f>
              <c:numCache>
                <c:formatCode>General</c:formatCode>
                <c:ptCount val="8"/>
                <c:pt idx="0">
                  <c:v>1.4430000000000001</c:v>
                </c:pt>
                <c:pt idx="1">
                  <c:v>0.56299999999999994</c:v>
                </c:pt>
                <c:pt idx="2">
                  <c:v>1.181</c:v>
                </c:pt>
                <c:pt idx="3">
                  <c:v>1.0880000000000001</c:v>
                </c:pt>
                <c:pt idx="4">
                  <c:v>0.747</c:v>
                </c:pt>
                <c:pt idx="5">
                  <c:v>0.79200000000000004</c:v>
                </c:pt>
                <c:pt idx="6">
                  <c:v>0.94399999999999995</c:v>
                </c:pt>
                <c:pt idx="7">
                  <c:v>1.167</c:v>
                </c:pt>
              </c:numCache>
            </c:numRef>
          </c:yVal>
          <c:bubbleSize>
            <c:numRef>
              <c:f>Sheet1!$C$2:$C$9</c:f>
              <c:numCache>
                <c:formatCode>General</c:formatCode>
                <c:ptCount val="8"/>
                <c:pt idx="0">
                  <c:v>1311612</c:v>
                </c:pt>
                <c:pt idx="1">
                  <c:v>702400</c:v>
                </c:pt>
                <c:pt idx="2">
                  <c:v>658792</c:v>
                </c:pt>
                <c:pt idx="3">
                  <c:v>424928</c:v>
                </c:pt>
                <c:pt idx="4">
                  <c:v>304491</c:v>
                </c:pt>
                <c:pt idx="5">
                  <c:v>254439</c:v>
                </c:pt>
                <c:pt idx="6">
                  <c:v>251881</c:v>
                </c:pt>
                <c:pt idx="7">
                  <c:v>22274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Canard Duchêne</c:v>
                  </c:pt>
                  <c:pt idx="6">
                    <c:v>Ayala</c:v>
                  </c:pt>
                  <c:pt idx="7">
                    <c:v>Taitting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4696BC8-10E6-4DC1-B488-D263AC009A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DDA7CA3-FAA5-457F-BE91-C5FEE9D364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0895ABD-6952-48C5-8374-D2FB7369A6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B5BE11A-A470-49AA-A2F1-4C8D036E47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BA411FEE-02DE-434F-8C3D-D4945C15C1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B773B1D-BA97-45FE-A54D-C4F87CC7EA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CB234C5-D38C-4106-8B31-1BF3A4E9AE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9D533C7-990E-4AA3-9D2F-388AA3F951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7699999999999</c:v>
                </c:pt>
                <c:pt idx="1">
                  <c:v>30.427199999999999</c:v>
                </c:pt>
                <c:pt idx="2">
                  <c:v>31.374600000000001</c:v>
                </c:pt>
                <c:pt idx="3">
                  <c:v>35.311599999999999</c:v>
                </c:pt>
              </c:numCache>
            </c:numRef>
          </c:xVal>
          <c:yVal>
            <c:numRef>
              <c:f>Sheet1!$B$2:$B$5</c:f>
              <c:numCache>
                <c:formatCode>General</c:formatCode>
                <c:ptCount val="4"/>
                <c:pt idx="0">
                  <c:v>0.98699999999999999</c:v>
                </c:pt>
                <c:pt idx="1">
                  <c:v>1.016</c:v>
                </c:pt>
                <c:pt idx="2">
                  <c:v>1.042</c:v>
                </c:pt>
                <c:pt idx="3">
                  <c:v>1.0920000000000001</c:v>
                </c:pt>
              </c:numCache>
            </c:numRef>
          </c:yVal>
          <c:bubbleSize>
            <c:numRef>
              <c:f>Sheet1!$C$2:$C$5</c:f>
              <c:numCache>
                <c:formatCode>General</c:formatCode>
                <c:ptCount val="4"/>
                <c:pt idx="0">
                  <c:v>294104</c:v>
                </c:pt>
                <c:pt idx="1">
                  <c:v>80845</c:v>
                </c:pt>
                <c:pt idx="2">
                  <c:v>39281</c:v>
                </c:pt>
                <c:pt idx="3">
                  <c:v>10311</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EB116857-6836-4A64-A5E7-D5166F1A4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2B56423-C05B-44B3-A6A0-0FAC491497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9B87FD79-3471-4DE0-B2B9-7F677C596B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856D3698-0588-4565-8134-1ED4BE8AB7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0A57B281-BDD3-4585-84EB-B39903CDD7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B9985E62-5D20-4EBD-9D67-345578035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46F0D305-94F3-40B2-91F2-E7AD521583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52A012DA-1F01-4785-AC13-C4A99AB637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130199999999999</c:v>
                </c:pt>
                <c:pt idx="1">
                  <c:v>43.843800000000002</c:v>
                </c:pt>
              </c:numCache>
            </c:numRef>
          </c:xVal>
          <c:yVal>
            <c:numRef>
              <c:f>Sheet1!$B$2:$B$3</c:f>
              <c:numCache>
                <c:formatCode>General</c:formatCode>
                <c:ptCount val="2"/>
                <c:pt idx="0">
                  <c:v>0.92900000000000005</c:v>
                </c:pt>
                <c:pt idx="1">
                  <c:v>1.3089999999999999</c:v>
                </c:pt>
              </c:numCache>
            </c:numRef>
          </c:yVal>
          <c:bubbleSize>
            <c:numRef>
              <c:f>Sheet1!$C$2:$C$3</c:f>
              <c:numCache>
                <c:formatCode>General</c:formatCode>
                <c:ptCount val="2"/>
                <c:pt idx="0">
                  <c:v>254707</c:v>
                </c:pt>
                <c:pt idx="1">
                  <c:v>81944</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0C40F2A-3050-42B4-A538-BA31B0F189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366C7C7-B66B-41C3-B99A-38531A7884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1BA94FB-59F9-4AAE-A449-65B75AB7C3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A730C10-9208-483C-978C-9951CAADF2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8FBD747-9FF3-4C79-A785-F050E1065F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8CEB45E-F9DD-4035-9103-3940D39141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1803757-0634-4795-9982-7A26EF88B0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193212B-DC2B-47E0-B298-B0CE292B90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51499999999999</c:v>
                </c:pt>
                <c:pt idx="1">
                  <c:v>12.7646</c:v>
                </c:pt>
                <c:pt idx="2">
                  <c:v>17.4328</c:v>
                </c:pt>
                <c:pt idx="3">
                  <c:v>9.1104000000000003</c:v>
                </c:pt>
                <c:pt idx="4">
                  <c:v>11.800599999999999</c:v>
                </c:pt>
                <c:pt idx="5">
                  <c:v>11.4077</c:v>
                </c:pt>
                <c:pt idx="6">
                  <c:v>13.4663</c:v>
                </c:pt>
                <c:pt idx="7">
                  <c:v>5.7388000000000003</c:v>
                </c:pt>
              </c:numCache>
            </c:numRef>
          </c:xVal>
          <c:yVal>
            <c:numRef>
              <c:f>Sheet1!$B$2:$B$9</c:f>
              <c:numCache>
                <c:formatCode>General</c:formatCode>
                <c:ptCount val="8"/>
                <c:pt idx="0">
                  <c:v>1.083</c:v>
                </c:pt>
                <c:pt idx="1">
                  <c:v>1.208</c:v>
                </c:pt>
                <c:pt idx="2">
                  <c:v>1.667</c:v>
                </c:pt>
                <c:pt idx="3">
                  <c:v>0.86199999999999999</c:v>
                </c:pt>
                <c:pt idx="4">
                  <c:v>1.0640000000000001</c:v>
                </c:pt>
                <c:pt idx="5">
                  <c:v>1.08</c:v>
                </c:pt>
                <c:pt idx="6">
                  <c:v>1.2729999999999999</c:v>
                </c:pt>
                <c:pt idx="7">
                  <c:v>0.54200000000000004</c:v>
                </c:pt>
              </c:numCache>
            </c:numRef>
          </c:yVal>
          <c:bubbleSize>
            <c:numRef>
              <c:f>Sheet1!$C$2:$C$9</c:f>
              <c:numCache>
                <c:formatCode>General</c:formatCode>
                <c:ptCount val="8"/>
                <c:pt idx="0">
                  <c:v>607538</c:v>
                </c:pt>
                <c:pt idx="1">
                  <c:v>507318</c:v>
                </c:pt>
                <c:pt idx="2">
                  <c:v>388332</c:v>
                </c:pt>
                <c:pt idx="3">
                  <c:v>323774</c:v>
                </c:pt>
                <c:pt idx="4">
                  <c:v>305234</c:v>
                </c:pt>
                <c:pt idx="5">
                  <c:v>282454</c:v>
                </c:pt>
                <c:pt idx="6">
                  <c:v>158041</c:v>
                </c:pt>
                <c:pt idx="7">
                  <c:v>100733</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Bouvet-Ladubay</c:v>
                  </c:pt>
                  <c:pt idx="5">
                    <c:v>Chateau Moncontour</c:v>
                  </c:pt>
                  <c:pt idx="6">
                    <c:v>De Chanceny</c:v>
                  </c:pt>
                  <c:pt idx="7">
                    <c:v>Krit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918D48-35DD-42D0-A159-4E81E25683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A9E991-E972-47D1-8A21-E33FF358DE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FFB1F9-FDFA-4CC7-B23B-AEE2AE2447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F8AE57-B578-48CA-AFE2-2A6BF86266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F8B968-7B17-4E7A-9768-07CC7FE2B8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3CE01C-EFD7-4347-889A-FD2F0AEC46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3DD3D0-BE27-4671-94B4-01D76DF00F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A5EE9E-C30F-4DE6-950B-10F85779C1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1.13850000000002</c:v>
                </c:pt>
                <c:pt idx="1">
                  <c:v>156.18090000000001</c:v>
                </c:pt>
                <c:pt idx="2">
                  <c:v>94.739800000000002</c:v>
                </c:pt>
                <c:pt idx="3">
                  <c:v>37.572499999999998</c:v>
                </c:pt>
                <c:pt idx="4">
                  <c:v>64.150199999999998</c:v>
                </c:pt>
                <c:pt idx="5">
                  <c:v>278.46809999999999</c:v>
                </c:pt>
                <c:pt idx="6">
                  <c:v>286.47370000000001</c:v>
                </c:pt>
              </c:numCache>
            </c:numRef>
          </c:xVal>
          <c:yVal>
            <c:numRef>
              <c:f>Sheet1!$B$2:$B$8</c:f>
              <c:numCache>
                <c:formatCode>General</c:formatCode>
                <c:ptCount val="7"/>
                <c:pt idx="0">
                  <c:v>1.9730000000000001</c:v>
                </c:pt>
                <c:pt idx="1">
                  <c:v>1.111</c:v>
                </c:pt>
                <c:pt idx="2">
                  <c:v>0.69399999999999995</c:v>
                </c:pt>
                <c:pt idx="3">
                  <c:v>0.29199999999999998</c:v>
                </c:pt>
                <c:pt idx="4">
                  <c:v>0.48899999999999999</c:v>
                </c:pt>
                <c:pt idx="5">
                  <c:v>1.802</c:v>
                </c:pt>
                <c:pt idx="6">
                  <c:v>1.9670000000000001</c:v>
                </c:pt>
              </c:numCache>
            </c:numRef>
          </c:yVal>
          <c:bubbleSize>
            <c:numRef>
              <c:f>Sheet1!$C$2:$C$8</c:f>
              <c:numCache>
                <c:formatCode>General</c:formatCode>
                <c:ptCount val="7"/>
                <c:pt idx="0">
                  <c:v>147021</c:v>
                </c:pt>
                <c:pt idx="1">
                  <c:v>76841</c:v>
                </c:pt>
                <c:pt idx="2">
                  <c:v>30222</c:v>
                </c:pt>
                <c:pt idx="3">
                  <c:v>25662</c:v>
                </c:pt>
                <c:pt idx="4">
                  <c:v>16230</c:v>
                </c:pt>
                <c:pt idx="5">
                  <c:v>13088</c:v>
                </c:pt>
                <c:pt idx="6">
                  <c:v>5443</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Bollinger</c:v>
                  </c:pt>
                  <c:pt idx="6">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4"/>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6E27489-9E77-4F30-854D-C67C7940C1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F8ED4C4-9CBB-459C-A7CE-699D5B94AB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662953D-A5D8-4D68-AD12-BB70B8FEC3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24FE49E-D329-44EF-95A0-A19D4FCB5E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9FEEE30-17D3-4143-B470-258457CAE5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3B0E622-5C5A-4398-BA3C-E547493A65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8E67763-1366-420D-8B4F-7D5B2067D3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49633E7-2970-45E2-A406-955BD80D4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6000000000007</c:v>
                </c:pt>
                <c:pt idx="1">
                  <c:v>52.058999999999997</c:v>
                </c:pt>
                <c:pt idx="2">
                  <c:v>37.6539</c:v>
                </c:pt>
                <c:pt idx="3">
                  <c:v>80.916899999999998</c:v>
                </c:pt>
                <c:pt idx="4">
                  <c:v>26.9497</c:v>
                </c:pt>
                <c:pt idx="5">
                  <c:v>37.5413</c:v>
                </c:pt>
                <c:pt idx="6">
                  <c:v>41.015999999999998</c:v>
                </c:pt>
                <c:pt idx="7">
                  <c:v>36.271999999999998</c:v>
                </c:pt>
              </c:numCache>
            </c:numRef>
          </c:xVal>
          <c:yVal>
            <c:numRef>
              <c:f>Sheet1!$B$2:$B$9</c:f>
              <c:numCache>
                <c:formatCode>General</c:formatCode>
                <c:ptCount val="8"/>
                <c:pt idx="0">
                  <c:v>1.7410000000000001</c:v>
                </c:pt>
                <c:pt idx="1">
                  <c:v>1.1279999999999999</c:v>
                </c:pt>
                <c:pt idx="2">
                  <c:v>0.70199999999999996</c:v>
                </c:pt>
                <c:pt idx="3">
                  <c:v>1.5149999999999999</c:v>
                </c:pt>
                <c:pt idx="4">
                  <c:v>0.53900000000000003</c:v>
                </c:pt>
                <c:pt idx="5">
                  <c:v>0.70699999999999996</c:v>
                </c:pt>
                <c:pt idx="6">
                  <c:v>0.91500000000000004</c:v>
                </c:pt>
                <c:pt idx="7">
                  <c:v>0.67700000000000005</c:v>
                </c:pt>
              </c:numCache>
            </c:numRef>
          </c:yVal>
          <c:bubbleSize>
            <c:numRef>
              <c:f>Sheet1!$C$2:$C$9</c:f>
              <c:numCache>
                <c:formatCode>General</c:formatCode>
                <c:ptCount val="8"/>
                <c:pt idx="0">
                  <c:v>167785</c:v>
                </c:pt>
                <c:pt idx="1">
                  <c:v>84648</c:v>
                </c:pt>
                <c:pt idx="2">
                  <c:v>62995</c:v>
                </c:pt>
                <c:pt idx="3">
                  <c:v>60364</c:v>
                </c:pt>
                <c:pt idx="4">
                  <c:v>57807</c:v>
                </c:pt>
                <c:pt idx="5">
                  <c:v>33637</c:v>
                </c:pt>
                <c:pt idx="6">
                  <c:v>30721</c:v>
                </c:pt>
                <c:pt idx="7">
                  <c:v>27603</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Laurent Perrier</c:v>
                  </c:pt>
                  <c:pt idx="4">
                    <c:v>Nicolas</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162C6E5-4A34-407B-BF4B-AB7F415207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EB8409C6-08FF-4750-B762-071C3AE190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DF4593B8-5D9B-4927-86A4-29341B0762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D6B17169-2D76-408F-9B00-E311A79F27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FA7F85CD-FEB3-48F8-9165-47377211A3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0C114A4-FE85-4126-B411-38A64B0808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CF59742-4164-4484-A6E1-5648BAC0F5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FBB5DE32-70C1-4D45-B12E-DDC9073137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821</c:v>
                </c:pt>
              </c:numCache>
            </c:numRef>
          </c:xVal>
          <c:yVal>
            <c:numRef>
              <c:f>Sheet1!$B$2:$B$2</c:f>
              <c:numCache>
                <c:formatCode>General</c:formatCode>
                <c:ptCount val="1"/>
                <c:pt idx="0">
                  <c:v>1</c:v>
                </c:pt>
              </c:numCache>
            </c:numRef>
          </c:yVal>
          <c:bubbleSize>
            <c:numRef>
              <c:f>Sheet1!$C$2:$C$2</c:f>
              <c:numCache>
                <c:formatCode>General</c:formatCode>
                <c:ptCount val="1"/>
                <c:pt idx="0">
                  <c:v>74724</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07E0164-D6D6-45C3-B0FD-BA3B467192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1B75F0B-58EF-4F86-8B8D-EF984C1A47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E4183059-38E7-44C1-9556-73200D99C0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83D4E84B-31AC-4331-8382-622E5D53B1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E1C6C601-E2BC-4346-82F1-FB115E2EF2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79785679-FC47-49C5-BB07-6509EA4552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3E6E9346-2DB8-4103-9F55-4FF8539961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816CC40-22C0-47A1-BF51-B2BEBF21E2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999</c:v>
                </c:pt>
                <c:pt idx="1">
                  <c:v>9.0538000000000007</c:v>
                </c:pt>
                <c:pt idx="2">
                  <c:v>11.5052</c:v>
                </c:pt>
              </c:numCache>
            </c:numRef>
          </c:xVal>
          <c:yVal>
            <c:numRef>
              <c:f>Sheet1!$B$2:$B$4</c:f>
              <c:numCache>
                <c:formatCode>General</c:formatCode>
                <c:ptCount val="3"/>
                <c:pt idx="0">
                  <c:v>1.2909999999999999</c:v>
                </c:pt>
                <c:pt idx="1">
                  <c:v>1.0169999999999999</c:v>
                </c:pt>
                <c:pt idx="2">
                  <c:v>1.08</c:v>
                </c:pt>
              </c:numCache>
            </c:numRef>
          </c:yVal>
          <c:bubbleSize>
            <c:numRef>
              <c:f>Sheet1!$C$2:$C$4</c:f>
              <c:numCache>
                <c:formatCode>General</c:formatCode>
                <c:ptCount val="3"/>
                <c:pt idx="0">
                  <c:v>82178</c:v>
                </c:pt>
                <c:pt idx="1">
                  <c:v>39538</c:v>
                </c:pt>
                <c:pt idx="2">
                  <c:v>12207</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F9C4BE-094D-472D-8FCA-D0756AB6A9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95F9D3-112E-4C46-81A7-C6E3180BB8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1A339E-7F59-49D5-9867-72059D03F2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073CF93-FDFC-485C-80CC-7676B99ED4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E05314D-F6DE-40CF-B4ED-40A4E9D2B3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59AF4AF-9081-4AE1-AFC1-4D15371A5B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8F2CABB-1969-4166-8B5D-FFF0516867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43F9A6-5D6B-4B06-A994-F0F67A30F7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388</c:v>
                </c:pt>
                <c:pt idx="1">
                  <c:v>11.379899999999999</c:v>
                </c:pt>
                <c:pt idx="2">
                  <c:v>13.565200000000001</c:v>
                </c:pt>
              </c:numCache>
            </c:numRef>
          </c:xVal>
          <c:yVal>
            <c:numRef>
              <c:f>Sheet1!$B$2:$B$4</c:f>
              <c:numCache>
                <c:formatCode>General</c:formatCode>
                <c:ptCount val="3"/>
                <c:pt idx="0">
                  <c:v>0.97599999999999998</c:v>
                </c:pt>
                <c:pt idx="1">
                  <c:v>0.98899999999999999</c:v>
                </c:pt>
                <c:pt idx="2">
                  <c:v>1.177</c:v>
                </c:pt>
              </c:numCache>
            </c:numRef>
          </c:yVal>
          <c:bubbleSize>
            <c:numRef>
              <c:f>Sheet1!$C$2:$C$4</c:f>
              <c:numCache>
                <c:formatCode>General</c:formatCode>
                <c:ptCount val="3"/>
                <c:pt idx="0">
                  <c:v>50745</c:v>
                </c:pt>
                <c:pt idx="1">
                  <c:v>43528</c:v>
                </c:pt>
                <c:pt idx="2">
                  <c:v>23088</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2FDF8BE-E949-4E33-95AD-8E1550ECC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2FB11DDA-E29B-47E9-8A33-46DE176D8E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57BE7D88-9E75-4BCF-9472-6D421644C1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C0181D9E-6BC7-46E9-A28A-9FB7466A10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A913DB5D-C55B-4BC9-9765-E3F7468D78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CA942419-B549-4D17-B91F-75E66EB23B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C68CDA40-0CF0-44FA-BB75-CA49676AA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98277F8B-FCEE-4227-B7B8-BBA5FD897C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600000000001</c:v>
                </c:pt>
              </c:numCache>
            </c:numRef>
          </c:xVal>
          <c:yVal>
            <c:numRef>
              <c:f>Sheet1!$B$2:$B$2</c:f>
              <c:numCache>
                <c:formatCode>General</c:formatCode>
                <c:ptCount val="1"/>
                <c:pt idx="0">
                  <c:v>1.224</c:v>
                </c:pt>
              </c:numCache>
            </c:numRef>
          </c:yVal>
          <c:bubbleSize>
            <c:numRef>
              <c:f>Sheet1!$C$2:$C$2</c:f>
              <c:numCache>
                <c:formatCode>General</c:formatCode>
                <c:ptCount val="1"/>
                <c:pt idx="0">
                  <c:v>7043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67F4AE9-4302-47E2-81FA-DD061247DB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6C9D462-CFA3-4757-84EC-00731B3E06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5008D282-DC9F-461F-9A23-09A80C61EC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21D7C0F-2A39-4BF5-8ED3-37ED04D14C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14355F1-1666-451F-AABD-8BE038F40D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3995D1A-BA00-46B7-9E9A-6DC535DD7E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D4F30C9-0541-4CB2-BAFA-97AD5448C9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A66B275-4C62-4E83-9A8F-A527EAA0C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694</c:v>
                </c:pt>
                <c:pt idx="1">
                  <c:v>10.2857</c:v>
                </c:pt>
              </c:numCache>
            </c:numRef>
          </c:xVal>
          <c:yVal>
            <c:numRef>
              <c:f>Sheet1!$B$2:$B$3</c:f>
              <c:numCache>
                <c:formatCode>General</c:formatCode>
                <c:ptCount val="2"/>
                <c:pt idx="0">
                  <c:v>1.0129999999999999</c:v>
                </c:pt>
                <c:pt idx="1">
                  <c:v>0.81699999999999995</c:v>
                </c:pt>
              </c:numCache>
            </c:numRef>
          </c:yVal>
          <c:bubbleSize>
            <c:numRef>
              <c:f>Sheet1!$C$2:$C$3</c:f>
              <c:numCache>
                <c:formatCode>General</c:formatCode>
                <c:ptCount val="2"/>
                <c:pt idx="0">
                  <c:v>10392</c:v>
                </c:pt>
                <c:pt idx="1">
                  <c:v>576</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F8D353-DBE2-4CF8-903F-22A123BA41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67B7D4-1834-40C5-AC39-64DDC539F5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4C4A3E-E7E7-4066-ABCF-2C6D8C94F1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FA06B5-48AC-481B-9F1C-CB3527988D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A5BEF3-E1E6-426F-A22C-328BF47B2F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9955884-F861-44CA-96A3-3159429E33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3B86FE-0922-44A4-863E-5A59882233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543F3F-0F01-473D-AFD1-C1807FFA2F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499899999999997</c:v>
                </c:pt>
                <c:pt idx="1">
                  <c:v>39.097499999999997</c:v>
                </c:pt>
                <c:pt idx="2">
                  <c:v>35.116300000000003</c:v>
                </c:pt>
                <c:pt idx="3">
                  <c:v>59.410200000000003</c:v>
                </c:pt>
                <c:pt idx="4">
                  <c:v>46.718200000000003</c:v>
                </c:pt>
                <c:pt idx="5">
                  <c:v>37.393700000000003</c:v>
                </c:pt>
                <c:pt idx="6">
                  <c:v>53.1616</c:v>
                </c:pt>
                <c:pt idx="7">
                  <c:v>75.871099999999998</c:v>
                </c:pt>
              </c:numCache>
            </c:numRef>
          </c:xVal>
          <c:yVal>
            <c:numRef>
              <c:f>Sheet1!$B$2:$B$9</c:f>
              <c:numCache>
                <c:formatCode>General</c:formatCode>
                <c:ptCount val="8"/>
                <c:pt idx="0">
                  <c:v>1.365</c:v>
                </c:pt>
                <c:pt idx="1">
                  <c:v>0.58299999999999996</c:v>
                </c:pt>
                <c:pt idx="2">
                  <c:v>0.49399999999999999</c:v>
                </c:pt>
                <c:pt idx="3">
                  <c:v>0.86299999999999999</c:v>
                </c:pt>
                <c:pt idx="4">
                  <c:v>0.65500000000000003</c:v>
                </c:pt>
                <c:pt idx="5">
                  <c:v>0.52600000000000002</c:v>
                </c:pt>
                <c:pt idx="6">
                  <c:v>0.73699999999999999</c:v>
                </c:pt>
                <c:pt idx="7">
                  <c:v>1.0549999999999999</c:v>
                </c:pt>
              </c:numCache>
            </c:numRef>
          </c:yVal>
          <c:bubbleSize>
            <c:numRef>
              <c:f>Sheet1!$C$2:$C$9</c:f>
              <c:numCache>
                <c:formatCode>General</c:formatCode>
                <c:ptCount val="8"/>
                <c:pt idx="0">
                  <c:v>1109404</c:v>
                </c:pt>
                <c:pt idx="1">
                  <c:v>118739</c:v>
                </c:pt>
                <c:pt idx="2">
                  <c:v>108439</c:v>
                </c:pt>
                <c:pt idx="3">
                  <c:v>72421</c:v>
                </c:pt>
                <c:pt idx="4">
                  <c:v>62509</c:v>
                </c:pt>
                <c:pt idx="5">
                  <c:v>38179</c:v>
                </c:pt>
                <c:pt idx="6">
                  <c:v>38170</c:v>
                </c:pt>
                <c:pt idx="7">
                  <c:v>364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 Bligny</c:v>
                  </c:pt>
                  <c:pt idx="6">
                    <c:v>Delamott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C8AECBE-4439-4FFA-AB1C-B4E1FC4581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83E8CD8-E863-4783-B019-C68ABB90BE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16446A1-D3CF-4F63-BFD2-C5F85530FD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A52037D-CBE2-4440-B3B6-071ADE9E8F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06201AC-2544-49CE-B7AC-556604BF7F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41A5CE9-7A8A-49E7-BDAE-559C86FFBA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1D93849-2825-4084-9D44-750A524F5D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731C64DF-2882-4389-956E-2F0A1B3D1E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5045</c:v>
                </c:pt>
                <c:pt idx="1">
                  <c:v>22.205500000000001</c:v>
                </c:pt>
                <c:pt idx="2">
                  <c:v>48.715699999999998</c:v>
                </c:pt>
                <c:pt idx="3">
                  <c:v>48.909500000000001</c:v>
                </c:pt>
                <c:pt idx="4">
                  <c:v>29.253399999999999</c:v>
                </c:pt>
                <c:pt idx="5">
                  <c:v>37.168799999999997</c:v>
                </c:pt>
                <c:pt idx="6">
                  <c:v>30.1663</c:v>
                </c:pt>
                <c:pt idx="7">
                  <c:v>30.159199999999998</c:v>
                </c:pt>
              </c:numCache>
            </c:numRef>
          </c:xVal>
          <c:yVal>
            <c:numRef>
              <c:f>Sheet1!$B$2:$B$9</c:f>
              <c:numCache>
                <c:formatCode>General</c:formatCode>
                <c:ptCount val="8"/>
                <c:pt idx="0">
                  <c:v>1.452</c:v>
                </c:pt>
                <c:pt idx="1">
                  <c:v>0.56899999999999995</c:v>
                </c:pt>
                <c:pt idx="2">
                  <c:v>1.202</c:v>
                </c:pt>
                <c:pt idx="3">
                  <c:v>1.1060000000000001</c:v>
                </c:pt>
                <c:pt idx="4">
                  <c:v>0.751</c:v>
                </c:pt>
                <c:pt idx="5">
                  <c:v>0.95499999999999996</c:v>
                </c:pt>
                <c:pt idx="6">
                  <c:v>0.79700000000000004</c:v>
                </c:pt>
                <c:pt idx="7">
                  <c:v>0.77400000000000002</c:v>
                </c:pt>
              </c:numCache>
            </c:numRef>
          </c:yVal>
          <c:bubbleSize>
            <c:numRef>
              <c:f>Sheet1!$C$2:$C$9</c:f>
              <c:numCache>
                <c:formatCode>General</c:formatCode>
                <c:ptCount val="8"/>
                <c:pt idx="0">
                  <c:v>2006389</c:v>
                </c:pt>
                <c:pt idx="1">
                  <c:v>1080677</c:v>
                </c:pt>
                <c:pt idx="2">
                  <c:v>937826</c:v>
                </c:pt>
                <c:pt idx="3">
                  <c:v>550525</c:v>
                </c:pt>
                <c:pt idx="4">
                  <c:v>468611</c:v>
                </c:pt>
                <c:pt idx="5">
                  <c:v>431232</c:v>
                </c:pt>
                <c:pt idx="6">
                  <c:v>414756</c:v>
                </c:pt>
                <c:pt idx="7">
                  <c:v>40229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Canard Duchêne</c:v>
                  </c:pt>
                  <c:pt idx="7">
                    <c:v>De Blign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184CAC8-9326-43C7-A56E-D7E721105C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C6F26F6-EF7B-4A1D-B7FF-591F345024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85F8B4B-5A12-47B2-AF21-3514A3C804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1FFF973-B5BB-4CB0-826F-583FAB8719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B78B8395-2801-422D-BEB1-E2E71BB4B2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6C0266B-A534-489C-B7D0-DD429C52DF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8C2CBF31-F41A-433A-9FAA-C1E2AC5369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597564A-7D16-4CFE-B7D3-13E13EA29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88699999999999</c:v>
                </c:pt>
                <c:pt idx="1">
                  <c:v>30.354199999999999</c:v>
                </c:pt>
                <c:pt idx="2">
                  <c:v>31.344000000000001</c:v>
                </c:pt>
                <c:pt idx="3">
                  <c:v>35.375900000000001</c:v>
                </c:pt>
              </c:numCache>
            </c:numRef>
          </c:xVal>
          <c:yVal>
            <c:numRef>
              <c:f>Sheet1!$B$2:$B$5</c:f>
              <c:numCache>
                <c:formatCode>General</c:formatCode>
                <c:ptCount val="4"/>
                <c:pt idx="0">
                  <c:v>0.98799999999999999</c:v>
                </c:pt>
                <c:pt idx="1">
                  <c:v>1.014</c:v>
                </c:pt>
                <c:pt idx="2">
                  <c:v>1.044</c:v>
                </c:pt>
                <c:pt idx="3">
                  <c:v>1.095</c:v>
                </c:pt>
              </c:numCache>
            </c:numRef>
          </c:yVal>
          <c:bubbleSize>
            <c:numRef>
              <c:f>Sheet1!$C$2:$C$5</c:f>
              <c:numCache>
                <c:formatCode>General</c:formatCode>
                <c:ptCount val="4"/>
                <c:pt idx="0">
                  <c:v>452589</c:v>
                </c:pt>
                <c:pt idx="1">
                  <c:v>112098</c:v>
                </c:pt>
                <c:pt idx="2">
                  <c:v>59585</c:v>
                </c:pt>
                <c:pt idx="3">
                  <c:v>14398</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9CD5B36-55A0-4D17-94CC-4E8DF2BDB6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EF9A000-3D29-458F-AC53-B42D9E585C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D5BB4F5E-19DE-4152-838B-FC351F6B0C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97959A3E-C0A7-4024-B7DD-0EB8D9F8A7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5FA8E2AD-D064-4270-97F1-1D99C201DE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8E0905B2-4D48-4AF3-9CCD-9F920A42BD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9E00C0F-5436-4869-810D-EBDA3DEC0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3A4BE3E-B0F2-45B2-98A9-DCA5B02CA5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07099999999999</c:v>
                </c:pt>
                <c:pt idx="1">
                  <c:v>11.3858</c:v>
                </c:pt>
              </c:numCache>
            </c:numRef>
          </c:xVal>
          <c:yVal>
            <c:numRef>
              <c:f>Sheet1!$B$2:$B$3</c:f>
              <c:numCache>
                <c:formatCode>General</c:formatCode>
                <c:ptCount val="2"/>
                <c:pt idx="0">
                  <c:v>1.679</c:v>
                </c:pt>
                <c:pt idx="1">
                  <c:v>0.65800000000000003</c:v>
                </c:pt>
              </c:numCache>
            </c:numRef>
          </c:yVal>
          <c:bubbleSize>
            <c:numRef>
              <c:f>Sheet1!$C$2:$C$3</c:f>
              <c:numCache>
                <c:formatCode>General</c:formatCode>
                <c:ptCount val="2"/>
                <c:pt idx="0">
                  <c:v>322623</c:v>
                </c:pt>
                <c:pt idx="1">
                  <c:v>219371</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D9D4A4A0-E863-47B6-BBC3-9359BD8C4A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C6FB7C68-B8DC-4479-8DE3-D34F1D5DCE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7F8B55C5-5782-4AC8-940A-C4BF47B326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69704A87-19AC-4B86-AE70-7C2891ABA0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58872FD6-DD03-4660-93DF-8C4E0D2549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F96E77AC-F988-484A-A4AB-6A068F3C7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57ABAA1C-4EFB-4CF9-90AA-543D4D0EF4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05FAABE7-D3C2-4774-8F02-D2C8297BE9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94999999999999</c:v>
                </c:pt>
                <c:pt idx="1">
                  <c:v>43.808300000000003</c:v>
                </c:pt>
                <c:pt idx="2">
                  <c:v>38.920200000000001</c:v>
                </c:pt>
              </c:numCache>
            </c:numRef>
          </c:xVal>
          <c:yVal>
            <c:numRef>
              <c:f>Sheet1!$B$2:$B$4</c:f>
              <c:numCache>
                <c:formatCode>General</c:formatCode>
                <c:ptCount val="3"/>
                <c:pt idx="0">
                  <c:v>0.94099999999999995</c:v>
                </c:pt>
                <c:pt idx="1">
                  <c:v>1.325</c:v>
                </c:pt>
                <c:pt idx="2">
                  <c:v>1.161</c:v>
                </c:pt>
              </c:numCache>
            </c:numRef>
          </c:yVal>
          <c:bubbleSize>
            <c:numRef>
              <c:f>Sheet1!$C$2:$C$4</c:f>
              <c:numCache>
                <c:formatCode>General</c:formatCode>
                <c:ptCount val="3"/>
                <c:pt idx="0">
                  <c:v>410703</c:v>
                </c:pt>
                <c:pt idx="1">
                  <c:v>99620</c:v>
                </c:pt>
                <c:pt idx="2">
                  <c:v>7317</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DDD9BD-F0DB-45F3-B61E-84C070E3AA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0C305E-9B33-47AB-B8AB-8E506F7F9B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80797C-1A61-4EF9-A83C-82DE8F0318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A88DED-C936-47F2-9E58-C986AFC204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B9711A-5AE9-4967-8AFF-9B6F2D4ECA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A3D7EA-F51C-4A2C-BC2B-8FAF02DD01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86682B-724C-43CB-B936-2D3C419F1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520A54-AAB0-4C7B-AFCD-82E97FD2AE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51639999999998</c:v>
                </c:pt>
                <c:pt idx="1">
                  <c:v>165.85769999999999</c:v>
                </c:pt>
                <c:pt idx="2">
                  <c:v>94.170299999999997</c:v>
                </c:pt>
                <c:pt idx="3">
                  <c:v>37.135100000000001</c:v>
                </c:pt>
                <c:pt idx="4">
                  <c:v>271.21949999999998</c:v>
                </c:pt>
                <c:pt idx="5">
                  <c:v>227.80430000000001</c:v>
                </c:pt>
                <c:pt idx="6">
                  <c:v>64.681399999999996</c:v>
                </c:pt>
                <c:pt idx="7">
                  <c:v>232.8065</c:v>
                </c:pt>
              </c:numCache>
            </c:numRef>
          </c:xVal>
          <c:yVal>
            <c:numRef>
              <c:f>Sheet1!$B$2:$B$9</c:f>
              <c:numCache>
                <c:formatCode>General</c:formatCode>
                <c:ptCount val="8"/>
                <c:pt idx="0">
                  <c:v>1.883</c:v>
                </c:pt>
                <c:pt idx="1">
                  <c:v>1.165</c:v>
                </c:pt>
                <c:pt idx="2">
                  <c:v>0.68300000000000005</c:v>
                </c:pt>
                <c:pt idx="3">
                  <c:v>0.27300000000000002</c:v>
                </c:pt>
                <c:pt idx="4">
                  <c:v>1.6559999999999999</c:v>
                </c:pt>
                <c:pt idx="5">
                  <c:v>1.375</c:v>
                </c:pt>
                <c:pt idx="6">
                  <c:v>0.46300000000000002</c:v>
                </c:pt>
                <c:pt idx="7">
                  <c:v>1.5289999999999999</c:v>
                </c:pt>
              </c:numCache>
            </c:numRef>
          </c:yVal>
          <c:bubbleSize>
            <c:numRef>
              <c:f>Sheet1!$C$2:$C$9</c:f>
              <c:numCache>
                <c:formatCode>General</c:formatCode>
                <c:ptCount val="8"/>
                <c:pt idx="0">
                  <c:v>222481</c:v>
                </c:pt>
                <c:pt idx="1">
                  <c:v>129369</c:v>
                </c:pt>
                <c:pt idx="2">
                  <c:v>59704</c:v>
                </c:pt>
                <c:pt idx="3">
                  <c:v>37655</c:v>
                </c:pt>
                <c:pt idx="4">
                  <c:v>11120</c:v>
                </c:pt>
                <c:pt idx="5">
                  <c:v>10479</c:v>
                </c:pt>
                <c:pt idx="6">
                  <c:v>7309</c:v>
                </c:pt>
                <c:pt idx="7">
                  <c:v>7217</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Piper Heidsieck</c:v>
                  </c:pt>
                  <c:pt idx="5">
                    <c:v>Bollinger</c:v>
                  </c:pt>
                  <c:pt idx="6">
                    <c:v>Laurent Perrier</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D7815BE-6997-4867-BE54-3C48408C6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765F29C-9BFD-4428-8E13-8FEA4E46E7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CC4813B-E9E4-459A-9E82-5C043B4521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71C187B-A29F-40DD-94E4-F07A71D762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AA68A3F-E21C-48CD-B20C-D4CFF63A9B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FBBB3DD-A18A-4A83-8508-CBA38B93D0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5B10D3F9-FF59-474D-A81F-DF5C4F849C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8434916-12C4-4CFF-B124-3E17C5D7FD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765900000000002</c:v>
                </c:pt>
                <c:pt idx="1">
                  <c:v>52.744999999999997</c:v>
                </c:pt>
                <c:pt idx="2">
                  <c:v>37.506500000000003</c:v>
                </c:pt>
                <c:pt idx="3">
                  <c:v>27.058199999999999</c:v>
                </c:pt>
                <c:pt idx="4">
                  <c:v>81.447900000000004</c:v>
                </c:pt>
                <c:pt idx="5">
                  <c:v>37.611499999999999</c:v>
                </c:pt>
                <c:pt idx="6">
                  <c:v>41.043500000000002</c:v>
                </c:pt>
                <c:pt idx="7">
                  <c:v>36.133699999999997</c:v>
                </c:pt>
              </c:numCache>
            </c:numRef>
          </c:xVal>
          <c:yVal>
            <c:numRef>
              <c:f>Sheet1!$B$2:$B$9</c:f>
              <c:numCache>
                <c:formatCode>General</c:formatCode>
                <c:ptCount val="8"/>
                <c:pt idx="0">
                  <c:v>1.7350000000000001</c:v>
                </c:pt>
                <c:pt idx="1">
                  <c:v>1.0980000000000001</c:v>
                </c:pt>
                <c:pt idx="2">
                  <c:v>0.69799999999999995</c:v>
                </c:pt>
                <c:pt idx="3">
                  <c:v>0.54200000000000004</c:v>
                </c:pt>
                <c:pt idx="4">
                  <c:v>1.5089999999999999</c:v>
                </c:pt>
                <c:pt idx="5">
                  <c:v>0.70199999999999996</c:v>
                </c:pt>
                <c:pt idx="6">
                  <c:v>0.91600000000000004</c:v>
                </c:pt>
                <c:pt idx="7">
                  <c:v>0.67400000000000004</c:v>
                </c:pt>
              </c:numCache>
            </c:numRef>
          </c:yVal>
          <c:bubbleSize>
            <c:numRef>
              <c:f>Sheet1!$C$2:$C$9</c:f>
              <c:numCache>
                <c:formatCode>General</c:formatCode>
                <c:ptCount val="8"/>
                <c:pt idx="0">
                  <c:v>277653</c:v>
                </c:pt>
                <c:pt idx="1">
                  <c:v>140671</c:v>
                </c:pt>
                <c:pt idx="2">
                  <c:v>112332</c:v>
                </c:pt>
                <c:pt idx="3">
                  <c:v>93973</c:v>
                </c:pt>
                <c:pt idx="4">
                  <c:v>83647</c:v>
                </c:pt>
                <c:pt idx="5">
                  <c:v>53145</c:v>
                </c:pt>
                <c:pt idx="6">
                  <c:v>45271</c:v>
                </c:pt>
                <c:pt idx="7">
                  <c:v>41337</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4D5747A-03BF-4108-948B-54023DC0E0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D217D3DC-35F6-4EE1-90B2-470714F8BC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5212530C-2A38-4F7C-A08D-0053E6533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B7696491-8026-4759-96CB-BAB4EF6F1F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7BB38B8F-CE78-4822-A94F-C03C7E24E0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DE69E2C-9F88-49F3-ABE3-5B701514A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2D8A42E-47D4-4F1E-ACBD-3EB5075F8C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9C4EE1C-496F-4363-8B84-8A9D7356B0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96099999999999</c:v>
                </c:pt>
              </c:numCache>
            </c:numRef>
          </c:xVal>
          <c:yVal>
            <c:numRef>
              <c:f>Sheet1!$B$2:$B$2</c:f>
              <c:numCache>
                <c:formatCode>General</c:formatCode>
                <c:ptCount val="1"/>
                <c:pt idx="0">
                  <c:v>1</c:v>
                </c:pt>
              </c:numCache>
            </c:numRef>
          </c:yVal>
          <c:bubbleSize>
            <c:numRef>
              <c:f>Sheet1!$C$2:$C$2</c:f>
              <c:numCache>
                <c:formatCode>General</c:formatCode>
                <c:ptCount val="1"/>
                <c:pt idx="0">
                  <c:v>111713</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A5003B84-9664-4169-960E-53EDCDF61B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EBA7779-C850-4586-A9B6-77F833C77B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81515CA-A8CC-4522-8779-22D25D98A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32429D3A-BBC3-4B61-9913-79D97F79F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5FC7961-7415-4BB5-AF39-E47F80C96C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623677DE-4915-450C-8A1E-0C1E1D1A84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DDF74D42-81C8-40CC-9166-D32ED4F527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111F6EF3-1D21-4947-9008-C83308E4B9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4999999999999</c:v>
                </c:pt>
                <c:pt idx="1">
                  <c:v>9.0840999999999994</c:v>
                </c:pt>
                <c:pt idx="2">
                  <c:v>11.535</c:v>
                </c:pt>
              </c:numCache>
            </c:numRef>
          </c:xVal>
          <c:yVal>
            <c:numRef>
              <c:f>Sheet1!$B$2:$B$4</c:f>
              <c:numCache>
                <c:formatCode>General</c:formatCode>
                <c:ptCount val="3"/>
                <c:pt idx="0">
                  <c:v>1.266</c:v>
                </c:pt>
                <c:pt idx="1">
                  <c:v>1.008</c:v>
                </c:pt>
                <c:pt idx="2">
                  <c:v>1.07</c:v>
                </c:pt>
              </c:numCache>
            </c:numRef>
          </c:yVal>
          <c:bubbleSize>
            <c:numRef>
              <c:f>Sheet1!$C$2:$C$4</c:f>
              <c:numCache>
                <c:formatCode>General</c:formatCode>
                <c:ptCount val="3"/>
                <c:pt idx="0">
                  <c:v>150888</c:v>
                </c:pt>
                <c:pt idx="1">
                  <c:v>86281</c:v>
                </c:pt>
                <c:pt idx="2">
                  <c:v>19102</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00290D-BC3C-4FF1-AACB-7CDEF3D8DE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F1121E-0290-4832-993D-82942533E3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F33796-69DE-4B88-9F58-626ADAA99E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56FDD26-0BB4-4473-8717-BFD8127813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4B700D0-CF84-48B8-8973-BF87B08A7F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170372F-00AE-4BEB-AE53-4EBBABBBF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7EC436-076E-4985-A924-812018CC5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6D0211-9A07-40C5-9359-4E86B7CA24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463</c:v>
                </c:pt>
                <c:pt idx="1">
                  <c:v>11.4129</c:v>
                </c:pt>
                <c:pt idx="2">
                  <c:v>13.5061</c:v>
                </c:pt>
              </c:numCache>
            </c:numRef>
          </c:xVal>
          <c:yVal>
            <c:numRef>
              <c:f>Sheet1!$B$2:$B$4</c:f>
              <c:numCache>
                <c:formatCode>General</c:formatCode>
                <c:ptCount val="3"/>
                <c:pt idx="0">
                  <c:v>0.96699999999999997</c:v>
                </c:pt>
                <c:pt idx="1">
                  <c:v>0.97799999999999998</c:v>
                </c:pt>
                <c:pt idx="2">
                  <c:v>1.155</c:v>
                </c:pt>
              </c:numCache>
            </c:numRef>
          </c:yVal>
          <c:bubbleSize>
            <c:numRef>
              <c:f>Sheet1!$C$2:$C$4</c:f>
              <c:numCache>
                <c:formatCode>General</c:formatCode>
                <c:ptCount val="3"/>
                <c:pt idx="0">
                  <c:v>74413</c:v>
                </c:pt>
                <c:pt idx="1">
                  <c:v>70235</c:v>
                </c:pt>
                <c:pt idx="2">
                  <c:v>42355</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8219AA4-5795-4566-9ECA-5748C9F7A0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E5D3D4DA-E766-4FD5-94F6-FF5DC4177A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12BCB121-7BBF-4D49-A200-3FC3917577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80899467-6903-4D1E-A608-085C05F420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BC276AF0-1BA4-4E14-8F3B-1B2B21CC4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35FFF599-13A8-4F52-B016-71605DDD21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E8101D57-B407-4150-853B-BDD054AF6F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9A8AD074-486E-4A68-8FE2-289ED4A204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97300000000001</c:v>
                </c:pt>
              </c:numCache>
            </c:numRef>
          </c:xVal>
          <c:yVal>
            <c:numRef>
              <c:f>Sheet1!$B$2:$B$2</c:f>
              <c:numCache>
                <c:formatCode>General</c:formatCode>
                <c:ptCount val="1"/>
                <c:pt idx="0">
                  <c:v>1.0489999999999999</c:v>
                </c:pt>
              </c:numCache>
            </c:numRef>
          </c:yVal>
          <c:bubbleSize>
            <c:numRef>
              <c:f>Sheet1!$C$2:$C$2</c:f>
              <c:numCache>
                <c:formatCode>General</c:formatCode>
                <c:ptCount val="1"/>
                <c:pt idx="0">
                  <c:v>760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B2D5CC0-CBA2-461B-BB75-40D405CE57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07AD587-B13C-4DCA-B799-D41B160B95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F548D61E-F26C-4012-A91F-2326086027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AB641AEB-52C4-496E-98DD-A9164E920E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0B1B3FE-3CFC-43E4-8968-DB542CB75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EDF79BA-DE00-478D-832A-62C4A00014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88A4B17-FA81-499D-8D3E-0C667F3112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C577027-3B9E-425F-B822-7076975C88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94</c:v>
                </c:pt>
                <c:pt idx="1">
                  <c:v>9.81</c:v>
                </c:pt>
              </c:numCache>
            </c:numRef>
          </c:xVal>
          <c:yVal>
            <c:numRef>
              <c:f>Sheet1!$B$2:$B$3</c:f>
              <c:numCache>
                <c:formatCode>General</c:formatCode>
                <c:ptCount val="2"/>
                <c:pt idx="0">
                  <c:v>0.98399999999999999</c:v>
                </c:pt>
                <c:pt idx="1">
                  <c:v>0.84399999999999997</c:v>
                </c:pt>
              </c:numCache>
            </c:numRef>
          </c:yVal>
          <c:bubbleSize>
            <c:numRef>
              <c:f>Sheet1!$C$2:$C$3</c:f>
              <c:numCache>
                <c:formatCode>General</c:formatCode>
                <c:ptCount val="2"/>
                <c:pt idx="0">
                  <c:v>13985</c:v>
                </c:pt>
                <c:pt idx="1">
                  <c:v>1962</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597584-5244-40B7-AD2F-228B6788CB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2DD387-0298-419E-8D52-0ECACC6FA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F42EB3-8E0B-4DC5-AB85-73BF92ABF3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BC80AD-D70A-4523-8DC1-6610C09011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FAA838-6BA3-4EA3-ACFB-8BF6E39E1D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ABE7F4-C0A2-45EC-932D-C0AA1C433F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F7353F-AFA2-4F41-8B07-A92BFAAE03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F754DB-C1B4-46F9-850E-D2CB9086FF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423199999999994</c:v>
                </c:pt>
                <c:pt idx="1">
                  <c:v>39.362900000000003</c:v>
                </c:pt>
                <c:pt idx="2">
                  <c:v>35.230899999999998</c:v>
                </c:pt>
                <c:pt idx="3">
                  <c:v>58.4313</c:v>
                </c:pt>
                <c:pt idx="4">
                  <c:v>46.652500000000003</c:v>
                </c:pt>
                <c:pt idx="5">
                  <c:v>37.884399999999999</c:v>
                </c:pt>
                <c:pt idx="6">
                  <c:v>52.983499999999999</c:v>
                </c:pt>
                <c:pt idx="7">
                  <c:v>76.6631</c:v>
                </c:pt>
              </c:numCache>
            </c:numRef>
          </c:xVal>
          <c:yVal>
            <c:numRef>
              <c:f>Sheet1!$B$2:$B$9</c:f>
              <c:numCache>
                <c:formatCode>General</c:formatCode>
                <c:ptCount val="8"/>
                <c:pt idx="0">
                  <c:v>1.347</c:v>
                </c:pt>
                <c:pt idx="1">
                  <c:v>0.56899999999999995</c:v>
                </c:pt>
                <c:pt idx="2">
                  <c:v>0.49</c:v>
                </c:pt>
                <c:pt idx="3">
                  <c:v>0.85399999999999998</c:v>
                </c:pt>
                <c:pt idx="4">
                  <c:v>0.64200000000000002</c:v>
                </c:pt>
                <c:pt idx="5">
                  <c:v>0.52600000000000002</c:v>
                </c:pt>
                <c:pt idx="6">
                  <c:v>0.72799999999999998</c:v>
                </c:pt>
                <c:pt idx="7">
                  <c:v>1.0449999999999999</c:v>
                </c:pt>
              </c:numCache>
            </c:numRef>
          </c:yVal>
          <c:bubbleSize>
            <c:numRef>
              <c:f>Sheet1!$C$2:$C$9</c:f>
              <c:numCache>
                <c:formatCode>General</c:formatCode>
                <c:ptCount val="8"/>
                <c:pt idx="0">
                  <c:v>910915</c:v>
                </c:pt>
                <c:pt idx="1">
                  <c:v>87307</c:v>
                </c:pt>
                <c:pt idx="2">
                  <c:v>80714</c:v>
                </c:pt>
                <c:pt idx="3">
                  <c:v>60827</c:v>
                </c:pt>
                <c:pt idx="4">
                  <c:v>55050</c:v>
                </c:pt>
                <c:pt idx="5">
                  <c:v>38983</c:v>
                </c:pt>
                <c:pt idx="6">
                  <c:v>35234</c:v>
                </c:pt>
                <c:pt idx="7">
                  <c:v>2867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 Bligny</c:v>
                  </c:pt>
                  <c:pt idx="6">
                    <c:v>Delamott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054B7C9-D56E-40AF-938B-00D551618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0C61CAB-6368-4BF3-8379-3EEAAB4BA5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87755B2-17C1-4AEF-9426-0E3F9D4C9E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CDCD962-5FD8-4784-86EC-BB8ADF64FD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E0CDAC2-3F89-418F-B132-80636CE98E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A2C58D4-8BEF-4982-A032-B916406CD3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5DDD23B9-7DD2-4A72-8F78-733128A4EE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980B061-1E24-4BE0-B95F-A9E5AC15C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110700000000001</c:v>
                </c:pt>
                <c:pt idx="1">
                  <c:v>22.341100000000001</c:v>
                </c:pt>
                <c:pt idx="2">
                  <c:v>48.279400000000003</c:v>
                </c:pt>
                <c:pt idx="3">
                  <c:v>49.332900000000002</c:v>
                </c:pt>
                <c:pt idx="4">
                  <c:v>29.312200000000001</c:v>
                </c:pt>
                <c:pt idx="5">
                  <c:v>30.2136</c:v>
                </c:pt>
                <c:pt idx="6">
                  <c:v>30.749199999999998</c:v>
                </c:pt>
                <c:pt idx="7">
                  <c:v>37.334899999999998</c:v>
                </c:pt>
              </c:numCache>
            </c:numRef>
          </c:xVal>
          <c:yVal>
            <c:numRef>
              <c:f>Sheet1!$B$2:$B$9</c:f>
              <c:numCache>
                <c:formatCode>General</c:formatCode>
                <c:ptCount val="8"/>
                <c:pt idx="0">
                  <c:v>1.4410000000000001</c:v>
                </c:pt>
                <c:pt idx="1">
                  <c:v>0.57099999999999995</c:v>
                </c:pt>
                <c:pt idx="2">
                  <c:v>1.1919999999999999</c:v>
                </c:pt>
                <c:pt idx="3">
                  <c:v>1.099</c:v>
                </c:pt>
                <c:pt idx="4">
                  <c:v>0.75</c:v>
                </c:pt>
                <c:pt idx="5">
                  <c:v>0.77400000000000002</c:v>
                </c:pt>
                <c:pt idx="6">
                  <c:v>0.81</c:v>
                </c:pt>
                <c:pt idx="7">
                  <c:v>0.95499999999999996</c:v>
                </c:pt>
              </c:numCache>
            </c:numRef>
          </c:yVal>
          <c:bubbleSize>
            <c:numRef>
              <c:f>Sheet1!$C$2:$C$9</c:f>
              <c:numCache>
                <c:formatCode>General</c:formatCode>
                <c:ptCount val="8"/>
                <c:pt idx="0">
                  <c:v>1553868</c:v>
                </c:pt>
                <c:pt idx="1">
                  <c:v>834864</c:v>
                </c:pt>
                <c:pt idx="2">
                  <c:v>799265</c:v>
                </c:pt>
                <c:pt idx="3">
                  <c:v>423079</c:v>
                </c:pt>
                <c:pt idx="4">
                  <c:v>405270</c:v>
                </c:pt>
                <c:pt idx="5">
                  <c:v>333890</c:v>
                </c:pt>
                <c:pt idx="6">
                  <c:v>316901</c:v>
                </c:pt>
                <c:pt idx="7">
                  <c:v>30599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De Bligny</c:v>
                  </c:pt>
                  <c:pt idx="6">
                    <c:v>Canard Duchêne</c:v>
                  </c:pt>
                  <c:pt idx="7">
                    <c:v>Ayala</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26E5A6-DA61-47EE-B669-3597CEFF70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7B4181-205D-4AFF-B81A-F3DB9B4EEE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D1BB75-E1CD-4489-A5AB-D4B179D4FE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3ADCBE-EA34-4E85-BE90-057530C7A6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77AB9F-CBE4-468E-AF95-ED9FC06FEE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0B46BB-CEEF-49B8-910A-BFC5AC07FD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412CFDB-7474-46F7-80DF-768F92D365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B4DE5D-8E16-4A88-931B-F5F6B45B72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946400000000001</c:v>
                </c:pt>
                <c:pt idx="1">
                  <c:v>31.078299999999999</c:v>
                </c:pt>
                <c:pt idx="2">
                  <c:v>26.586600000000001</c:v>
                </c:pt>
                <c:pt idx="3">
                  <c:v>24.309100000000001</c:v>
                </c:pt>
                <c:pt idx="4">
                  <c:v>18.720199999999998</c:v>
                </c:pt>
                <c:pt idx="5">
                  <c:v>41.6464</c:v>
                </c:pt>
                <c:pt idx="6">
                  <c:v>28.857299999999999</c:v>
                </c:pt>
                <c:pt idx="7">
                  <c:v>28.788599999999999</c:v>
                </c:pt>
              </c:numCache>
            </c:numRef>
          </c:xVal>
          <c:yVal>
            <c:numRef>
              <c:f>Sheet1!$B$2:$B$9</c:f>
              <c:numCache>
                <c:formatCode>General</c:formatCode>
                <c:ptCount val="8"/>
                <c:pt idx="0">
                  <c:v>1.099</c:v>
                </c:pt>
                <c:pt idx="1">
                  <c:v>1.5009999999999999</c:v>
                </c:pt>
                <c:pt idx="2">
                  <c:v>1.2769999999999999</c:v>
                </c:pt>
                <c:pt idx="3">
                  <c:v>1.1040000000000001</c:v>
                </c:pt>
                <c:pt idx="4">
                  <c:v>0.30499999999999999</c:v>
                </c:pt>
                <c:pt idx="5">
                  <c:v>1.988</c:v>
                </c:pt>
                <c:pt idx="6">
                  <c:v>1.4419999999999999</c:v>
                </c:pt>
                <c:pt idx="7">
                  <c:v>1.3759999999999999</c:v>
                </c:pt>
              </c:numCache>
            </c:numRef>
          </c:yVal>
          <c:bubbleSize>
            <c:numRef>
              <c:f>Sheet1!$C$2:$C$9</c:f>
              <c:numCache>
                <c:formatCode>General</c:formatCode>
                <c:ptCount val="8"/>
                <c:pt idx="0">
                  <c:v>81150444</c:v>
                </c:pt>
                <c:pt idx="1">
                  <c:v>40272704</c:v>
                </c:pt>
                <c:pt idx="2">
                  <c:v>37152564</c:v>
                </c:pt>
                <c:pt idx="3">
                  <c:v>28145421</c:v>
                </c:pt>
                <c:pt idx="4">
                  <c:v>26885600</c:v>
                </c:pt>
                <c:pt idx="5">
                  <c:v>22739166</c:v>
                </c:pt>
                <c:pt idx="6">
                  <c:v>18912061</c:v>
                </c:pt>
                <c:pt idx="7">
                  <c:v>18082204</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anard Duchêne</c:v>
                  </c:pt>
                  <c:pt idx="3">
                    <c:v>Alfred De Rothschild</c:v>
                  </c:pt>
                  <c:pt idx="4">
                    <c:v>Charles Lafitte</c:v>
                  </c:pt>
                  <c:pt idx="5">
                    <c:v>Moët &amp; Chandon</c:v>
                  </c:pt>
                  <c:pt idx="6">
                    <c:v>Tsarine</c:v>
                  </c:pt>
                  <c:pt idx="7">
                    <c:v>Demoisel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
          <c:min val="1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BC93866-9AF9-45BD-B3EB-696FB1789C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4BBB2DE-9B65-46F3-8BC6-9FB30317E2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A10A239-99C3-4F13-A84A-9A10F11BC4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D13E05DD-E1F5-4718-B796-9A92483C19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8720922-1C04-4711-A84A-D4E8D277B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C9DB063E-CAC2-4BF7-8DC1-115C53B198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D4A302B-B7BC-45A2-AEA5-A29B338F7A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53655E95-5562-4459-A5C9-FBE0DF80F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44600000000001</c:v>
                </c:pt>
                <c:pt idx="1">
                  <c:v>30.648399999999999</c:v>
                </c:pt>
                <c:pt idx="2">
                  <c:v>31.499199999999998</c:v>
                </c:pt>
                <c:pt idx="3">
                  <c:v>35.204099999999997</c:v>
                </c:pt>
              </c:numCache>
            </c:numRef>
          </c:xVal>
          <c:yVal>
            <c:numRef>
              <c:f>Sheet1!$B$2:$B$5</c:f>
              <c:numCache>
                <c:formatCode>General</c:formatCode>
                <c:ptCount val="4"/>
                <c:pt idx="0">
                  <c:v>0.98699999999999999</c:v>
                </c:pt>
                <c:pt idx="1">
                  <c:v>1.02</c:v>
                </c:pt>
                <c:pt idx="2">
                  <c:v>1.0489999999999999</c:v>
                </c:pt>
                <c:pt idx="3">
                  <c:v>1.0669999999999999</c:v>
                </c:pt>
              </c:numCache>
            </c:numRef>
          </c:yVal>
          <c:bubbleSize>
            <c:numRef>
              <c:f>Sheet1!$C$2:$C$5</c:f>
              <c:numCache>
                <c:formatCode>General</c:formatCode>
                <c:ptCount val="4"/>
                <c:pt idx="0">
                  <c:v>397653</c:v>
                </c:pt>
                <c:pt idx="1">
                  <c:v>109231</c:v>
                </c:pt>
                <c:pt idx="2">
                  <c:v>41012</c:v>
                </c:pt>
                <c:pt idx="3">
                  <c:v>15349</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46A66482-0E2C-4F55-B7E7-1898E7CB8B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FC092491-3249-483A-96FE-171DE76C2F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EACA0B0-8287-4022-861C-F59BF5CF5D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2CBEFD2B-43BE-4DB7-8D68-317DE9EA28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4F57157A-2230-40CC-A287-DE128124A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A1421F3E-4F99-45EB-B843-98B567BD11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6E9270B2-D65E-46CD-960F-5F03301A58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466DE286-C01A-4897-85D8-6D2A5562B7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3699999999999</c:v>
                </c:pt>
                <c:pt idx="1">
                  <c:v>43.280700000000003</c:v>
                </c:pt>
                <c:pt idx="2">
                  <c:v>39.226999999999997</c:v>
                </c:pt>
              </c:numCache>
            </c:numRef>
          </c:xVal>
          <c:yVal>
            <c:numRef>
              <c:f>Sheet1!$B$2:$B$4</c:f>
              <c:numCache>
                <c:formatCode>General</c:formatCode>
                <c:ptCount val="3"/>
                <c:pt idx="0">
                  <c:v>0.94099999999999995</c:v>
                </c:pt>
                <c:pt idx="1">
                  <c:v>1.3109999999999999</c:v>
                </c:pt>
                <c:pt idx="2">
                  <c:v>1.153</c:v>
                </c:pt>
              </c:numCache>
            </c:numRef>
          </c:yVal>
          <c:bubbleSize>
            <c:numRef>
              <c:f>Sheet1!$C$2:$C$4</c:f>
              <c:numCache>
                <c:formatCode>General</c:formatCode>
                <c:ptCount val="3"/>
                <c:pt idx="0">
                  <c:v>343050</c:v>
                </c:pt>
                <c:pt idx="1">
                  <c:v>84657</c:v>
                </c:pt>
                <c:pt idx="2">
                  <c:v>7257</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E6F112-E457-4F4A-91F7-93BE1E8D5D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32479F-6F39-4DC5-B45A-E99EDAE848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D3AEF8-1A92-4A7B-8D98-4F8AD5F82D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0C56C3-FBBE-4210-A2E3-B6DC2EB270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70F201-7435-4BF6-8FD5-AA84688352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B242F9-1A9D-4E0C-949E-40DB794AD4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46CBFD-0AA9-4CA6-8AE9-046E92EA7C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706257-41A9-4322-9463-3A5D37439B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88659999999999</c:v>
                </c:pt>
                <c:pt idx="1">
                  <c:v>168.5444</c:v>
                </c:pt>
                <c:pt idx="2">
                  <c:v>93.754300000000001</c:v>
                </c:pt>
                <c:pt idx="3">
                  <c:v>37.530099999999997</c:v>
                </c:pt>
                <c:pt idx="4">
                  <c:v>229.54740000000001</c:v>
                </c:pt>
                <c:pt idx="5">
                  <c:v>65.619699999999995</c:v>
                </c:pt>
                <c:pt idx="6">
                  <c:v>241.26089999999999</c:v>
                </c:pt>
                <c:pt idx="7">
                  <c:v>304</c:v>
                </c:pt>
              </c:numCache>
            </c:numRef>
          </c:xVal>
          <c:yVal>
            <c:numRef>
              <c:f>Sheet1!$B$2:$B$9</c:f>
              <c:numCache>
                <c:formatCode>General</c:formatCode>
                <c:ptCount val="8"/>
                <c:pt idx="0">
                  <c:v>2.0529999999999999</c:v>
                </c:pt>
                <c:pt idx="1">
                  <c:v>1.206</c:v>
                </c:pt>
                <c:pt idx="2">
                  <c:v>0.71</c:v>
                </c:pt>
                <c:pt idx="3">
                  <c:v>0.29499999999999998</c:v>
                </c:pt>
                <c:pt idx="4">
                  <c:v>1.6319999999999999</c:v>
                </c:pt>
                <c:pt idx="5">
                  <c:v>0.48799999999999999</c:v>
                </c:pt>
                <c:pt idx="6">
                  <c:v>1.492</c:v>
                </c:pt>
                <c:pt idx="7">
                  <c:v>1.798</c:v>
                </c:pt>
              </c:numCache>
            </c:numRef>
          </c:yVal>
          <c:bubbleSize>
            <c:numRef>
              <c:f>Sheet1!$C$2:$C$9</c:f>
              <c:numCache>
                <c:formatCode>General</c:formatCode>
                <c:ptCount val="8"/>
                <c:pt idx="0">
                  <c:v>150634</c:v>
                </c:pt>
                <c:pt idx="1">
                  <c:v>87306</c:v>
                </c:pt>
                <c:pt idx="2">
                  <c:v>43127</c:v>
                </c:pt>
                <c:pt idx="3">
                  <c:v>33627</c:v>
                </c:pt>
                <c:pt idx="4">
                  <c:v>21807</c:v>
                </c:pt>
                <c:pt idx="5">
                  <c:v>9318</c:v>
                </c:pt>
                <c:pt idx="6">
                  <c:v>5549</c:v>
                </c:pt>
                <c:pt idx="7">
                  <c:v>516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ommery</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5"/>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67E86B5-DDD8-4B7D-A401-88E141364B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5C57FB4-23C2-4D19-B757-41B2A16993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CEA83F0-A82B-4E64-88F2-8000D57881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9DC6840-5399-4F8B-A30C-A2EDAE5D2B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AFAA38B-E5BB-4ADC-B562-6093FB0766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5F7B9C2-C434-4C65-878A-20FCD1651A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1A02CEC-8C11-426E-A613-7A16C380C8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A97CDC0-BE00-4D24-8C87-87B6F0E39B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509</c:v>
                </c:pt>
                <c:pt idx="1">
                  <c:v>52.050600000000003</c:v>
                </c:pt>
                <c:pt idx="2">
                  <c:v>27.031600000000001</c:v>
                </c:pt>
                <c:pt idx="3">
                  <c:v>37.606999999999999</c:v>
                </c:pt>
                <c:pt idx="4">
                  <c:v>81.073999999999998</c:v>
                </c:pt>
                <c:pt idx="5">
                  <c:v>37.692500000000003</c:v>
                </c:pt>
                <c:pt idx="6">
                  <c:v>40.941499999999998</c:v>
                </c:pt>
                <c:pt idx="7">
                  <c:v>36.332299999999996</c:v>
                </c:pt>
              </c:numCache>
            </c:numRef>
          </c:xVal>
          <c:yVal>
            <c:numRef>
              <c:f>Sheet1!$B$2:$B$9</c:f>
              <c:numCache>
                <c:formatCode>General</c:formatCode>
                <c:ptCount val="8"/>
                <c:pt idx="0">
                  <c:v>1.738</c:v>
                </c:pt>
                <c:pt idx="1">
                  <c:v>1.1140000000000001</c:v>
                </c:pt>
                <c:pt idx="2">
                  <c:v>0.53900000000000003</c:v>
                </c:pt>
                <c:pt idx="3">
                  <c:v>0.70799999999999996</c:v>
                </c:pt>
                <c:pt idx="4">
                  <c:v>1.5169999999999999</c:v>
                </c:pt>
                <c:pt idx="5">
                  <c:v>0.71</c:v>
                </c:pt>
                <c:pt idx="6">
                  <c:v>0.92800000000000005</c:v>
                </c:pt>
                <c:pt idx="7">
                  <c:v>0.68500000000000005</c:v>
                </c:pt>
              </c:numCache>
            </c:numRef>
          </c:yVal>
          <c:bubbleSize>
            <c:numRef>
              <c:f>Sheet1!$C$2:$C$9</c:f>
              <c:numCache>
                <c:formatCode>General</c:formatCode>
                <c:ptCount val="8"/>
                <c:pt idx="0">
                  <c:v>225639</c:v>
                </c:pt>
                <c:pt idx="1">
                  <c:v>89423</c:v>
                </c:pt>
                <c:pt idx="2">
                  <c:v>79662</c:v>
                </c:pt>
                <c:pt idx="3">
                  <c:v>66602</c:v>
                </c:pt>
                <c:pt idx="4">
                  <c:v>54806</c:v>
                </c:pt>
                <c:pt idx="5">
                  <c:v>37881</c:v>
                </c:pt>
                <c:pt idx="6">
                  <c:v>36397</c:v>
                </c:pt>
                <c:pt idx="7">
                  <c:v>33571</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E853C3F-1386-44D3-BB37-40F1CBAA2C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A246B82F-DAC8-47F5-B905-80ABC751E0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5931A08-6872-4680-B8AE-23414A8A07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66D8625C-62DE-4E7F-9D7C-38D550C587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1B7519D3-54F9-4B05-A6B5-97BE82BBFC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1C7AE06-BE6D-4163-AE8F-05D698E22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88D0C2A-F345-4F74-9EF3-D84BD2BDD4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A6F51B3-73BD-47A2-875C-6EB9CDC83D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51099999999999</c:v>
                </c:pt>
              </c:numCache>
            </c:numRef>
          </c:xVal>
          <c:yVal>
            <c:numRef>
              <c:f>Sheet1!$B$2:$B$2</c:f>
              <c:numCache>
                <c:formatCode>General</c:formatCode>
                <c:ptCount val="1"/>
                <c:pt idx="0">
                  <c:v>0.97599999999999998</c:v>
                </c:pt>
              </c:numCache>
            </c:numRef>
          </c:yVal>
          <c:bubbleSize>
            <c:numRef>
              <c:f>Sheet1!$C$2:$C$2</c:f>
              <c:numCache>
                <c:formatCode>General</c:formatCode>
                <c:ptCount val="1"/>
                <c:pt idx="0">
                  <c:v>99140</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F415801A-6AF7-41CC-AC7E-52C8E3DA42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9A2BA07-DF86-4E9C-ACC9-51B9791747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9F9A1A4-5021-4C1B-9F48-C63602540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EDDC244C-5D35-4514-90F3-92E750B793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A3EFD91D-9E13-4F84-98A0-17FD83AE6F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A2040F98-2F73-4CFB-8E2F-0F634F555C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E547AFB5-C265-4559-8A3C-3A56C8C013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50834E3-F39D-4D04-9A11-0EB4DD4D5A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96</c:v>
                </c:pt>
                <c:pt idx="1">
                  <c:v>9.1219000000000001</c:v>
                </c:pt>
                <c:pt idx="2">
                  <c:v>11.543699999999999</c:v>
                </c:pt>
              </c:numCache>
            </c:numRef>
          </c:xVal>
          <c:yVal>
            <c:numRef>
              <c:f>Sheet1!$B$2:$B$4</c:f>
              <c:numCache>
                <c:formatCode>General</c:formatCode>
                <c:ptCount val="3"/>
                <c:pt idx="0">
                  <c:v>1.276</c:v>
                </c:pt>
                <c:pt idx="1">
                  <c:v>1.0229999999999999</c:v>
                </c:pt>
                <c:pt idx="2">
                  <c:v>1.0820000000000001</c:v>
                </c:pt>
              </c:numCache>
            </c:numRef>
          </c:yVal>
          <c:bubbleSize>
            <c:numRef>
              <c:f>Sheet1!$C$2:$C$4</c:f>
              <c:numCache>
                <c:formatCode>General</c:formatCode>
                <c:ptCount val="3"/>
                <c:pt idx="0">
                  <c:v>101593</c:v>
                </c:pt>
                <c:pt idx="1">
                  <c:v>56501</c:v>
                </c:pt>
                <c:pt idx="2">
                  <c:v>17154</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42E219-1FD6-4740-A74D-9948FE8EE6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613E63-11DD-4BC8-839D-C6983E2B2C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48C803-2BE3-4A96-B3ED-7EACD7808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F5EAE27-02BB-4862-B4A7-B351E1C43D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FFB1869-FC05-43B9-89D8-10C96F3B56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FB77D4B-27B5-4B3A-AE4D-B272A30016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817161C-72D8-46E0-9807-F7D9BE5A5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449DEFC-7A89-43D0-B2D3-301D3C2661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292</c:v>
                </c:pt>
                <c:pt idx="1">
                  <c:v>11.428000000000001</c:v>
                </c:pt>
                <c:pt idx="2">
                  <c:v>13.4643</c:v>
                </c:pt>
              </c:numCache>
            </c:numRef>
          </c:xVal>
          <c:yVal>
            <c:numRef>
              <c:f>Sheet1!$B$2:$B$4</c:f>
              <c:numCache>
                <c:formatCode>General</c:formatCode>
                <c:ptCount val="3"/>
                <c:pt idx="0">
                  <c:v>0.97</c:v>
                </c:pt>
                <c:pt idx="1">
                  <c:v>0.98399999999999999</c:v>
                </c:pt>
                <c:pt idx="2">
                  <c:v>1.1579999999999999</c:v>
                </c:pt>
              </c:numCache>
            </c:numRef>
          </c:yVal>
          <c:bubbleSize>
            <c:numRef>
              <c:f>Sheet1!$C$2:$C$4</c:f>
              <c:numCache>
                <c:formatCode>General</c:formatCode>
                <c:ptCount val="3"/>
                <c:pt idx="0">
                  <c:v>55399</c:v>
                </c:pt>
                <c:pt idx="1">
                  <c:v>53220</c:v>
                </c:pt>
                <c:pt idx="2">
                  <c:v>2787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752C9CB-F31C-44D8-AB11-39C8C1C0A0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30F2AC5C-5C5B-4FF3-B073-611F3CB85D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407FF6EA-AC98-421F-BCE2-9FDEF4700A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43A43E4B-0F37-4EDC-883F-C6FB0AB778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D462D3DD-8A63-43AE-9190-3651FED875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9B442A81-4A22-4732-9834-7A15FD86A1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881CE47-4ED6-47B5-8D98-0220F8D0A2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26DD4C3-9A22-4AE7-9830-3209BB139B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6111</c:v>
                </c:pt>
              </c:numCache>
            </c:numRef>
          </c:xVal>
          <c:yVal>
            <c:numRef>
              <c:f>Sheet1!$B$2:$B$2</c:f>
              <c:numCache>
                <c:formatCode>General</c:formatCode>
                <c:ptCount val="1"/>
                <c:pt idx="0">
                  <c:v>1.2490000000000001</c:v>
                </c:pt>
              </c:numCache>
            </c:numRef>
          </c:yVal>
          <c:bubbleSize>
            <c:numRef>
              <c:f>Sheet1!$C$2:$C$2</c:f>
              <c:numCache>
                <c:formatCode>General</c:formatCode>
                <c:ptCount val="1"/>
                <c:pt idx="0">
                  <c:v>82244</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7BE56FD-72F7-442C-A500-D4239378C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B5D4DF6-FD26-41F6-9684-6906058AC2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4CB95E26-2C3D-472F-9B82-4F09EDDD3B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7EE7DC15-4C5D-40AB-A081-3B52005F63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D8D44C5-265B-416D-B010-9CDF21F036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0E623C3-39A6-485A-AB41-3D0C10AC9C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F72B79AD-16B9-459A-966E-F6C30DFD08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5F107266-94B4-4C6D-9823-BA3D788519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54</c:v>
                </c:pt>
                <c:pt idx="1">
                  <c:v>9.6069999999999993</c:v>
                </c:pt>
              </c:numCache>
            </c:numRef>
          </c:xVal>
          <c:yVal>
            <c:numRef>
              <c:f>Sheet1!$B$2:$B$3</c:f>
              <c:numCache>
                <c:formatCode>General</c:formatCode>
                <c:ptCount val="2"/>
                <c:pt idx="0">
                  <c:v>1.036</c:v>
                </c:pt>
                <c:pt idx="1">
                  <c:v>0.84399999999999997</c:v>
                </c:pt>
              </c:numCache>
            </c:numRef>
          </c:yVal>
          <c:bubbleSize>
            <c:numRef>
              <c:f>Sheet1!$C$2:$C$3</c:f>
              <c:numCache>
                <c:formatCode>General</c:formatCode>
                <c:ptCount val="2"/>
                <c:pt idx="0">
                  <c:v>10509</c:v>
                </c:pt>
                <c:pt idx="1">
                  <c:v>193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DFB991-D1EA-46D5-ABC6-327F890680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600D43-D2BA-4910-B7A1-70D6A313DD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6EA255-79DA-4477-BEAE-939A56C72B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07B2C1-C5CA-4A15-A09C-863E994308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18B222-97B1-40B7-A3BE-49D071247C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95B6FA7-76DA-4687-B185-FFB05AF4E0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D117EC-45BE-43D7-B68D-D49616A1C4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C8F2CB-45BE-42E0-A52A-C8B115BA6D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013999999999996</c:v>
                </c:pt>
                <c:pt idx="1">
                  <c:v>40.125500000000002</c:v>
                </c:pt>
                <c:pt idx="2">
                  <c:v>35.324399999999997</c:v>
                </c:pt>
                <c:pt idx="3">
                  <c:v>58.5242</c:v>
                </c:pt>
                <c:pt idx="4">
                  <c:v>37.983400000000003</c:v>
                </c:pt>
                <c:pt idx="5">
                  <c:v>47.084000000000003</c:v>
                </c:pt>
                <c:pt idx="6">
                  <c:v>53.462699999999998</c:v>
                </c:pt>
                <c:pt idx="7">
                  <c:v>75.419600000000003</c:v>
                </c:pt>
              </c:numCache>
            </c:numRef>
          </c:xVal>
          <c:yVal>
            <c:numRef>
              <c:f>Sheet1!$B$2:$B$9</c:f>
              <c:numCache>
                <c:formatCode>General</c:formatCode>
                <c:ptCount val="8"/>
                <c:pt idx="0">
                  <c:v>1.411</c:v>
                </c:pt>
                <c:pt idx="1">
                  <c:v>0.59699999999999998</c:v>
                </c:pt>
                <c:pt idx="2">
                  <c:v>0.51300000000000001</c:v>
                </c:pt>
                <c:pt idx="3">
                  <c:v>0.90300000000000002</c:v>
                </c:pt>
                <c:pt idx="4">
                  <c:v>0.55300000000000005</c:v>
                </c:pt>
                <c:pt idx="5">
                  <c:v>0.68100000000000005</c:v>
                </c:pt>
                <c:pt idx="6">
                  <c:v>0.76900000000000002</c:v>
                </c:pt>
                <c:pt idx="7">
                  <c:v>1.0760000000000001</c:v>
                </c:pt>
              </c:numCache>
            </c:numRef>
          </c:yVal>
          <c:bubbleSize>
            <c:numRef>
              <c:f>Sheet1!$C$2:$C$9</c:f>
              <c:numCache>
                <c:formatCode>General</c:formatCode>
                <c:ptCount val="8"/>
                <c:pt idx="0">
                  <c:v>763497</c:v>
                </c:pt>
                <c:pt idx="1">
                  <c:v>108419</c:v>
                </c:pt>
                <c:pt idx="2">
                  <c:v>84390</c:v>
                </c:pt>
                <c:pt idx="3">
                  <c:v>56944</c:v>
                </c:pt>
                <c:pt idx="4">
                  <c:v>47935</c:v>
                </c:pt>
                <c:pt idx="5">
                  <c:v>45954</c:v>
                </c:pt>
                <c:pt idx="6">
                  <c:v>30848</c:v>
                </c:pt>
                <c:pt idx="7">
                  <c:v>3001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De Bligny</c:v>
                  </c:pt>
                  <c:pt idx="5">
                    <c:v>Henriot</c:v>
                  </c:pt>
                  <c:pt idx="6">
                    <c:v>Delamott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3557D57-C492-4B7A-B55C-FF2C7D5B0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3549730-8882-4585-93D8-2A769753AF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CC70F02-EAA8-4F6D-89EE-CE9C20E713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4CC51C7-D1E4-4729-A275-3A005F4AD7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3B3C8D2-F7E8-4884-94BF-280188FA46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38768ED-E660-4415-B4F5-B721900962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B09F475-F45F-43CB-BEBB-0200789D20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75A17E5-3D74-4687-B353-C6D2E1F055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0999999999996</c:v>
                </c:pt>
                <c:pt idx="1">
                  <c:v>4.2683</c:v>
                </c:pt>
                <c:pt idx="2">
                  <c:v>5.8516000000000004</c:v>
                </c:pt>
                <c:pt idx="3">
                  <c:v>7.1054000000000004</c:v>
                </c:pt>
                <c:pt idx="4">
                  <c:v>6.9976000000000003</c:v>
                </c:pt>
                <c:pt idx="5">
                  <c:v>6.3528000000000002</c:v>
                </c:pt>
                <c:pt idx="6">
                  <c:v>4.9625000000000004</c:v>
                </c:pt>
                <c:pt idx="7">
                  <c:v>7.1954000000000002</c:v>
                </c:pt>
              </c:numCache>
            </c:numRef>
          </c:xVal>
          <c:yVal>
            <c:numRef>
              <c:f>Sheet1!$B$2:$B$9</c:f>
              <c:numCache>
                <c:formatCode>General</c:formatCode>
                <c:ptCount val="8"/>
                <c:pt idx="0">
                  <c:v>1.129</c:v>
                </c:pt>
                <c:pt idx="1">
                  <c:v>0.38600000000000001</c:v>
                </c:pt>
                <c:pt idx="2">
                  <c:v>1.2929999999999999</c:v>
                </c:pt>
                <c:pt idx="3">
                  <c:v>1.3169999999999999</c:v>
                </c:pt>
                <c:pt idx="4">
                  <c:v>1.863</c:v>
                </c:pt>
                <c:pt idx="5">
                  <c:v>1.575</c:v>
                </c:pt>
                <c:pt idx="6">
                  <c:v>0.44600000000000001</c:v>
                </c:pt>
                <c:pt idx="7">
                  <c:v>1.4530000000000001</c:v>
                </c:pt>
              </c:numCache>
            </c:numRef>
          </c:yVal>
          <c:bubbleSize>
            <c:numRef>
              <c:f>Sheet1!$C$2:$C$9</c:f>
              <c:numCache>
                <c:formatCode>General</c:formatCode>
                <c:ptCount val="8"/>
                <c:pt idx="0">
                  <c:v>132987950</c:v>
                </c:pt>
                <c:pt idx="1">
                  <c:v>39552397</c:v>
                </c:pt>
                <c:pt idx="2">
                  <c:v>33996423</c:v>
                </c:pt>
                <c:pt idx="3">
                  <c:v>32603771</c:v>
                </c:pt>
                <c:pt idx="4">
                  <c:v>26217786</c:v>
                </c:pt>
                <c:pt idx="5">
                  <c:v>21162718</c:v>
                </c:pt>
                <c:pt idx="6">
                  <c:v>19453979</c:v>
                </c:pt>
                <c:pt idx="7">
                  <c:v>17071028</c:v>
                </c:pt>
              </c:numCache>
            </c:numRef>
          </c:bubbleSize>
          <c:bubble3D val="0"/>
          <c:extLst>
            <c:ext xmlns:c15="http://schemas.microsoft.com/office/drawing/2012/chart" uri="{02D57815-91ED-43cb-92C2-25804820EDAC}">
              <c15:datalabelsRange>
                <c15:f>Sheet1!$E$2:$E$10</c15:f>
                <c15:dlblRangeCache>
                  <c:ptCount val="9"/>
                  <c:pt idx="0">
                    <c:v>Mdd</c:v>
                  </c:pt>
                  <c:pt idx="1">
                    <c:v>Charles Volner</c:v>
                  </c:pt>
                  <c:pt idx="2">
                    <c:v>Freixenet</c:v>
                  </c:pt>
                  <c:pt idx="3">
                    <c:v>Wolfberger</c:v>
                  </c:pt>
                  <c:pt idx="4">
                    <c:v>Riccadonna</c:v>
                  </c:pt>
                  <c:pt idx="5">
                    <c:v>Vilaveroni</c:v>
                  </c:pt>
                  <c:pt idx="6">
                    <c:v>Kriter</c:v>
                  </c:pt>
                  <c:pt idx="7">
                    <c:v>Arthur Metz</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9DB5025-EE62-4EB1-84C8-CB8862752C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9B731C9-C70D-4BB9-8994-780387DFD5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D435414-1568-480E-8058-7C8A322D67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10C1D7D-E17B-4D84-833B-037D801397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95D7BF6-8CB7-44E8-873B-5D473D96EC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C9E5FC4-9577-4685-AB97-D3A9AB5173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454B440-72D0-45B0-9396-7C48FF2359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1A856B4-A217-4E72-B454-8A4889894B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8733</c:v>
                </c:pt>
                <c:pt idx="1">
                  <c:v>22.2439</c:v>
                </c:pt>
                <c:pt idx="2">
                  <c:v>49.049300000000002</c:v>
                </c:pt>
                <c:pt idx="3">
                  <c:v>49.148099999999999</c:v>
                </c:pt>
                <c:pt idx="4">
                  <c:v>29.232500000000002</c:v>
                </c:pt>
                <c:pt idx="5">
                  <c:v>30.978899999999999</c:v>
                </c:pt>
                <c:pt idx="6">
                  <c:v>37.4146</c:v>
                </c:pt>
                <c:pt idx="7">
                  <c:v>30.294499999999999</c:v>
                </c:pt>
              </c:numCache>
            </c:numRef>
          </c:xVal>
          <c:yVal>
            <c:numRef>
              <c:f>Sheet1!$B$2:$B$9</c:f>
              <c:numCache>
                <c:formatCode>General</c:formatCode>
                <c:ptCount val="8"/>
                <c:pt idx="0">
                  <c:v>1.4530000000000001</c:v>
                </c:pt>
                <c:pt idx="1">
                  <c:v>0.57399999999999995</c:v>
                </c:pt>
                <c:pt idx="2">
                  <c:v>1.208</c:v>
                </c:pt>
                <c:pt idx="3">
                  <c:v>1.115</c:v>
                </c:pt>
                <c:pt idx="4">
                  <c:v>0.75600000000000001</c:v>
                </c:pt>
                <c:pt idx="5">
                  <c:v>0.82499999999999996</c:v>
                </c:pt>
                <c:pt idx="6">
                  <c:v>0.96799999999999997</c:v>
                </c:pt>
                <c:pt idx="7">
                  <c:v>0.78300000000000003</c:v>
                </c:pt>
              </c:numCache>
            </c:numRef>
          </c:yVal>
          <c:bubbleSize>
            <c:numRef>
              <c:f>Sheet1!$C$2:$C$9</c:f>
              <c:numCache>
                <c:formatCode>General</c:formatCode>
                <c:ptCount val="8"/>
                <c:pt idx="0">
                  <c:v>1440828</c:v>
                </c:pt>
                <c:pt idx="1">
                  <c:v>843512</c:v>
                </c:pt>
                <c:pt idx="2">
                  <c:v>699492</c:v>
                </c:pt>
                <c:pt idx="3">
                  <c:v>368021</c:v>
                </c:pt>
                <c:pt idx="4">
                  <c:v>367569</c:v>
                </c:pt>
                <c:pt idx="5">
                  <c:v>320291</c:v>
                </c:pt>
                <c:pt idx="6">
                  <c:v>307024</c:v>
                </c:pt>
                <c:pt idx="7">
                  <c:v>3027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Canard Duchêne</c:v>
                  </c:pt>
                  <c:pt idx="6">
                    <c:v>Ayala</c:v>
                  </c:pt>
                  <c:pt idx="7">
                    <c:v>De Blign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B06857B-3119-4D24-A6FB-33CA5A2FF2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9BD935E-9429-4D7D-B5B1-53C1008FAC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754F9A9-888C-4EEA-A187-F5C68D3C49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4143E969-6447-4A80-BB39-AB8601849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CDE027A-2E07-4B78-8278-668E6A4F4A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89A395F-DD25-41B1-80D1-EC225FAE95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5100ADE-098C-491D-9E81-21B4B35A1B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524C51A3-6E8A-4FD7-BC4B-6D7AF15B20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89</c:v>
                </c:pt>
                <c:pt idx="1">
                  <c:v>30.450399999999998</c:v>
                </c:pt>
                <c:pt idx="2">
                  <c:v>31.941800000000001</c:v>
                </c:pt>
                <c:pt idx="3">
                  <c:v>34.472900000000003</c:v>
                </c:pt>
              </c:numCache>
            </c:numRef>
          </c:xVal>
          <c:yVal>
            <c:numRef>
              <c:f>Sheet1!$B$2:$B$5</c:f>
              <c:numCache>
                <c:formatCode>General</c:formatCode>
                <c:ptCount val="4"/>
                <c:pt idx="0">
                  <c:v>0.98599999999999999</c:v>
                </c:pt>
                <c:pt idx="1">
                  <c:v>1.016</c:v>
                </c:pt>
                <c:pt idx="2">
                  <c:v>1.0640000000000001</c:v>
                </c:pt>
                <c:pt idx="3">
                  <c:v>1.06</c:v>
                </c:pt>
              </c:numCache>
            </c:numRef>
          </c:yVal>
          <c:bubbleSize>
            <c:numRef>
              <c:f>Sheet1!$C$2:$C$5</c:f>
              <c:numCache>
                <c:formatCode>General</c:formatCode>
                <c:ptCount val="4"/>
                <c:pt idx="0">
                  <c:v>354983</c:v>
                </c:pt>
                <c:pt idx="1">
                  <c:v>90468</c:v>
                </c:pt>
                <c:pt idx="2">
                  <c:v>40598</c:v>
                </c:pt>
                <c:pt idx="3">
                  <c:v>19684</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FAE5358-CBB8-46B8-8CF6-37FF49277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C6B64C36-AD55-4094-B3F7-4D999870DC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ABC77B1-1A27-423D-ACFE-812C58D7B7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26614311-2354-4F6D-B743-0774288495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E0394A3-1905-4887-9322-0CD73C77BD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D6F74DC7-5408-4086-9054-63F528D2F8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06AF8094-033E-4CA4-99DB-16C68FF1BA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C67A8FB9-FBF6-4FF8-A657-CB1A732B1A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998</c:v>
                </c:pt>
                <c:pt idx="1">
                  <c:v>43.330100000000002</c:v>
                </c:pt>
                <c:pt idx="2">
                  <c:v>39.1479</c:v>
                </c:pt>
              </c:numCache>
            </c:numRef>
          </c:xVal>
          <c:yVal>
            <c:numRef>
              <c:f>Sheet1!$B$2:$B$4</c:f>
              <c:numCache>
                <c:formatCode>General</c:formatCode>
                <c:ptCount val="3"/>
                <c:pt idx="0">
                  <c:v>0.94699999999999995</c:v>
                </c:pt>
                <c:pt idx="1">
                  <c:v>1.302</c:v>
                </c:pt>
                <c:pt idx="2">
                  <c:v>1.1080000000000001</c:v>
                </c:pt>
              </c:numCache>
            </c:numRef>
          </c:yVal>
          <c:bubbleSize>
            <c:numRef>
              <c:f>Sheet1!$C$2:$C$4</c:f>
              <c:numCache>
                <c:formatCode>General</c:formatCode>
                <c:ptCount val="3"/>
                <c:pt idx="0">
                  <c:v>274206</c:v>
                </c:pt>
                <c:pt idx="1">
                  <c:v>61962</c:v>
                </c:pt>
                <c:pt idx="2">
                  <c:v>5559</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B4C6DF-DB8F-42FD-B290-D39904B204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7C9433-0F5E-4088-A19E-F9B5DDB6AC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6519CD-0D33-4D6A-965E-8CDC985BCF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B60D0C-5DC3-48C2-ADE5-2FBAA40F2E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3983FE-1B96-44C4-B730-0886ADAA2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BD5DA6-7E49-4864-8474-6E71D3469E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2FCEF6-D07B-4791-96E8-AE5A761D73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8B209E-572E-40F6-A111-073D86262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78809999999999</c:v>
                </c:pt>
                <c:pt idx="1">
                  <c:v>155.79660000000001</c:v>
                </c:pt>
                <c:pt idx="2">
                  <c:v>37.944800000000001</c:v>
                </c:pt>
                <c:pt idx="3">
                  <c:v>93.186499999999995</c:v>
                </c:pt>
                <c:pt idx="4">
                  <c:v>66.116100000000003</c:v>
                </c:pt>
                <c:pt idx="5">
                  <c:v>242.03229999999999</c:v>
                </c:pt>
                <c:pt idx="6">
                  <c:v>241.36840000000001</c:v>
                </c:pt>
                <c:pt idx="7">
                  <c:v>255.86670000000001</c:v>
                </c:pt>
              </c:numCache>
            </c:numRef>
          </c:xVal>
          <c:yVal>
            <c:numRef>
              <c:f>Sheet1!$B$2:$B$9</c:f>
              <c:numCache>
                <c:formatCode>General</c:formatCode>
                <c:ptCount val="8"/>
                <c:pt idx="0">
                  <c:v>2.42</c:v>
                </c:pt>
                <c:pt idx="1">
                  <c:v>1.2869999999999999</c:v>
                </c:pt>
                <c:pt idx="2">
                  <c:v>0.35899999999999999</c:v>
                </c:pt>
                <c:pt idx="3">
                  <c:v>0.82199999999999995</c:v>
                </c:pt>
                <c:pt idx="4">
                  <c:v>0.58199999999999996</c:v>
                </c:pt>
                <c:pt idx="5">
                  <c:v>1.9179999999999999</c:v>
                </c:pt>
                <c:pt idx="6">
                  <c:v>1.8240000000000001</c:v>
                </c:pt>
                <c:pt idx="7">
                  <c:v>1.8320000000000001</c:v>
                </c:pt>
              </c:numCache>
            </c:numRef>
          </c:yVal>
          <c:bubbleSize>
            <c:numRef>
              <c:f>Sheet1!$C$2:$C$9</c:f>
              <c:numCache>
                <c:formatCode>General</c:formatCode>
                <c:ptCount val="8"/>
                <c:pt idx="0">
                  <c:v>124036</c:v>
                </c:pt>
                <c:pt idx="1">
                  <c:v>64344</c:v>
                </c:pt>
                <c:pt idx="2">
                  <c:v>45344</c:v>
                </c:pt>
                <c:pt idx="3">
                  <c:v>41468</c:v>
                </c:pt>
                <c:pt idx="4">
                  <c:v>10248</c:v>
                </c:pt>
                <c:pt idx="5">
                  <c:v>7503</c:v>
                </c:pt>
                <c:pt idx="6">
                  <c:v>4586</c:v>
                </c:pt>
                <c:pt idx="7">
                  <c:v>383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Malard</c:v>
                  </c:pt>
                  <c:pt idx="3">
                    <c:v>Ruinart</c:v>
                  </c:pt>
                  <c:pt idx="4">
                    <c:v>Laurent Perrier</c:v>
                  </c:pt>
                  <c:pt idx="5">
                    <c:v>Bollinger</c:v>
                  </c:pt>
                  <c:pt idx="6">
                    <c:v>Piper Heidsieck</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F3304FE-8637-4DD9-90DD-E4C0959E33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811EF12-8181-417D-BCDA-F4BAB91606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8A844AE-59F7-4AA5-B817-12E7EE39E7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3A227AA-4DF7-4A22-B652-57948C7613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FE96470-3B9D-4731-9C68-FBF580BBC8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C6D97AB-0E91-44F7-ADC9-A3AFE17D00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082C74E-4F05-464F-AFBB-47397A0BDE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1ECC64E-0CC4-42F4-B688-3DB12E8092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27299999999994</c:v>
                </c:pt>
                <c:pt idx="1">
                  <c:v>53.070300000000003</c:v>
                </c:pt>
                <c:pt idx="2">
                  <c:v>26.328800000000001</c:v>
                </c:pt>
                <c:pt idx="3">
                  <c:v>37.6845</c:v>
                </c:pt>
                <c:pt idx="4">
                  <c:v>81.751900000000006</c:v>
                </c:pt>
                <c:pt idx="5">
                  <c:v>37.932200000000002</c:v>
                </c:pt>
                <c:pt idx="6">
                  <c:v>36.190100000000001</c:v>
                </c:pt>
                <c:pt idx="7">
                  <c:v>41.236199999999997</c:v>
                </c:pt>
              </c:numCache>
            </c:numRef>
          </c:xVal>
          <c:yVal>
            <c:numRef>
              <c:f>Sheet1!$B$2:$B$9</c:f>
              <c:numCache>
                <c:formatCode>General</c:formatCode>
                <c:ptCount val="8"/>
                <c:pt idx="0">
                  <c:v>1.7669999999999999</c:v>
                </c:pt>
                <c:pt idx="1">
                  <c:v>1.131</c:v>
                </c:pt>
                <c:pt idx="2">
                  <c:v>0.53800000000000003</c:v>
                </c:pt>
                <c:pt idx="3">
                  <c:v>0.71899999999999997</c:v>
                </c:pt>
                <c:pt idx="4">
                  <c:v>1.554</c:v>
                </c:pt>
                <c:pt idx="5">
                  <c:v>0.72399999999999998</c:v>
                </c:pt>
                <c:pt idx="6">
                  <c:v>0.69599999999999995</c:v>
                </c:pt>
                <c:pt idx="7">
                  <c:v>0.93200000000000005</c:v>
                </c:pt>
              </c:numCache>
            </c:numRef>
          </c:yVal>
          <c:bubbleSize>
            <c:numRef>
              <c:f>Sheet1!$C$2:$C$9</c:f>
              <c:numCache>
                <c:formatCode>General</c:formatCode>
                <c:ptCount val="8"/>
                <c:pt idx="0">
                  <c:v>206491</c:v>
                </c:pt>
                <c:pt idx="1">
                  <c:v>87619</c:v>
                </c:pt>
                <c:pt idx="2">
                  <c:v>75116</c:v>
                </c:pt>
                <c:pt idx="3">
                  <c:v>68925</c:v>
                </c:pt>
                <c:pt idx="4">
                  <c:v>53384</c:v>
                </c:pt>
                <c:pt idx="5">
                  <c:v>36946</c:v>
                </c:pt>
                <c:pt idx="6">
                  <c:v>32933</c:v>
                </c:pt>
                <c:pt idx="7">
                  <c:v>31422</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Nicolas Feuillatte</c:v>
                  </c:pt>
                  <c:pt idx="6">
                    <c:v>Malard</c:v>
                  </c:pt>
                  <c:pt idx="7">
                    <c:v>Besserat De Bellefon</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967D059-C353-4F43-B8A3-D80BE115A8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FE0592E2-F3B1-412B-959C-ACEEBEB3A5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3887120-1570-4035-AD71-77EAA2E756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A72F45C-2DD9-465A-8181-4EE99D465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2A279814-BADD-4DD3-B249-00D2C39AA0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6F2F798-2DB3-4BF6-BA35-34C860E631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65FE1A9-2240-4B2A-82AD-AB7E0853E9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0E1500C-6567-4E02-9351-0585149309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788</c:v>
                </c:pt>
              </c:numCache>
            </c:numRef>
          </c:xVal>
          <c:yVal>
            <c:numRef>
              <c:f>Sheet1!$B$2:$B$2</c:f>
              <c:numCache>
                <c:formatCode>General</c:formatCode>
                <c:ptCount val="1"/>
                <c:pt idx="0">
                  <c:v>0.997</c:v>
                </c:pt>
              </c:numCache>
            </c:numRef>
          </c:yVal>
          <c:bubbleSize>
            <c:numRef>
              <c:f>Sheet1!$C$2:$C$2</c:f>
              <c:numCache>
                <c:formatCode>General</c:formatCode>
                <c:ptCount val="1"/>
                <c:pt idx="0">
                  <c:v>98192</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379F99CF-E992-44F2-BB08-94A433481C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FC0E41F-6E64-48A0-B19C-BEBE20DC49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EDC9022C-A42A-4241-827E-972A37982A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6243AEF7-3E91-4D35-BE2A-EE0FF12FA7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F571EA30-2C6E-44AB-8529-AC7FF233B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EB85AABA-82E8-4B5C-930F-15D13908A4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557C1057-C7D3-4DC4-957E-A45C1E8788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F8A4798C-6211-4242-96C5-5ED040B45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5068</c:v>
                </c:pt>
                <c:pt idx="1">
                  <c:v>9.1301000000000005</c:v>
                </c:pt>
                <c:pt idx="2">
                  <c:v>11.2819</c:v>
                </c:pt>
              </c:numCache>
            </c:numRef>
          </c:xVal>
          <c:yVal>
            <c:numRef>
              <c:f>Sheet1!$B$2:$B$4</c:f>
              <c:numCache>
                <c:formatCode>General</c:formatCode>
                <c:ptCount val="3"/>
                <c:pt idx="0">
                  <c:v>1.3009999999999999</c:v>
                </c:pt>
                <c:pt idx="1">
                  <c:v>1.0329999999999999</c:v>
                </c:pt>
                <c:pt idx="2">
                  <c:v>1.095</c:v>
                </c:pt>
              </c:numCache>
            </c:numRef>
          </c:yVal>
          <c:bubbleSize>
            <c:numRef>
              <c:f>Sheet1!$C$2:$C$4</c:f>
              <c:numCache>
                <c:formatCode>General</c:formatCode>
                <c:ptCount val="3"/>
                <c:pt idx="0">
                  <c:v>77326</c:v>
                </c:pt>
                <c:pt idx="1">
                  <c:v>44555</c:v>
                </c:pt>
                <c:pt idx="2">
                  <c:v>22609</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B967BA-38FA-42E6-8A21-B18E095236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B00AA9-1A48-4EB0-A681-76E1F2109C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D27E2C-E5D9-4F85-B037-E2C10E312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C412CDB-C66E-4321-B58E-E5393F5D2B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1A68CD8-901F-4A11-984F-1BCC8DC2B5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7BEB6BC-6C49-428C-9279-0A677A8E7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7827B2F-E321-410B-AC51-63DB253F03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2B23BCE-A1F8-4062-949E-BD1D321C51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56400000000001</c:v>
                </c:pt>
                <c:pt idx="1">
                  <c:v>11.451599999999999</c:v>
                </c:pt>
                <c:pt idx="2">
                  <c:v>13.463800000000001</c:v>
                </c:pt>
              </c:numCache>
            </c:numRef>
          </c:xVal>
          <c:yVal>
            <c:numRef>
              <c:f>Sheet1!$B$2:$B$4</c:f>
              <c:numCache>
                <c:formatCode>General</c:formatCode>
                <c:ptCount val="3"/>
                <c:pt idx="0">
                  <c:v>0.98299999999999998</c:v>
                </c:pt>
                <c:pt idx="1">
                  <c:v>1.0129999999999999</c:v>
                </c:pt>
                <c:pt idx="2">
                  <c:v>1.1910000000000001</c:v>
                </c:pt>
              </c:numCache>
            </c:numRef>
          </c:yVal>
          <c:bubbleSize>
            <c:numRef>
              <c:f>Sheet1!$C$2:$C$4</c:f>
              <c:numCache>
                <c:formatCode>General</c:formatCode>
                <c:ptCount val="3"/>
                <c:pt idx="0">
                  <c:v>60420</c:v>
                </c:pt>
                <c:pt idx="1">
                  <c:v>50536</c:v>
                </c:pt>
                <c:pt idx="2">
                  <c:v>27143</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A21AE00-436F-470B-BD85-4FE132D52D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6AFCAF62-68AE-4DA9-AEB3-630F58A21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C7F0D961-ADB1-4033-8DDA-6713F7FE6A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6D3E118D-2C80-442D-9DD7-3A61D75B47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AECBE94F-E0F8-48BB-8247-994502100E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0B827B3B-CD27-4A42-AD49-EEF17F7B7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A1277689-BFDB-4739-BF52-2053BE7B42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E88EEF2D-100A-4695-A96E-012F10157A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286000000000001</c:v>
                </c:pt>
              </c:numCache>
            </c:numRef>
          </c:xVal>
          <c:yVal>
            <c:numRef>
              <c:f>Sheet1!$B$2:$B$2</c:f>
              <c:numCache>
                <c:formatCode>General</c:formatCode>
                <c:ptCount val="1"/>
                <c:pt idx="0">
                  <c:v>1.224</c:v>
                </c:pt>
              </c:numCache>
            </c:numRef>
          </c:yVal>
          <c:bubbleSize>
            <c:numRef>
              <c:f>Sheet1!$C$2:$C$2</c:f>
              <c:numCache>
                <c:formatCode>General</c:formatCode>
                <c:ptCount val="1"/>
                <c:pt idx="0">
                  <c:v>8117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8786220-CFC6-469B-8621-F871F69752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C3B2680-D987-495A-9495-997AE113B6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FF93424-4BEB-460A-B590-A2586BFE73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CC06AE1F-750B-4726-A84B-8A77A92EE2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F6E3544-F998-4497-B1C3-53188970E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F8C1679-6F8B-4ECB-8620-6E31E05330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D05EA970-8C3E-4948-980E-9B411FD6D0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556F3B1-C37D-4411-9DB7-8F43E2B77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89099999999999</c:v>
                </c:pt>
                <c:pt idx="1">
                  <c:v>9.4672999999999998</c:v>
                </c:pt>
              </c:numCache>
            </c:numRef>
          </c:xVal>
          <c:yVal>
            <c:numRef>
              <c:f>Sheet1!$B$2:$B$3</c:f>
              <c:numCache>
                <c:formatCode>General</c:formatCode>
                <c:ptCount val="2"/>
                <c:pt idx="0">
                  <c:v>1.0269999999999999</c:v>
                </c:pt>
                <c:pt idx="1">
                  <c:v>0.90300000000000002</c:v>
                </c:pt>
              </c:numCache>
            </c:numRef>
          </c:yVal>
          <c:bubbleSize>
            <c:numRef>
              <c:f>Sheet1!$C$2:$C$3</c:f>
              <c:numCache>
                <c:formatCode>General</c:formatCode>
                <c:ptCount val="2"/>
                <c:pt idx="0">
                  <c:v>10998</c:v>
                </c:pt>
                <c:pt idx="1">
                  <c:v>4194</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2382BFE-F86C-452F-A3F3-C7F3340599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52CA9D5-B461-49F7-86A1-A7741DDB1C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8A8EF0BD-522A-4DDB-B801-CD9D08B5B3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0C341C63-7BCB-4526-BDF2-F3D4A3D734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CF02D5D-7565-43AE-942C-327BC83588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96241E1-2705-4115-8873-08CB8A516A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250F6F5-BBDA-47FC-8FFD-F22A8962CB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8EEF803-DD89-4C4A-84C0-6E58E9DAF7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872999999999999</c:v>
                </c:pt>
                <c:pt idx="1">
                  <c:v>3.6678000000000002</c:v>
                </c:pt>
                <c:pt idx="2">
                  <c:v>3.9388000000000001</c:v>
                </c:pt>
                <c:pt idx="3">
                  <c:v>2.9659</c:v>
                </c:pt>
                <c:pt idx="4">
                  <c:v>5.45</c:v>
                </c:pt>
                <c:pt idx="5">
                  <c:v>7.4157999999999999</c:v>
                </c:pt>
              </c:numCache>
            </c:numRef>
          </c:xVal>
          <c:yVal>
            <c:numRef>
              <c:f>Sheet1!$B$2:$B$7</c:f>
              <c:numCache>
                <c:formatCode>General</c:formatCode>
                <c:ptCount val="6"/>
                <c:pt idx="0">
                  <c:v>0.95199999999999996</c:v>
                </c:pt>
                <c:pt idx="1">
                  <c:v>0.97199999999999998</c:v>
                </c:pt>
                <c:pt idx="2">
                  <c:v>1.032</c:v>
                </c:pt>
                <c:pt idx="3">
                  <c:v>0.78700000000000003</c:v>
                </c:pt>
                <c:pt idx="4">
                  <c:v>1.446</c:v>
                </c:pt>
                <c:pt idx="5">
                  <c:v>1.9490000000000001</c:v>
                </c:pt>
              </c:numCache>
            </c:numRef>
          </c:yVal>
          <c:bubbleSize>
            <c:numRef>
              <c:f>Sheet1!$C$2:$C$7</c:f>
              <c:numCache>
                <c:formatCode>General</c:formatCode>
                <c:ptCount val="6"/>
                <c:pt idx="0">
                  <c:v>8393288</c:v>
                </c:pt>
                <c:pt idx="1">
                  <c:v>5214126</c:v>
                </c:pt>
                <c:pt idx="2">
                  <c:v>4064943</c:v>
                </c:pt>
                <c:pt idx="3">
                  <c:v>2391008</c:v>
                </c:pt>
                <c:pt idx="4">
                  <c:v>1430636</c:v>
                </c:pt>
                <c:pt idx="5">
                  <c:v>436974</c:v>
                </c:pt>
              </c:numCache>
            </c:numRef>
          </c:bubbleSize>
          <c:bubble3D val="0"/>
          <c:extLst>
            <c:ext xmlns:c15="http://schemas.microsoft.com/office/drawing/2012/chart" uri="{02D57815-91ED-43cb-92C2-25804820EDAC}">
              <c15:datalabelsRange>
                <c15:f>Sheet1!$E$2:$E$10</c15:f>
                <c15:dlblRangeCache>
                  <c:ptCount val="9"/>
                  <c:pt idx="0">
                    <c:v>D'Artigny</c:v>
                  </c:pt>
                  <c:pt idx="1">
                    <c:v>Festillant</c:v>
                  </c:pt>
                  <c:pt idx="2">
                    <c:v>Petillant De Listel</c:v>
                  </c:pt>
                  <c:pt idx="3">
                    <c:v>Mdd</c:v>
                  </c:pt>
                  <c:pt idx="4">
                    <c:v>Freixenet</c:v>
                  </c:pt>
                  <c:pt idx="5">
                    <c:v>Ackerma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9B0667-0F4B-42C3-8BCE-387BB34B87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590F50-E789-4D36-BE8C-DCD55C1FE1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9AB00C-01C8-4A41-AEEF-CD22C91253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590161-3B26-4717-B1B8-FB666325C0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682AE1-FCBF-4943-8C2B-EC36C74E0C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44F31A-DA1B-4518-817B-FE01B9AEE1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889478-A96A-48B3-9F5D-2875E2D1B1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D63415-8692-43E5-BEC7-BD20E40912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177999999999997</c:v>
                </c:pt>
                <c:pt idx="1">
                  <c:v>25.1111</c:v>
                </c:pt>
                <c:pt idx="2">
                  <c:v>31.078399999999998</c:v>
                </c:pt>
                <c:pt idx="3">
                  <c:v>4.2683</c:v>
                </c:pt>
                <c:pt idx="4">
                  <c:v>26.736799999999999</c:v>
                </c:pt>
                <c:pt idx="5">
                  <c:v>5.8342000000000001</c:v>
                </c:pt>
                <c:pt idx="6">
                  <c:v>7.1054000000000004</c:v>
                </c:pt>
                <c:pt idx="7">
                  <c:v>23.585599999999999</c:v>
                </c:pt>
              </c:numCache>
            </c:numRef>
          </c:xVal>
          <c:yVal>
            <c:numRef>
              <c:f>Sheet1!$B$2:$B$9</c:f>
              <c:numCache>
                <c:formatCode>General</c:formatCode>
                <c:ptCount val="8"/>
                <c:pt idx="0">
                  <c:v>0.67100000000000004</c:v>
                </c:pt>
                <c:pt idx="1">
                  <c:v>3.4510000000000001</c:v>
                </c:pt>
                <c:pt idx="2">
                  <c:v>4.673</c:v>
                </c:pt>
                <c:pt idx="3">
                  <c:v>0.23100000000000001</c:v>
                </c:pt>
                <c:pt idx="4">
                  <c:v>4.0090000000000003</c:v>
                </c:pt>
                <c:pt idx="5">
                  <c:v>0.77700000000000002</c:v>
                </c:pt>
                <c:pt idx="6">
                  <c:v>0.78900000000000003</c:v>
                </c:pt>
                <c:pt idx="7">
                  <c:v>3.7269999999999999</c:v>
                </c:pt>
              </c:numCache>
            </c:numRef>
          </c:yVal>
          <c:bubbleSize>
            <c:numRef>
              <c:f>Sheet1!$C$2:$C$9</c:f>
              <c:numCache>
                <c:formatCode>General</c:formatCode>
                <c:ptCount val="8"/>
                <c:pt idx="0">
                  <c:v>135378958</c:v>
                </c:pt>
                <c:pt idx="1">
                  <c:v>83416559</c:v>
                </c:pt>
                <c:pt idx="2">
                  <c:v>40272903</c:v>
                </c:pt>
                <c:pt idx="3">
                  <c:v>39552397</c:v>
                </c:pt>
                <c:pt idx="4">
                  <c:v>38917245</c:v>
                </c:pt>
                <c:pt idx="5">
                  <c:v>35427059</c:v>
                </c:pt>
                <c:pt idx="6">
                  <c:v>32603771</c:v>
                </c:pt>
                <c:pt idx="7">
                  <c:v>5693651</c:v>
                </c:pt>
              </c:numCache>
            </c:numRef>
          </c:bubbleSize>
          <c:bubble3D val="0"/>
          <c:extLst>
            <c:ext xmlns:c15="http://schemas.microsoft.com/office/drawing/2012/chart" uri="{02D57815-91ED-43cb-92C2-25804820EDAC}">
              <c15:datalabelsRange>
                <c15:f>Sheet1!$E$2:$E$10</c15:f>
                <c15:dlblRangeCache>
                  <c:ptCount val="9"/>
                  <c:pt idx="0">
                    <c:v>Mdd</c:v>
                  </c:pt>
                  <c:pt idx="1">
                    <c:v>Nicolas Feuillatte</c:v>
                  </c:pt>
                  <c:pt idx="2">
                    <c:v>Mumm</c:v>
                  </c:pt>
                  <c:pt idx="3">
                    <c:v>Charles Volner</c:v>
                  </c:pt>
                  <c:pt idx="4">
                    <c:v>Canard Duchêne</c:v>
                  </c:pt>
                  <c:pt idx="5">
                    <c:v>Freixenet</c:v>
                  </c:pt>
                  <c:pt idx="6">
                    <c:v>Wolfberger</c:v>
                  </c:pt>
                  <c:pt idx="7">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4.873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349515-EE6C-46CB-A7D7-1F81664657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4593B8-C13A-4F65-85C8-E7BB579F4F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5AFACF-E990-4947-ACEF-0E9082FB2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34CD347-BB33-42DF-A2EE-7ED628688C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DC8312-0631-48F0-90F7-E4E65373F5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77FDC2-E05B-43DF-BA58-0756233C0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D52B41-CF2E-42ED-AAB8-037F1B39B0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DBBFEB-C8C8-4320-BC0C-84252E57A9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43</c:v>
                </c:pt>
                <c:pt idx="1">
                  <c:v>23.652999999999999</c:v>
                </c:pt>
                <c:pt idx="2">
                  <c:v>49.904499999999999</c:v>
                </c:pt>
                <c:pt idx="3">
                  <c:v>52.704900000000002</c:v>
                </c:pt>
                <c:pt idx="4">
                  <c:v>31.571200000000001</c:v>
                </c:pt>
                <c:pt idx="5">
                  <c:v>32.979300000000002</c:v>
                </c:pt>
                <c:pt idx="6">
                  <c:v>29.282399999999999</c:v>
                </c:pt>
                <c:pt idx="7">
                  <c:v>78.368899999999996</c:v>
                </c:pt>
              </c:numCache>
            </c:numRef>
          </c:xVal>
          <c:yVal>
            <c:numRef>
              <c:f>Sheet1!$B$2:$B$9</c:f>
              <c:numCache>
                <c:formatCode>General</c:formatCode>
                <c:ptCount val="8"/>
                <c:pt idx="0">
                  <c:v>1.9390000000000001</c:v>
                </c:pt>
                <c:pt idx="1">
                  <c:v>0.66600000000000004</c:v>
                </c:pt>
                <c:pt idx="2">
                  <c:v>1.3720000000000001</c:v>
                </c:pt>
                <c:pt idx="3">
                  <c:v>1.3240000000000001</c:v>
                </c:pt>
                <c:pt idx="4">
                  <c:v>0.88600000000000001</c:v>
                </c:pt>
                <c:pt idx="5">
                  <c:v>0.90400000000000003</c:v>
                </c:pt>
                <c:pt idx="6">
                  <c:v>0.82299999999999995</c:v>
                </c:pt>
                <c:pt idx="7">
                  <c:v>2.1869999999999998</c:v>
                </c:pt>
              </c:numCache>
            </c:numRef>
          </c:yVal>
          <c:bubbleSize>
            <c:numRef>
              <c:f>Sheet1!$C$2:$C$9</c:f>
              <c:numCache>
                <c:formatCode>General</c:formatCode>
                <c:ptCount val="8"/>
                <c:pt idx="0">
                  <c:v>15694034</c:v>
                </c:pt>
                <c:pt idx="1">
                  <c:v>5705587</c:v>
                </c:pt>
                <c:pt idx="2">
                  <c:v>4988401</c:v>
                </c:pt>
                <c:pt idx="3">
                  <c:v>3290262</c:v>
                </c:pt>
                <c:pt idx="4">
                  <c:v>3234970</c:v>
                </c:pt>
                <c:pt idx="5">
                  <c:v>2270261</c:v>
                </c:pt>
                <c:pt idx="6">
                  <c:v>2092464</c:v>
                </c:pt>
                <c:pt idx="7">
                  <c:v>205028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8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1A7A64-E6C8-40BE-8630-3455F13C06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B158A1-0A4B-45F6-9EE2-DB30951CD7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A03BDC-ED88-45B0-B1F8-82BFD062A3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5AFC7B-3F39-49EF-BD5A-C52DD7BF78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7DE935-B016-4A4C-B2E9-4432D606E9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1D49F5-7C8E-4DBA-BF17-187E3C43F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D88405-CD00-44A1-A29B-DE9700EAC9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2F5EB3-B082-4AB1-B5FF-03C7C4B3A3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177999999999997</c:v>
                </c:pt>
                <c:pt idx="1">
                  <c:v>24.946400000000001</c:v>
                </c:pt>
                <c:pt idx="2">
                  <c:v>31.078299999999999</c:v>
                </c:pt>
                <c:pt idx="3">
                  <c:v>4.2683</c:v>
                </c:pt>
                <c:pt idx="4">
                  <c:v>26.586600000000001</c:v>
                </c:pt>
                <c:pt idx="5">
                  <c:v>5.8342000000000001</c:v>
                </c:pt>
                <c:pt idx="6">
                  <c:v>7.1054000000000004</c:v>
                </c:pt>
                <c:pt idx="7">
                  <c:v>24.309100000000001</c:v>
                </c:pt>
              </c:numCache>
            </c:numRef>
          </c:xVal>
          <c:yVal>
            <c:numRef>
              <c:f>Sheet1!$B$2:$B$9</c:f>
              <c:numCache>
                <c:formatCode>General</c:formatCode>
                <c:ptCount val="8"/>
                <c:pt idx="0">
                  <c:v>0.70499999999999996</c:v>
                </c:pt>
                <c:pt idx="1">
                  <c:v>3.5939999999999999</c:v>
                </c:pt>
                <c:pt idx="2">
                  <c:v>4.9089999999999998</c:v>
                </c:pt>
                <c:pt idx="3">
                  <c:v>0.24299999999999999</c:v>
                </c:pt>
                <c:pt idx="4">
                  <c:v>4.1760000000000002</c:v>
                </c:pt>
                <c:pt idx="5">
                  <c:v>0.81599999999999995</c:v>
                </c:pt>
                <c:pt idx="6">
                  <c:v>0.82899999999999996</c:v>
                </c:pt>
                <c:pt idx="7">
                  <c:v>3.61</c:v>
                </c:pt>
              </c:numCache>
            </c:numRef>
          </c:yVal>
          <c:bubbleSize>
            <c:numRef>
              <c:f>Sheet1!$C$2:$C$9</c:f>
              <c:numCache>
                <c:formatCode>General</c:formatCode>
                <c:ptCount val="8"/>
                <c:pt idx="0">
                  <c:v>135378958</c:v>
                </c:pt>
                <c:pt idx="1">
                  <c:v>81150444</c:v>
                </c:pt>
                <c:pt idx="2">
                  <c:v>40272704</c:v>
                </c:pt>
                <c:pt idx="3">
                  <c:v>39552397</c:v>
                </c:pt>
                <c:pt idx="4">
                  <c:v>37152564</c:v>
                </c:pt>
                <c:pt idx="5">
                  <c:v>35427059</c:v>
                </c:pt>
                <c:pt idx="6">
                  <c:v>32603771</c:v>
                </c:pt>
                <c:pt idx="7">
                  <c:v>28145421</c:v>
                </c:pt>
              </c:numCache>
            </c:numRef>
          </c:bubbleSize>
          <c:bubble3D val="0"/>
          <c:extLst>
            <c:ext xmlns:c15="http://schemas.microsoft.com/office/drawing/2012/chart" uri="{02D57815-91ED-43cb-92C2-25804820EDAC}">
              <c15:datalabelsRange>
                <c15:f>Sheet1!$E$2:$E$10</c15:f>
                <c15:dlblRangeCache>
                  <c:ptCount val="9"/>
                  <c:pt idx="0">
                    <c:v>Mdd</c:v>
                  </c:pt>
                  <c:pt idx="1">
                    <c:v>Nicolas Feuillatte</c:v>
                  </c:pt>
                  <c:pt idx="2">
                    <c:v>Mumm</c:v>
                  </c:pt>
                  <c:pt idx="3">
                    <c:v>Charles Volner</c:v>
                  </c:pt>
                  <c:pt idx="4">
                    <c:v>Canard Duchêne</c:v>
                  </c:pt>
                  <c:pt idx="5">
                    <c:v>Freixenet</c:v>
                  </c:pt>
                  <c:pt idx="6">
                    <c:v>Wolfberger</c:v>
                  </c:pt>
                  <c:pt idx="7">
                    <c:v>Alfred De Rothschi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5.10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96CA9E-C502-4F5B-8BC6-BDA98410AA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F4816D-2B61-4529-9122-234C629C5B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AC1847-E860-4B96-8655-757636ACC7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3836E2-F0CE-4945-9C8A-6F4234A6F2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0AA0EA-A6AD-4DEF-B6D9-5D4697E993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8F58B1-D289-422C-B251-BAF0C901A1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408233-1345-4162-BDD7-E68BAF0723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AAC56A-8173-49E8-9ACA-139E9EE6A3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4298</c:v>
                </c:pt>
                <c:pt idx="1">
                  <c:v>23.6297</c:v>
                </c:pt>
                <c:pt idx="2">
                  <c:v>48.656399999999998</c:v>
                </c:pt>
                <c:pt idx="3">
                  <c:v>31.455500000000001</c:v>
                </c:pt>
                <c:pt idx="4">
                  <c:v>51.262500000000003</c:v>
                </c:pt>
                <c:pt idx="5">
                  <c:v>32.673000000000002</c:v>
                </c:pt>
                <c:pt idx="6">
                  <c:v>29.328600000000002</c:v>
                </c:pt>
                <c:pt idx="7">
                  <c:v>38.494</c:v>
                </c:pt>
              </c:numCache>
            </c:numRef>
          </c:xVal>
          <c:yVal>
            <c:numRef>
              <c:f>Sheet1!$B$2:$B$9</c:f>
              <c:numCache>
                <c:formatCode>General</c:formatCode>
                <c:ptCount val="8"/>
                <c:pt idx="0">
                  <c:v>1.958</c:v>
                </c:pt>
                <c:pt idx="1">
                  <c:v>0.69499999999999995</c:v>
                </c:pt>
                <c:pt idx="2">
                  <c:v>1.415</c:v>
                </c:pt>
                <c:pt idx="3">
                  <c:v>0.92</c:v>
                </c:pt>
                <c:pt idx="4">
                  <c:v>1.3520000000000001</c:v>
                </c:pt>
                <c:pt idx="5">
                  <c:v>0.94</c:v>
                </c:pt>
                <c:pt idx="6">
                  <c:v>0.85799999999999998</c:v>
                </c:pt>
                <c:pt idx="7">
                  <c:v>1.1259999999999999</c:v>
                </c:pt>
              </c:numCache>
            </c:numRef>
          </c:yVal>
          <c:bubbleSize>
            <c:numRef>
              <c:f>Sheet1!$C$2:$C$9</c:f>
              <c:numCache>
                <c:formatCode>General</c:formatCode>
                <c:ptCount val="8"/>
                <c:pt idx="0">
                  <c:v>5979133</c:v>
                </c:pt>
                <c:pt idx="1">
                  <c:v>2515244</c:v>
                </c:pt>
                <c:pt idx="2">
                  <c:v>2235322</c:v>
                </c:pt>
                <c:pt idx="3">
                  <c:v>1556133</c:v>
                </c:pt>
                <c:pt idx="4">
                  <c:v>1441809</c:v>
                </c:pt>
                <c:pt idx="5">
                  <c:v>1050176</c:v>
                </c:pt>
                <c:pt idx="6">
                  <c:v>1029785</c:v>
                </c:pt>
                <c:pt idx="7">
                  <c:v>92997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B14AF4-7049-4E84-AF67-579A41BA1D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F31C85-643A-4739-9493-8465388C37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84512F-1DAE-4CCB-BD09-FD23CC26C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046C6B-525C-4CD2-901B-79DB6F126D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6366D6-B217-4EE9-99E4-BCE20349DD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008DF2-280C-4FF0-84B1-48561E63CF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371F8F-5662-4ADD-8AD3-43D8A63A1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B43AE3-6DBB-4CCA-B8EA-5827353806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044300000000007</c:v>
                </c:pt>
                <c:pt idx="1">
                  <c:v>23.673100000000002</c:v>
                </c:pt>
                <c:pt idx="2">
                  <c:v>50.6248</c:v>
                </c:pt>
                <c:pt idx="3">
                  <c:v>31.541399999999999</c:v>
                </c:pt>
                <c:pt idx="4">
                  <c:v>52.898600000000002</c:v>
                </c:pt>
                <c:pt idx="5">
                  <c:v>33.237000000000002</c:v>
                </c:pt>
                <c:pt idx="6">
                  <c:v>30.649899999999999</c:v>
                </c:pt>
                <c:pt idx="7">
                  <c:v>30.5626</c:v>
                </c:pt>
              </c:numCache>
            </c:numRef>
          </c:xVal>
          <c:yVal>
            <c:numRef>
              <c:f>Sheet1!$B$2:$B$9</c:f>
              <c:numCache>
                <c:formatCode>General</c:formatCode>
                <c:ptCount val="8"/>
                <c:pt idx="0">
                  <c:v>1.9850000000000001</c:v>
                </c:pt>
                <c:pt idx="1">
                  <c:v>0.68300000000000005</c:v>
                </c:pt>
                <c:pt idx="2">
                  <c:v>1.4059999999999999</c:v>
                </c:pt>
                <c:pt idx="3">
                  <c:v>0.90900000000000003</c:v>
                </c:pt>
                <c:pt idx="4">
                  <c:v>1.3440000000000001</c:v>
                </c:pt>
                <c:pt idx="5">
                  <c:v>0.92100000000000004</c:v>
                </c:pt>
                <c:pt idx="6">
                  <c:v>0.88200000000000001</c:v>
                </c:pt>
                <c:pt idx="7">
                  <c:v>0.89500000000000002</c:v>
                </c:pt>
              </c:numCache>
            </c:numRef>
          </c:yVal>
          <c:bubbleSize>
            <c:numRef>
              <c:f>Sheet1!$C$2:$C$9</c:f>
              <c:numCache>
                <c:formatCode>General</c:formatCode>
                <c:ptCount val="8"/>
                <c:pt idx="0">
                  <c:v>3181414</c:v>
                </c:pt>
                <c:pt idx="1">
                  <c:v>1250034</c:v>
                </c:pt>
                <c:pt idx="2">
                  <c:v>867406</c:v>
                </c:pt>
                <c:pt idx="3">
                  <c:v>661770</c:v>
                </c:pt>
                <c:pt idx="4">
                  <c:v>505869</c:v>
                </c:pt>
                <c:pt idx="5">
                  <c:v>426896</c:v>
                </c:pt>
                <c:pt idx="6">
                  <c:v>422417</c:v>
                </c:pt>
                <c:pt idx="7">
                  <c:v>41348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De Bligny</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5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A342A2-6EE0-453C-8C79-6010A2B62A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7248A3-7CDB-4B70-B4DD-CE0F8D486C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6A927E-31AF-4037-BDC9-B0E3ECBBD5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8B686A-0D5D-4D83-BE99-398DF9229E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0082E7-0BFF-4E14-A7F8-EAC8CB8020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5BCF8F-7E08-4C69-B8B5-C5691FA591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75771A-3106-4F3F-92A8-6F5F21FD98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88F0CE-5B62-4D79-99DA-07FB8E99E0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31900000000005</c:v>
                </c:pt>
                <c:pt idx="1">
                  <c:v>23.5243</c:v>
                </c:pt>
                <c:pt idx="2">
                  <c:v>50.431899999999999</c:v>
                </c:pt>
                <c:pt idx="3">
                  <c:v>53.389200000000002</c:v>
                </c:pt>
                <c:pt idx="4">
                  <c:v>31.674299999999999</c:v>
                </c:pt>
                <c:pt idx="5">
                  <c:v>83.896100000000004</c:v>
                </c:pt>
                <c:pt idx="6">
                  <c:v>33.087600000000002</c:v>
                </c:pt>
                <c:pt idx="7">
                  <c:v>56.0105</c:v>
                </c:pt>
              </c:numCache>
            </c:numRef>
          </c:xVal>
          <c:yVal>
            <c:numRef>
              <c:f>Sheet1!$B$2:$B$9</c:f>
              <c:numCache>
                <c:formatCode>General</c:formatCode>
                <c:ptCount val="8"/>
                <c:pt idx="0">
                  <c:v>1.853</c:v>
                </c:pt>
                <c:pt idx="1">
                  <c:v>0.629</c:v>
                </c:pt>
                <c:pt idx="2">
                  <c:v>1.3260000000000001</c:v>
                </c:pt>
                <c:pt idx="3">
                  <c:v>1.2849999999999999</c:v>
                </c:pt>
                <c:pt idx="4">
                  <c:v>0.84099999999999997</c:v>
                </c:pt>
                <c:pt idx="5">
                  <c:v>2.177</c:v>
                </c:pt>
                <c:pt idx="6">
                  <c:v>0.86799999999999999</c:v>
                </c:pt>
                <c:pt idx="7">
                  <c:v>1.337</c:v>
                </c:pt>
              </c:numCache>
            </c:numRef>
          </c:yVal>
          <c:bubbleSize>
            <c:numRef>
              <c:f>Sheet1!$C$2:$C$9</c:f>
              <c:numCache>
                <c:formatCode>General</c:formatCode>
                <c:ptCount val="8"/>
                <c:pt idx="0">
                  <c:v>1828137</c:v>
                </c:pt>
                <c:pt idx="1">
                  <c:v>611372</c:v>
                </c:pt>
                <c:pt idx="2">
                  <c:v>586220</c:v>
                </c:pt>
                <c:pt idx="3">
                  <c:v>507304</c:v>
                </c:pt>
                <c:pt idx="4">
                  <c:v>355481</c:v>
                </c:pt>
                <c:pt idx="5">
                  <c:v>287512</c:v>
                </c:pt>
                <c:pt idx="6">
                  <c:v>286936</c:v>
                </c:pt>
                <c:pt idx="7">
                  <c:v>23916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77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709202-572F-4BCE-94AC-9CF501646A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10F4B7-1B7D-44BC-A10A-C81C794D6A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09F9FA-4F21-4BE5-9FB5-E401DFAF91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091393-8EC9-4C17-8E1A-A01FBF810D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C9EAE25-E72A-4015-B02D-5C1D01CDD4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E7C745-C20C-4406-8969-9D6E674262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7E2AD2-63E0-4E8B-BBDD-68A95A045A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BC7CFE-EA64-4C2F-8A07-B81456E59C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06999999999999</c:v>
                </c:pt>
                <c:pt idx="1">
                  <c:v>50.238399999999999</c:v>
                </c:pt>
                <c:pt idx="2">
                  <c:v>52.996000000000002</c:v>
                </c:pt>
                <c:pt idx="3">
                  <c:v>23.661899999999999</c:v>
                </c:pt>
                <c:pt idx="4">
                  <c:v>95.832400000000007</c:v>
                </c:pt>
                <c:pt idx="5">
                  <c:v>31.808399999999999</c:v>
                </c:pt>
                <c:pt idx="6">
                  <c:v>32.778799999999997</c:v>
                </c:pt>
                <c:pt idx="7">
                  <c:v>287.9796</c:v>
                </c:pt>
              </c:numCache>
            </c:numRef>
          </c:xVal>
          <c:yVal>
            <c:numRef>
              <c:f>Sheet1!$B$2:$B$9</c:f>
              <c:numCache>
                <c:formatCode>General</c:formatCode>
                <c:ptCount val="8"/>
                <c:pt idx="0">
                  <c:v>1.7290000000000001</c:v>
                </c:pt>
                <c:pt idx="1">
                  <c:v>1.1479999999999999</c:v>
                </c:pt>
                <c:pt idx="2">
                  <c:v>1.1180000000000001</c:v>
                </c:pt>
                <c:pt idx="3">
                  <c:v>0.55800000000000005</c:v>
                </c:pt>
                <c:pt idx="4">
                  <c:v>2.2170000000000001</c:v>
                </c:pt>
                <c:pt idx="5">
                  <c:v>0.745</c:v>
                </c:pt>
                <c:pt idx="6">
                  <c:v>0.751</c:v>
                </c:pt>
                <c:pt idx="7">
                  <c:v>6.57</c:v>
                </c:pt>
              </c:numCache>
            </c:numRef>
          </c:yVal>
          <c:bubbleSize>
            <c:numRef>
              <c:f>Sheet1!$C$2:$C$9</c:f>
              <c:numCache>
                <c:formatCode>General</c:formatCode>
                <c:ptCount val="8"/>
                <c:pt idx="0">
                  <c:v>1590547</c:v>
                </c:pt>
                <c:pt idx="1">
                  <c:v>430995</c:v>
                </c:pt>
                <c:pt idx="2">
                  <c:v>366626</c:v>
                </c:pt>
                <c:pt idx="3">
                  <c:v>343168</c:v>
                </c:pt>
                <c:pt idx="4">
                  <c:v>228081</c:v>
                </c:pt>
                <c:pt idx="5">
                  <c:v>210031</c:v>
                </c:pt>
                <c:pt idx="6">
                  <c:v>199000</c:v>
                </c:pt>
                <c:pt idx="7">
                  <c:v>18315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Roederer</c:v>
                  </c:pt>
                  <c:pt idx="5">
                    <c:v>Malard</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6.770000000000000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89264A-90EA-46B1-9792-0938DD8684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510CC8-EE11-4EB5-AFE8-1FB8F9FBB1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6F91A3-297D-4A0B-BED1-0E407D7420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778FCD-D351-4BBE-9E05-F39BF9B369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369B3F-4820-4FF1-A4B1-C95C61DFFD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B51CF5-3781-4373-99D8-6370E59D60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FE3983-B67D-4257-8853-968EAA5057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C0E3D4-0392-4944-9704-2A678FC02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245000000000005</c:v>
                </c:pt>
                <c:pt idx="1">
                  <c:v>23.982600000000001</c:v>
                </c:pt>
                <c:pt idx="2">
                  <c:v>53.209800000000001</c:v>
                </c:pt>
                <c:pt idx="3">
                  <c:v>31.915800000000001</c:v>
                </c:pt>
                <c:pt idx="4">
                  <c:v>56.263100000000001</c:v>
                </c:pt>
                <c:pt idx="5">
                  <c:v>33.282400000000003</c:v>
                </c:pt>
                <c:pt idx="6">
                  <c:v>58.168599999999998</c:v>
                </c:pt>
                <c:pt idx="7">
                  <c:v>74.187700000000007</c:v>
                </c:pt>
              </c:numCache>
            </c:numRef>
          </c:xVal>
          <c:yVal>
            <c:numRef>
              <c:f>Sheet1!$B$2:$B$9</c:f>
              <c:numCache>
                <c:formatCode>General</c:formatCode>
                <c:ptCount val="8"/>
                <c:pt idx="0">
                  <c:v>1.9259999999999999</c:v>
                </c:pt>
                <c:pt idx="1">
                  <c:v>0.63600000000000001</c:v>
                </c:pt>
                <c:pt idx="2">
                  <c:v>1.3460000000000001</c:v>
                </c:pt>
                <c:pt idx="3">
                  <c:v>0.84699999999999998</c:v>
                </c:pt>
                <c:pt idx="4">
                  <c:v>1.28</c:v>
                </c:pt>
                <c:pt idx="5">
                  <c:v>0.86199999999999999</c:v>
                </c:pt>
                <c:pt idx="6">
                  <c:v>1.28</c:v>
                </c:pt>
                <c:pt idx="7">
                  <c:v>1.907</c:v>
                </c:pt>
              </c:numCache>
            </c:numRef>
          </c:yVal>
          <c:bubbleSize>
            <c:numRef>
              <c:f>Sheet1!$C$2:$C$9</c:f>
              <c:numCache>
                <c:formatCode>General</c:formatCode>
                <c:ptCount val="8"/>
                <c:pt idx="0">
                  <c:v>1098847</c:v>
                </c:pt>
                <c:pt idx="1">
                  <c:v>246085</c:v>
                </c:pt>
                <c:pt idx="2">
                  <c:v>239125</c:v>
                </c:pt>
                <c:pt idx="3">
                  <c:v>135355</c:v>
                </c:pt>
                <c:pt idx="4">
                  <c:v>127436</c:v>
                </c:pt>
                <c:pt idx="5">
                  <c:v>107702</c:v>
                </c:pt>
                <c:pt idx="6">
                  <c:v>98654</c:v>
                </c:pt>
                <c:pt idx="7">
                  <c:v>9800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Taittinger</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2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A553D5-9DC8-47C9-83DA-E124D00B11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F947AF-8926-4818-AC9A-E4F87EA6F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3B8ED9-054D-4B4B-9A0D-C65492B32B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82EDE6-8731-4C5B-BD0A-877F4D6D42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F068CA-FB7F-4E9D-8087-B8C1C9317A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D91C79-7475-4062-BC22-AE982DC608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EE747C-98B3-48CD-8ADE-CBB5227E20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C83264-6879-4CF9-80C4-F336ED1556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32299999999995</c:v>
                </c:pt>
                <c:pt idx="1">
                  <c:v>23.5748</c:v>
                </c:pt>
                <c:pt idx="2">
                  <c:v>49.180500000000002</c:v>
                </c:pt>
                <c:pt idx="3">
                  <c:v>51.747599999999998</c:v>
                </c:pt>
                <c:pt idx="4">
                  <c:v>31.525200000000002</c:v>
                </c:pt>
                <c:pt idx="5">
                  <c:v>32.7211</c:v>
                </c:pt>
                <c:pt idx="6">
                  <c:v>79.0989</c:v>
                </c:pt>
                <c:pt idx="7">
                  <c:v>29.301100000000002</c:v>
                </c:pt>
              </c:numCache>
            </c:numRef>
          </c:xVal>
          <c:yVal>
            <c:numRef>
              <c:f>Sheet1!$B$2:$B$9</c:f>
              <c:numCache>
                <c:formatCode>General</c:formatCode>
                <c:ptCount val="8"/>
                <c:pt idx="0">
                  <c:v>1.901</c:v>
                </c:pt>
                <c:pt idx="1">
                  <c:v>0.65600000000000003</c:v>
                </c:pt>
                <c:pt idx="2">
                  <c:v>1.3460000000000001</c:v>
                </c:pt>
                <c:pt idx="3">
                  <c:v>1.292</c:v>
                </c:pt>
                <c:pt idx="4">
                  <c:v>0.871</c:v>
                </c:pt>
                <c:pt idx="5">
                  <c:v>0.88700000000000001</c:v>
                </c:pt>
                <c:pt idx="6">
                  <c:v>2.2170000000000001</c:v>
                </c:pt>
                <c:pt idx="7">
                  <c:v>0.80900000000000005</c:v>
                </c:pt>
              </c:numCache>
            </c:numRef>
          </c:yVal>
          <c:bubbleSize>
            <c:numRef>
              <c:f>Sheet1!$C$2:$C$9</c:f>
              <c:numCache>
                <c:formatCode>General</c:formatCode>
                <c:ptCount val="8"/>
                <c:pt idx="0">
                  <c:v>10761127</c:v>
                </c:pt>
                <c:pt idx="1">
                  <c:v>3788985</c:v>
                </c:pt>
                <c:pt idx="2">
                  <c:v>3461768</c:v>
                </c:pt>
                <c:pt idx="3">
                  <c:v>2407818</c:v>
                </c:pt>
                <c:pt idx="4">
                  <c:v>2351274</c:v>
                </c:pt>
                <c:pt idx="5">
                  <c:v>1672046</c:v>
                </c:pt>
                <c:pt idx="6">
                  <c:v>1436753</c:v>
                </c:pt>
                <c:pt idx="7">
                  <c:v>13914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Roederer</c:v>
                  </c:pt>
                  <c:pt idx="7">
                    <c:v>Heidsieck &amp; Co Monopo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5"/>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41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208E4F-8BB3-4072-AB9E-A2385EDCC7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56AD57-1723-4562-AD67-AA67298EE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758AB8-08A7-4186-96AA-E30AD87B8E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84C791-401D-4909-B60F-05FA1A6F03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FAD4A3-261C-4248-9234-C7C3254581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C335C1-5A49-451E-9E8D-27CB4D522B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D773F3-23A5-4335-92B7-0626ECE07D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9CB690-E47A-4C6F-AB86-B00A4E1A32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902299999999997</c:v>
                </c:pt>
                <c:pt idx="1">
                  <c:v>23.632999999999999</c:v>
                </c:pt>
                <c:pt idx="2">
                  <c:v>51.113900000000001</c:v>
                </c:pt>
                <c:pt idx="3">
                  <c:v>54.3947</c:v>
                </c:pt>
                <c:pt idx="4">
                  <c:v>84.752200000000002</c:v>
                </c:pt>
                <c:pt idx="5">
                  <c:v>29.332599999999999</c:v>
                </c:pt>
                <c:pt idx="6">
                  <c:v>31.468499999999999</c:v>
                </c:pt>
                <c:pt idx="7">
                  <c:v>273.90089999999998</c:v>
                </c:pt>
              </c:numCache>
            </c:numRef>
          </c:xVal>
          <c:yVal>
            <c:numRef>
              <c:f>Sheet1!$B$2:$B$9</c:f>
              <c:numCache>
                <c:formatCode>General</c:formatCode>
                <c:ptCount val="8"/>
                <c:pt idx="0">
                  <c:v>1.8560000000000001</c:v>
                </c:pt>
                <c:pt idx="1">
                  <c:v>0.61699999999999999</c:v>
                </c:pt>
                <c:pt idx="2">
                  <c:v>1.2789999999999999</c:v>
                </c:pt>
                <c:pt idx="3">
                  <c:v>1.2789999999999999</c:v>
                </c:pt>
                <c:pt idx="4">
                  <c:v>2.0579999999999998</c:v>
                </c:pt>
                <c:pt idx="5">
                  <c:v>0.76800000000000002</c:v>
                </c:pt>
                <c:pt idx="6">
                  <c:v>0.82399999999999995</c:v>
                </c:pt>
                <c:pt idx="7">
                  <c:v>6.9080000000000004</c:v>
                </c:pt>
              </c:numCache>
            </c:numRef>
          </c:yVal>
          <c:bubbleSize>
            <c:numRef>
              <c:f>Sheet1!$C$2:$C$9</c:f>
              <c:numCache>
                <c:formatCode>General</c:formatCode>
                <c:ptCount val="8"/>
                <c:pt idx="0">
                  <c:v>1905667</c:v>
                </c:pt>
                <c:pt idx="1">
                  <c:v>630859</c:v>
                </c:pt>
                <c:pt idx="2">
                  <c:v>491358</c:v>
                </c:pt>
                <c:pt idx="3">
                  <c:v>344699</c:v>
                </c:pt>
                <c:pt idx="4">
                  <c:v>234933</c:v>
                </c:pt>
                <c:pt idx="5">
                  <c:v>217736</c:v>
                </c:pt>
                <c:pt idx="6">
                  <c:v>211311</c:v>
                </c:pt>
                <c:pt idx="7">
                  <c:v>18789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Roederer</c:v>
                  </c:pt>
                  <c:pt idx="5">
                    <c:v>Heidsieck &amp; Co Monopole</c:v>
                  </c:pt>
                  <c:pt idx="6">
                    <c:v>Malard</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108000000000000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145777-7ABB-41CD-B57E-70635C4A8C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01B805-80F5-482A-8EDF-2D5709F7C3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EF077B-88CE-4DB3-B3FF-B175CE08FD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823592-46DA-4FFD-BFE2-53ED897CC5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7746AD-8A27-45BD-8D3F-B3B8B4CA34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088FF7-55A1-4B55-892F-47E755350D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805414-2D94-4DC5-92B2-40100B8851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30B54B-4389-480F-AE4B-5C93E13114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4298</c:v>
                </c:pt>
                <c:pt idx="1">
                  <c:v>23.6297</c:v>
                </c:pt>
                <c:pt idx="2">
                  <c:v>48.656399999999998</c:v>
                </c:pt>
                <c:pt idx="3">
                  <c:v>31.455500000000001</c:v>
                </c:pt>
                <c:pt idx="4">
                  <c:v>51.262500000000003</c:v>
                </c:pt>
                <c:pt idx="5">
                  <c:v>32.673000000000002</c:v>
                </c:pt>
                <c:pt idx="6">
                  <c:v>29.328600000000002</c:v>
                </c:pt>
                <c:pt idx="7">
                  <c:v>38.494</c:v>
                </c:pt>
              </c:numCache>
            </c:numRef>
          </c:xVal>
          <c:yVal>
            <c:numRef>
              <c:f>Sheet1!$B$2:$B$9</c:f>
              <c:numCache>
                <c:formatCode>General</c:formatCode>
                <c:ptCount val="8"/>
                <c:pt idx="0">
                  <c:v>1.6020000000000001</c:v>
                </c:pt>
                <c:pt idx="1">
                  <c:v>0.56899999999999995</c:v>
                </c:pt>
                <c:pt idx="2">
                  <c:v>1.157</c:v>
                </c:pt>
                <c:pt idx="3">
                  <c:v>0.753</c:v>
                </c:pt>
                <c:pt idx="4">
                  <c:v>1.1060000000000001</c:v>
                </c:pt>
                <c:pt idx="5">
                  <c:v>0.76900000000000002</c:v>
                </c:pt>
                <c:pt idx="6">
                  <c:v>0.70199999999999996</c:v>
                </c:pt>
                <c:pt idx="7">
                  <c:v>0.92100000000000004</c:v>
                </c:pt>
              </c:numCache>
            </c:numRef>
          </c:yVal>
          <c:bubbleSize>
            <c:numRef>
              <c:f>Sheet1!$C$2:$C$9</c:f>
              <c:numCache>
                <c:formatCode>General</c:formatCode>
                <c:ptCount val="8"/>
                <c:pt idx="0">
                  <c:v>5979133</c:v>
                </c:pt>
                <c:pt idx="1">
                  <c:v>2515244</c:v>
                </c:pt>
                <c:pt idx="2">
                  <c:v>2235322</c:v>
                </c:pt>
                <c:pt idx="3">
                  <c:v>1556133</c:v>
                </c:pt>
                <c:pt idx="4">
                  <c:v>1441809</c:v>
                </c:pt>
                <c:pt idx="5">
                  <c:v>1050176</c:v>
                </c:pt>
                <c:pt idx="6">
                  <c:v>1029785</c:v>
                </c:pt>
                <c:pt idx="7">
                  <c:v>92997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C1F667-AFE9-42D2-A767-37896F8AAB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2C5FE9-8A6F-4FB7-852A-315A97355C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4F75E8-F8DE-4EC6-854B-2E0C1312E4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A0F0A4-2394-496B-891C-293DC921FB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C05104-B0AF-458F-85FE-195DE8C069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C61DC7-E3EA-424C-86EC-4981623F79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6FF8E4-B7F5-41F1-A1DF-91784C1B48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812DD4-8D1D-419A-B1A0-AB04D1F9FA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778700000000001</c:v>
                </c:pt>
                <c:pt idx="1">
                  <c:v>51.711100000000002</c:v>
                </c:pt>
                <c:pt idx="2">
                  <c:v>24.7149</c:v>
                </c:pt>
                <c:pt idx="3">
                  <c:v>31.674600000000002</c:v>
                </c:pt>
                <c:pt idx="4">
                  <c:v>56.167200000000001</c:v>
                </c:pt>
                <c:pt idx="5">
                  <c:v>29.235499999999998</c:v>
                </c:pt>
                <c:pt idx="6">
                  <c:v>56.559800000000003</c:v>
                </c:pt>
                <c:pt idx="7">
                  <c:v>34.003700000000002</c:v>
                </c:pt>
              </c:numCache>
            </c:numRef>
          </c:xVal>
          <c:yVal>
            <c:numRef>
              <c:f>Sheet1!$B$2:$B$9</c:f>
              <c:numCache>
                <c:formatCode>General</c:formatCode>
                <c:ptCount val="8"/>
                <c:pt idx="0">
                  <c:v>2.0049999999999999</c:v>
                </c:pt>
                <c:pt idx="1">
                  <c:v>1.42</c:v>
                </c:pt>
                <c:pt idx="2">
                  <c:v>0.70899999999999996</c:v>
                </c:pt>
                <c:pt idx="3">
                  <c:v>0.91300000000000003</c:v>
                </c:pt>
                <c:pt idx="4">
                  <c:v>1.377</c:v>
                </c:pt>
                <c:pt idx="5">
                  <c:v>0.84399999999999997</c:v>
                </c:pt>
                <c:pt idx="6">
                  <c:v>1.3680000000000001</c:v>
                </c:pt>
                <c:pt idx="7">
                  <c:v>0.95</c:v>
                </c:pt>
              </c:numCache>
            </c:numRef>
          </c:yVal>
          <c:bubbleSize>
            <c:numRef>
              <c:f>Sheet1!$C$2:$C$9</c:f>
              <c:numCache>
                <c:formatCode>General</c:formatCode>
                <c:ptCount val="8"/>
                <c:pt idx="0">
                  <c:v>878434</c:v>
                </c:pt>
                <c:pt idx="1">
                  <c:v>324746</c:v>
                </c:pt>
                <c:pt idx="2">
                  <c:v>279303</c:v>
                </c:pt>
                <c:pt idx="3">
                  <c:v>176681</c:v>
                </c:pt>
                <c:pt idx="4">
                  <c:v>160863</c:v>
                </c:pt>
                <c:pt idx="5">
                  <c:v>125888</c:v>
                </c:pt>
                <c:pt idx="6">
                  <c:v>122961</c:v>
                </c:pt>
                <c:pt idx="7">
                  <c:v>12084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Malard</c:v>
                  </c:pt>
                  <c:pt idx="4">
                    <c:v>Laurent Perrier</c:v>
                  </c:pt>
                  <c:pt idx="5">
                    <c:v>Heidsieck &amp; Co Monopole</c:v>
                  </c:pt>
                  <c:pt idx="6">
                    <c:v>Taittinger</c:v>
                  </c:pt>
                  <c:pt idx="7">
                    <c:v>Nicolas Feuilla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05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3283BD-41E8-4490-BBE4-F02F3B8F67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C1ED74-B7AB-4F57-AF5E-32BA8DAEAD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DB4101-C08E-4263-BAE5-7BCE00621E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42306C-E5F2-47DE-840D-FF839C15AD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59BFEF-2A07-4CC7-9BB6-01DADA4C7E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AD8E68-A59C-44EB-9F4A-40CAE695BD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E44C4FE-F358-4EF7-AE55-14AC37BE5A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8D1EEC0-FD3E-4662-B3B8-B15CFB248F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6399999999994</c:v>
                </c:pt>
                <c:pt idx="1">
                  <c:v>23.107299999999999</c:v>
                </c:pt>
                <c:pt idx="2">
                  <c:v>50.8294</c:v>
                </c:pt>
                <c:pt idx="3">
                  <c:v>31.597000000000001</c:v>
                </c:pt>
                <c:pt idx="4">
                  <c:v>29.059000000000001</c:v>
                </c:pt>
                <c:pt idx="5">
                  <c:v>39.901000000000003</c:v>
                </c:pt>
                <c:pt idx="6">
                  <c:v>30.6097</c:v>
                </c:pt>
                <c:pt idx="7">
                  <c:v>58.011600000000001</c:v>
                </c:pt>
              </c:numCache>
            </c:numRef>
          </c:xVal>
          <c:yVal>
            <c:numRef>
              <c:f>Sheet1!$B$2:$B$9</c:f>
              <c:numCache>
                <c:formatCode>General</c:formatCode>
                <c:ptCount val="8"/>
                <c:pt idx="0">
                  <c:v>2.028</c:v>
                </c:pt>
                <c:pt idx="1">
                  <c:v>0.68700000000000006</c:v>
                </c:pt>
                <c:pt idx="2">
                  <c:v>1.4590000000000001</c:v>
                </c:pt>
                <c:pt idx="3">
                  <c:v>0.93600000000000005</c:v>
                </c:pt>
                <c:pt idx="4">
                  <c:v>0.87</c:v>
                </c:pt>
                <c:pt idx="5">
                  <c:v>1.1839999999999999</c:v>
                </c:pt>
                <c:pt idx="6">
                  <c:v>0.90900000000000003</c:v>
                </c:pt>
                <c:pt idx="7">
                  <c:v>1.464</c:v>
                </c:pt>
              </c:numCache>
            </c:numRef>
          </c:yVal>
          <c:bubbleSize>
            <c:numRef>
              <c:f>Sheet1!$C$2:$C$9</c:f>
              <c:numCache>
                <c:formatCode>General</c:formatCode>
                <c:ptCount val="8"/>
                <c:pt idx="0">
                  <c:v>395087</c:v>
                </c:pt>
                <c:pt idx="1">
                  <c:v>216631</c:v>
                </c:pt>
                <c:pt idx="2">
                  <c:v>169872</c:v>
                </c:pt>
                <c:pt idx="3">
                  <c:v>95486</c:v>
                </c:pt>
                <c:pt idx="4">
                  <c:v>91042</c:v>
                </c:pt>
                <c:pt idx="5">
                  <c:v>73338</c:v>
                </c:pt>
                <c:pt idx="6">
                  <c:v>71290</c:v>
                </c:pt>
                <c:pt idx="7">
                  <c:v>699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Heidsieck &amp; Co Monopole</c:v>
                  </c:pt>
                  <c:pt idx="5">
                    <c:v>Ayala</c:v>
                  </c:pt>
                  <c:pt idx="6">
                    <c:v>De Bligny</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2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9B94B4-636F-4D0B-BDBA-18EC05128A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838D57-778E-45D2-B0E5-E0D95C2305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B7224D-1C7D-4AB3-AC71-2107D0F152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CAA031-DEAF-4FDD-8900-6056BC85FE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51FE46-9BA0-4ADA-8F87-7F3056EE6D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4556CB-4441-42AD-B210-7A78C95520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EE5732-27C2-4A48-A960-B880DEA789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F8661D-1C73-44A9-BF28-341E1E9DB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2499999999997</c:v>
                </c:pt>
                <c:pt idx="1">
                  <c:v>23.236599999999999</c:v>
                </c:pt>
                <c:pt idx="2">
                  <c:v>52.527299999999997</c:v>
                </c:pt>
                <c:pt idx="3">
                  <c:v>32.034199999999998</c:v>
                </c:pt>
                <c:pt idx="4">
                  <c:v>17.333100000000002</c:v>
                </c:pt>
                <c:pt idx="5">
                  <c:v>55.900500000000001</c:v>
                </c:pt>
                <c:pt idx="6">
                  <c:v>70.223500000000001</c:v>
                </c:pt>
                <c:pt idx="7">
                  <c:v>34.026000000000003</c:v>
                </c:pt>
              </c:numCache>
            </c:numRef>
          </c:xVal>
          <c:yVal>
            <c:numRef>
              <c:f>Sheet1!$B$2:$B$9</c:f>
              <c:numCache>
                <c:formatCode>General</c:formatCode>
                <c:ptCount val="8"/>
                <c:pt idx="0">
                  <c:v>2.1949999999999998</c:v>
                </c:pt>
                <c:pt idx="1">
                  <c:v>0.752</c:v>
                </c:pt>
                <c:pt idx="2">
                  <c:v>1.6419999999999999</c:v>
                </c:pt>
                <c:pt idx="3">
                  <c:v>1.034</c:v>
                </c:pt>
                <c:pt idx="4">
                  <c:v>0.59699999999999998</c:v>
                </c:pt>
                <c:pt idx="5">
                  <c:v>1.546</c:v>
                </c:pt>
                <c:pt idx="6">
                  <c:v>2.08</c:v>
                </c:pt>
                <c:pt idx="7">
                  <c:v>1.0980000000000001</c:v>
                </c:pt>
              </c:numCache>
            </c:numRef>
          </c:yVal>
          <c:bubbleSize>
            <c:numRef>
              <c:f>Sheet1!$C$2:$C$9</c:f>
              <c:numCache>
                <c:formatCode>General</c:formatCode>
                <c:ptCount val="8"/>
                <c:pt idx="0">
                  <c:v>300199</c:v>
                </c:pt>
                <c:pt idx="1">
                  <c:v>152037</c:v>
                </c:pt>
                <c:pt idx="2">
                  <c:v>101798</c:v>
                </c:pt>
                <c:pt idx="3">
                  <c:v>71244</c:v>
                </c:pt>
                <c:pt idx="4">
                  <c:v>68483</c:v>
                </c:pt>
                <c:pt idx="5">
                  <c:v>66298</c:v>
                </c:pt>
                <c:pt idx="6">
                  <c:v>50280</c:v>
                </c:pt>
                <c:pt idx="7">
                  <c:v>496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Mure</c:v>
                  </c:pt>
                  <c:pt idx="5">
                    <c:v>Laurent Perrier</c:v>
                  </c:pt>
                  <c:pt idx="6">
                    <c:v>Bollinger</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9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958CF4-C240-4AAA-BBFD-2409776068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DA602F-68A7-4A0C-A736-B32CAE8992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C1F619-5C42-4092-8DF5-72F77E99E0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B8522D-BA2D-4068-8C57-61AE8EE82C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EA88FA-E45D-4EDF-AEA7-F9F146E441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90F5E7-FF3C-4D56-AFD4-3A2A9ECD07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805018-2A9F-4F8E-9496-3FCEF18D7B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26FEE3-5B8E-476A-9444-56ACBD78C5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09699999999998</c:v>
                </c:pt>
                <c:pt idx="1">
                  <c:v>23.626300000000001</c:v>
                </c:pt>
                <c:pt idx="2">
                  <c:v>50.448099999999997</c:v>
                </c:pt>
                <c:pt idx="3">
                  <c:v>53.660699999999999</c:v>
                </c:pt>
                <c:pt idx="4">
                  <c:v>31.505700000000001</c:v>
                </c:pt>
                <c:pt idx="5">
                  <c:v>88.677499999999995</c:v>
                </c:pt>
                <c:pt idx="6">
                  <c:v>32.752200000000002</c:v>
                </c:pt>
                <c:pt idx="7">
                  <c:v>291.98700000000002</c:v>
                </c:pt>
              </c:numCache>
            </c:numRef>
          </c:xVal>
          <c:yVal>
            <c:numRef>
              <c:f>Sheet1!$B$2:$B$9</c:f>
              <c:numCache>
                <c:formatCode>General</c:formatCode>
                <c:ptCount val="8"/>
                <c:pt idx="0">
                  <c:v>1.847</c:v>
                </c:pt>
                <c:pt idx="1">
                  <c:v>0.61499999999999999</c:v>
                </c:pt>
                <c:pt idx="2">
                  <c:v>1.2869999999999999</c:v>
                </c:pt>
                <c:pt idx="3">
                  <c:v>1.254</c:v>
                </c:pt>
                <c:pt idx="4">
                  <c:v>0.81699999999999995</c:v>
                </c:pt>
                <c:pt idx="5">
                  <c:v>2.3119999999999998</c:v>
                </c:pt>
                <c:pt idx="6">
                  <c:v>0.83899999999999997</c:v>
                </c:pt>
                <c:pt idx="7">
                  <c:v>7.4649999999999999</c:v>
                </c:pt>
              </c:numCache>
            </c:numRef>
          </c:yVal>
          <c:bubbleSize>
            <c:numRef>
              <c:f>Sheet1!$C$2:$C$9</c:f>
              <c:numCache>
                <c:formatCode>General</c:formatCode>
                <c:ptCount val="8"/>
                <c:pt idx="0">
                  <c:v>4907450</c:v>
                </c:pt>
                <c:pt idx="1">
                  <c:v>1463201</c:v>
                </c:pt>
                <c:pt idx="2">
                  <c:v>1419306</c:v>
                </c:pt>
                <c:pt idx="3">
                  <c:v>1119576</c:v>
                </c:pt>
                <c:pt idx="4">
                  <c:v>828914</c:v>
                </c:pt>
                <c:pt idx="5">
                  <c:v>791269</c:v>
                </c:pt>
                <c:pt idx="6">
                  <c:v>634868</c:v>
                </c:pt>
                <c:pt idx="7">
                  <c:v>58572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66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94A522-249C-4AE9-84EE-58907B06E1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5BA53F-CC88-4424-A2D6-920689D31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AD57AB-23EC-457A-AF94-9B98791DC0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609FCD-E28A-49A7-A25D-D8A2B91EAB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CED7AC-7BB4-4B62-898F-F9519FA0A8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0AE544-1E43-4CD5-9E5F-ECA8CE2A16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877A27-758C-4B5D-A66B-A26BEC556D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D620BB-7E45-4A82-A55E-836EA65B80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133499999999998</c:v>
                </c:pt>
                <c:pt idx="1">
                  <c:v>23.392900000000001</c:v>
                </c:pt>
                <c:pt idx="2">
                  <c:v>48.761299999999999</c:v>
                </c:pt>
                <c:pt idx="3">
                  <c:v>51.302199999999999</c:v>
                </c:pt>
                <c:pt idx="4">
                  <c:v>31.512499999999999</c:v>
                </c:pt>
                <c:pt idx="5">
                  <c:v>32.631799999999998</c:v>
                </c:pt>
                <c:pt idx="6">
                  <c:v>29.2836</c:v>
                </c:pt>
                <c:pt idx="7">
                  <c:v>71.167199999999994</c:v>
                </c:pt>
              </c:numCache>
            </c:numRef>
          </c:xVal>
          <c:yVal>
            <c:numRef>
              <c:f>Sheet1!$B$2:$B$9</c:f>
              <c:numCache>
                <c:formatCode>General</c:formatCode>
                <c:ptCount val="8"/>
                <c:pt idx="0">
                  <c:v>1.9450000000000001</c:v>
                </c:pt>
                <c:pt idx="1">
                  <c:v>0.67900000000000005</c:v>
                </c:pt>
                <c:pt idx="2">
                  <c:v>1.393</c:v>
                </c:pt>
                <c:pt idx="3">
                  <c:v>1.3380000000000001</c:v>
                </c:pt>
                <c:pt idx="4">
                  <c:v>0.91100000000000003</c:v>
                </c:pt>
                <c:pt idx="5">
                  <c:v>0.92800000000000005</c:v>
                </c:pt>
                <c:pt idx="6">
                  <c:v>0.84499999999999997</c:v>
                </c:pt>
                <c:pt idx="7">
                  <c:v>2.0619999999999998</c:v>
                </c:pt>
              </c:numCache>
            </c:numRef>
          </c:yVal>
          <c:bubbleSize>
            <c:numRef>
              <c:f>Sheet1!$C$2:$C$9</c:f>
              <c:numCache>
                <c:formatCode>General</c:formatCode>
                <c:ptCount val="8"/>
                <c:pt idx="0">
                  <c:v>2147840</c:v>
                </c:pt>
                <c:pt idx="1">
                  <c:v>849490</c:v>
                </c:pt>
                <c:pt idx="2">
                  <c:v>757750</c:v>
                </c:pt>
                <c:pt idx="3">
                  <c:v>524411</c:v>
                </c:pt>
                <c:pt idx="4">
                  <c:v>464085</c:v>
                </c:pt>
                <c:pt idx="5">
                  <c:v>324491</c:v>
                </c:pt>
                <c:pt idx="6">
                  <c:v>304491</c:v>
                </c:pt>
                <c:pt idx="7">
                  <c:v>28132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6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7ABE2A-F0B1-404A-B3F3-77104A2E76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353F5A-3AA8-4511-8B1E-45B493E873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101D9B-A17B-4154-96CF-CFA8F57FD5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844FD6-8A09-4240-9453-411F56E2B0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4ACD97-C70E-4204-8C26-CDD7A21422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F97523-C95B-4A1D-A1DC-D36A743C5A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E82B5F-64CE-4737-9A0B-79CC319116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3C5A86-7396-48AB-8BAB-F23A66AFD5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75000000000006</c:v>
                </c:pt>
                <c:pt idx="1">
                  <c:v>23.590299999999999</c:v>
                </c:pt>
                <c:pt idx="2">
                  <c:v>50.235199999999999</c:v>
                </c:pt>
                <c:pt idx="3">
                  <c:v>31.48</c:v>
                </c:pt>
                <c:pt idx="4">
                  <c:v>52.412700000000001</c:v>
                </c:pt>
                <c:pt idx="5">
                  <c:v>32.894399999999997</c:v>
                </c:pt>
                <c:pt idx="6">
                  <c:v>29.253399999999999</c:v>
                </c:pt>
                <c:pt idx="7">
                  <c:v>38.716000000000001</c:v>
                </c:pt>
              </c:numCache>
            </c:numRef>
          </c:xVal>
          <c:yVal>
            <c:numRef>
              <c:f>Sheet1!$B$2:$B$9</c:f>
              <c:numCache>
                <c:formatCode>General</c:formatCode>
                <c:ptCount val="8"/>
                <c:pt idx="0">
                  <c:v>1.9550000000000001</c:v>
                </c:pt>
                <c:pt idx="1">
                  <c:v>0.67800000000000005</c:v>
                </c:pt>
                <c:pt idx="2">
                  <c:v>1.403</c:v>
                </c:pt>
                <c:pt idx="3">
                  <c:v>0.90100000000000002</c:v>
                </c:pt>
                <c:pt idx="4">
                  <c:v>1.34</c:v>
                </c:pt>
                <c:pt idx="5">
                  <c:v>0.91600000000000004</c:v>
                </c:pt>
                <c:pt idx="6">
                  <c:v>0.83599999999999997</c:v>
                </c:pt>
                <c:pt idx="7">
                  <c:v>1.107</c:v>
                </c:pt>
              </c:numCache>
            </c:numRef>
          </c:yVal>
          <c:bubbleSize>
            <c:numRef>
              <c:f>Sheet1!$C$2:$C$9</c:f>
              <c:numCache>
                <c:formatCode>General</c:formatCode>
                <c:ptCount val="8"/>
                <c:pt idx="0">
                  <c:v>3453150</c:v>
                </c:pt>
                <c:pt idx="1">
                  <c:v>1317521</c:v>
                </c:pt>
                <c:pt idx="2">
                  <c:v>1108641</c:v>
                </c:pt>
                <c:pt idx="3">
                  <c:v>730304</c:v>
                </c:pt>
                <c:pt idx="4">
                  <c:v>682885</c:v>
                </c:pt>
                <c:pt idx="5">
                  <c:v>520981</c:v>
                </c:pt>
                <c:pt idx="6">
                  <c:v>468611</c:v>
                </c:pt>
                <c:pt idx="7">
                  <c:v>46784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5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87334D-5196-4A2F-8FD6-5C015E9716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AA2C31-8F23-4CA5-ACDF-81E171B76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BB72E0-DB1C-4B5D-870A-EAD65DE4A6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85EDBF-05CD-4ED7-B0AF-EE783579A3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0392F6-DD5A-4463-894C-0281A24C0D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D2806B-BCA9-4307-B2BE-7177D4D2C5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B4CB76-FCD5-428F-B6EE-4B6DBF540F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C998F9-BDF9-4FC5-A500-B2EEE2FC32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515299999999996</c:v>
                </c:pt>
                <c:pt idx="1">
                  <c:v>23.7239</c:v>
                </c:pt>
                <c:pt idx="2">
                  <c:v>49.200299999999999</c:v>
                </c:pt>
                <c:pt idx="3">
                  <c:v>31.5063</c:v>
                </c:pt>
                <c:pt idx="4">
                  <c:v>52.281500000000001</c:v>
                </c:pt>
                <c:pt idx="5">
                  <c:v>32.801400000000001</c:v>
                </c:pt>
                <c:pt idx="6">
                  <c:v>29.312200000000001</c:v>
                </c:pt>
                <c:pt idx="7">
                  <c:v>30.9068</c:v>
                </c:pt>
              </c:numCache>
            </c:numRef>
          </c:xVal>
          <c:yVal>
            <c:numRef>
              <c:f>Sheet1!$B$2:$B$9</c:f>
              <c:numCache>
                <c:formatCode>General</c:formatCode>
                <c:ptCount val="8"/>
                <c:pt idx="0">
                  <c:v>1.9810000000000001</c:v>
                </c:pt>
                <c:pt idx="1">
                  <c:v>0.68899999999999995</c:v>
                </c:pt>
                <c:pt idx="2">
                  <c:v>1.391</c:v>
                </c:pt>
                <c:pt idx="3">
                  <c:v>0.91100000000000003</c:v>
                </c:pt>
                <c:pt idx="4">
                  <c:v>1.335</c:v>
                </c:pt>
                <c:pt idx="5">
                  <c:v>0.92300000000000004</c:v>
                </c:pt>
                <c:pt idx="6">
                  <c:v>0.84799999999999998</c:v>
                </c:pt>
                <c:pt idx="7">
                  <c:v>0.89400000000000002</c:v>
                </c:pt>
              </c:numCache>
            </c:numRef>
          </c:yVal>
          <c:bubbleSize>
            <c:numRef>
              <c:f>Sheet1!$C$2:$C$9</c:f>
              <c:numCache>
                <c:formatCode>General</c:formatCode>
                <c:ptCount val="8"/>
                <c:pt idx="0">
                  <c:v>2733549</c:v>
                </c:pt>
                <c:pt idx="1">
                  <c:v>1023352</c:v>
                </c:pt>
                <c:pt idx="2">
                  <c:v>901841</c:v>
                </c:pt>
                <c:pt idx="3">
                  <c:v>627069</c:v>
                </c:pt>
                <c:pt idx="4">
                  <c:v>511679</c:v>
                </c:pt>
                <c:pt idx="5">
                  <c:v>429337</c:v>
                </c:pt>
                <c:pt idx="6">
                  <c:v>405270</c:v>
                </c:pt>
                <c:pt idx="7">
                  <c:v>37400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9F3518-E3FF-4B99-977D-E4B8454666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C64BEA-28C3-41AA-AE18-17A21FF3A5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ED8505-1237-4995-AFC2-D71E23FA72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9F1E3C-A4FE-4949-9F8E-CF1BCEE52B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4E1935-0504-407A-A876-0E48EBE9A4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75A874-35AB-457B-8021-48B2DF68C1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50022A-DDCF-4E9E-8203-10F01D42C2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C9205D-7AE9-4AC1-8580-3BABAED89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593400000000003</c:v>
                </c:pt>
                <c:pt idx="1">
                  <c:v>23.808499999999999</c:v>
                </c:pt>
                <c:pt idx="2">
                  <c:v>50.115900000000003</c:v>
                </c:pt>
                <c:pt idx="3">
                  <c:v>31.6996</c:v>
                </c:pt>
                <c:pt idx="4">
                  <c:v>52.491900000000001</c:v>
                </c:pt>
                <c:pt idx="5">
                  <c:v>29.232500000000002</c:v>
                </c:pt>
                <c:pt idx="6">
                  <c:v>33.807899999999997</c:v>
                </c:pt>
                <c:pt idx="7">
                  <c:v>31.170300000000001</c:v>
                </c:pt>
              </c:numCache>
            </c:numRef>
          </c:xVal>
          <c:yVal>
            <c:numRef>
              <c:f>Sheet1!$B$2:$B$9</c:f>
              <c:numCache>
                <c:formatCode>General</c:formatCode>
                <c:ptCount val="8"/>
                <c:pt idx="0">
                  <c:v>2.012</c:v>
                </c:pt>
                <c:pt idx="1">
                  <c:v>0.70899999999999996</c:v>
                </c:pt>
                <c:pt idx="2">
                  <c:v>1.4390000000000001</c:v>
                </c:pt>
                <c:pt idx="3">
                  <c:v>0.94199999999999995</c:v>
                </c:pt>
                <c:pt idx="4">
                  <c:v>1.3859999999999999</c:v>
                </c:pt>
                <c:pt idx="5">
                  <c:v>0.86899999999999999</c:v>
                </c:pt>
                <c:pt idx="6">
                  <c:v>0.96599999999999997</c:v>
                </c:pt>
                <c:pt idx="7">
                  <c:v>0.92600000000000005</c:v>
                </c:pt>
              </c:numCache>
            </c:numRef>
          </c:yVal>
          <c:bubbleSize>
            <c:numRef>
              <c:f>Sheet1!$C$2:$C$9</c:f>
              <c:numCache>
                <c:formatCode>General</c:formatCode>
                <c:ptCount val="8"/>
                <c:pt idx="0">
                  <c:v>2452284</c:v>
                </c:pt>
                <c:pt idx="1">
                  <c:v>1052215</c:v>
                </c:pt>
                <c:pt idx="2">
                  <c:v>800953</c:v>
                </c:pt>
                <c:pt idx="3">
                  <c:v>584730</c:v>
                </c:pt>
                <c:pt idx="4">
                  <c:v>451798</c:v>
                </c:pt>
                <c:pt idx="5">
                  <c:v>367569</c:v>
                </c:pt>
                <c:pt idx="6">
                  <c:v>360663</c:v>
                </c:pt>
                <c:pt idx="7">
                  <c:v>351009</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Heidsieck &amp; Co Monopole</c:v>
                  </c:pt>
                  <c:pt idx="6">
                    <c:v>Nicolas Feuillatt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12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71BA31-C8E7-4D29-984C-D4CDDCAD19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656971-1AD8-4112-AB3F-C001BCA664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50F383-53D3-4EA0-9C90-FB4061197D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ADCE73-E6D0-4A79-B06E-C7C4FE684D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CCA6F9-8D72-40DD-882B-301962813C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13179F-4EE0-49DE-9286-BB5AC629B7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30B67B-70EF-4ECB-81F1-CDCDD1B73A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EB3B11-4BE5-4A6C-96DD-CB06BBB2E7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111</c:v>
                </c:pt>
                <c:pt idx="1">
                  <c:v>31.078399999999998</c:v>
                </c:pt>
                <c:pt idx="2">
                  <c:v>26.736799999999999</c:v>
                </c:pt>
                <c:pt idx="3">
                  <c:v>24.309100000000001</c:v>
                </c:pt>
                <c:pt idx="4">
                  <c:v>18.720199999999998</c:v>
                </c:pt>
                <c:pt idx="5">
                  <c:v>69.356999999999999</c:v>
                </c:pt>
                <c:pt idx="6">
                  <c:v>41.793300000000002</c:v>
                </c:pt>
                <c:pt idx="7">
                  <c:v>23.585599999999999</c:v>
                </c:pt>
              </c:numCache>
            </c:numRef>
          </c:xVal>
          <c:yVal>
            <c:numRef>
              <c:f>Sheet1!$B$2:$B$9</c:f>
              <c:numCache>
                <c:formatCode>General</c:formatCode>
                <c:ptCount val="8"/>
                <c:pt idx="0">
                  <c:v>1.0429999999999999</c:v>
                </c:pt>
                <c:pt idx="1">
                  <c:v>1.4119999999999999</c:v>
                </c:pt>
                <c:pt idx="2">
                  <c:v>1.2110000000000001</c:v>
                </c:pt>
                <c:pt idx="3">
                  <c:v>1.038</c:v>
                </c:pt>
                <c:pt idx="4">
                  <c:v>0.28699999999999998</c:v>
                </c:pt>
                <c:pt idx="5">
                  <c:v>3.1949999999999998</c:v>
                </c:pt>
                <c:pt idx="6">
                  <c:v>1.88</c:v>
                </c:pt>
                <c:pt idx="7">
                  <c:v>1.1259999999999999</c:v>
                </c:pt>
              </c:numCache>
            </c:numRef>
          </c:yVal>
          <c:bubbleSize>
            <c:numRef>
              <c:f>Sheet1!$C$2:$C$9</c:f>
              <c:numCache>
                <c:formatCode>General</c:formatCode>
                <c:ptCount val="8"/>
                <c:pt idx="0">
                  <c:v>83416559</c:v>
                </c:pt>
                <c:pt idx="1">
                  <c:v>40272903</c:v>
                </c:pt>
                <c:pt idx="2">
                  <c:v>38917245</c:v>
                </c:pt>
                <c:pt idx="3">
                  <c:v>28145421</c:v>
                </c:pt>
                <c:pt idx="4">
                  <c:v>26885600</c:v>
                </c:pt>
                <c:pt idx="5">
                  <c:v>25463946</c:v>
                </c:pt>
                <c:pt idx="6">
                  <c:v>23810173</c:v>
                </c:pt>
                <c:pt idx="7">
                  <c:v>5693651</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anard Duchêne</c:v>
                  </c:pt>
                  <c:pt idx="3">
                    <c:v>Alfred De Rothschild</c:v>
                  </c:pt>
                  <c:pt idx="4">
                    <c:v>Charles Lafitte</c:v>
                  </c:pt>
                  <c:pt idx="5">
                    <c:v>Ruinart</c:v>
                  </c:pt>
                  <c:pt idx="6">
                    <c:v>Moët &amp; Chandon</c:v>
                  </c:pt>
                  <c:pt idx="7">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39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E8557F-258B-4C4B-9E19-8181FF702B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FE1ACD-3CDD-417D-B6FC-8B5A718785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787A1B-C9FE-420E-8A8B-CE03BA9E11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5E44FE-696E-4CCD-B194-AD23E9BEB5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6ECC23-B12A-4EF5-A4A8-99646C22AF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2A2C6F-54E4-434B-82A5-31C6F60478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24BECD-76D1-4019-8039-FA2033037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410762-A4BB-4CBB-BCBC-3208795CDE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43</c:v>
                </c:pt>
                <c:pt idx="1">
                  <c:v>23.652999999999999</c:v>
                </c:pt>
                <c:pt idx="2">
                  <c:v>49.904499999999999</c:v>
                </c:pt>
                <c:pt idx="3">
                  <c:v>52.704900000000002</c:v>
                </c:pt>
                <c:pt idx="4">
                  <c:v>31.571200000000001</c:v>
                </c:pt>
                <c:pt idx="5">
                  <c:v>32.979300000000002</c:v>
                </c:pt>
                <c:pt idx="6">
                  <c:v>29.282399999999999</c:v>
                </c:pt>
                <c:pt idx="7">
                  <c:v>78.368899999999996</c:v>
                </c:pt>
              </c:numCache>
            </c:numRef>
          </c:xVal>
          <c:yVal>
            <c:numRef>
              <c:f>Sheet1!$B$2:$B$9</c:f>
              <c:numCache>
                <c:formatCode>General</c:formatCode>
                <c:ptCount val="8"/>
                <c:pt idx="0">
                  <c:v>1.599</c:v>
                </c:pt>
                <c:pt idx="1">
                  <c:v>0.55000000000000004</c:v>
                </c:pt>
                <c:pt idx="2">
                  <c:v>1.131</c:v>
                </c:pt>
                <c:pt idx="3">
                  <c:v>1.0920000000000001</c:v>
                </c:pt>
                <c:pt idx="4">
                  <c:v>0.73099999999999998</c:v>
                </c:pt>
                <c:pt idx="5">
                  <c:v>0.746</c:v>
                </c:pt>
                <c:pt idx="6">
                  <c:v>0.67800000000000005</c:v>
                </c:pt>
                <c:pt idx="7">
                  <c:v>1.804</c:v>
                </c:pt>
              </c:numCache>
            </c:numRef>
          </c:yVal>
          <c:bubbleSize>
            <c:numRef>
              <c:f>Sheet1!$C$2:$C$9</c:f>
              <c:numCache>
                <c:formatCode>General</c:formatCode>
                <c:ptCount val="8"/>
                <c:pt idx="0">
                  <c:v>15694034</c:v>
                </c:pt>
                <c:pt idx="1">
                  <c:v>5705587</c:v>
                </c:pt>
                <c:pt idx="2">
                  <c:v>4988401</c:v>
                </c:pt>
                <c:pt idx="3">
                  <c:v>3290262</c:v>
                </c:pt>
                <c:pt idx="4">
                  <c:v>3234970</c:v>
                </c:pt>
                <c:pt idx="5">
                  <c:v>2270261</c:v>
                </c:pt>
                <c:pt idx="6">
                  <c:v>2092464</c:v>
                </c:pt>
                <c:pt idx="7">
                  <c:v>205028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7329DB3-D9C8-4C4A-91C0-02A464DA31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832B6D8-A15F-4CB1-91F6-1279790601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99E8F77-1B0A-4320-875E-212C46F0D6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52640F6-89C7-4705-8A20-A895D984F5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2A59CCA-4D7E-45D9-A25A-06B7DF9236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18EEE23-73A1-410B-A70A-58138D6785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4A9327C-6C57-4E91-8A96-EBE3032102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31987F0D-3474-4C95-A886-013588CA7E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527</c:v>
                </c:pt>
                <c:pt idx="1">
                  <c:v>12.753</c:v>
                </c:pt>
                <c:pt idx="2">
                  <c:v>17.365300000000001</c:v>
                </c:pt>
                <c:pt idx="3">
                  <c:v>9.0898000000000003</c:v>
                </c:pt>
                <c:pt idx="4">
                  <c:v>11.398199999999999</c:v>
                </c:pt>
                <c:pt idx="5">
                  <c:v>11.792999999999999</c:v>
                </c:pt>
                <c:pt idx="6">
                  <c:v>13.5303</c:v>
                </c:pt>
                <c:pt idx="7">
                  <c:v>5.7638999999999996</c:v>
                </c:pt>
              </c:numCache>
            </c:numRef>
          </c:xVal>
          <c:yVal>
            <c:numRef>
              <c:f>Sheet1!$B$2:$B$9</c:f>
              <c:numCache>
                <c:formatCode>General</c:formatCode>
                <c:ptCount val="8"/>
                <c:pt idx="0">
                  <c:v>1.0860000000000001</c:v>
                </c:pt>
                <c:pt idx="1">
                  <c:v>1.21</c:v>
                </c:pt>
                <c:pt idx="2">
                  <c:v>1.659</c:v>
                </c:pt>
                <c:pt idx="3">
                  <c:v>0.86199999999999999</c:v>
                </c:pt>
                <c:pt idx="4">
                  <c:v>1.081</c:v>
                </c:pt>
                <c:pt idx="5">
                  <c:v>1.069</c:v>
                </c:pt>
                <c:pt idx="6">
                  <c:v>1.284</c:v>
                </c:pt>
                <c:pt idx="7">
                  <c:v>0.54600000000000004</c:v>
                </c:pt>
              </c:numCache>
            </c:numRef>
          </c:yVal>
          <c:bubbleSize>
            <c:numRef>
              <c:f>Sheet1!$C$2:$C$9</c:f>
              <c:numCache>
                <c:formatCode>General</c:formatCode>
                <c:ptCount val="8"/>
                <c:pt idx="0">
                  <c:v>290933</c:v>
                </c:pt>
                <c:pt idx="1">
                  <c:v>231659</c:v>
                </c:pt>
                <c:pt idx="2">
                  <c:v>179505</c:v>
                </c:pt>
                <c:pt idx="3">
                  <c:v>172107</c:v>
                </c:pt>
                <c:pt idx="4">
                  <c:v>151528</c:v>
                </c:pt>
                <c:pt idx="5">
                  <c:v>144783</c:v>
                </c:pt>
                <c:pt idx="6">
                  <c:v>89327</c:v>
                </c:pt>
                <c:pt idx="7">
                  <c:v>47921</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Chateau Moncontour</c:v>
                  </c:pt>
                  <c:pt idx="5">
                    <c:v>Bouvet-Ladubay</c:v>
                  </c:pt>
                  <c:pt idx="6">
                    <c:v>De Chanceny</c:v>
                  </c:pt>
                  <c:pt idx="7">
                    <c:v>Krit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7FDF0C-16BD-4BB3-9548-7A543C180C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884413-A8B6-42A4-81C3-C82B3B2B64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ACA154-D42C-42FE-9D40-C07EE27B6F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57A74C-658B-49D7-ABAA-13BFC79F5B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F65A87-E183-4FA3-9F9E-B4F38795FE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35C3B85-B527-4F83-BCCF-064458B48D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8D26D98-B66E-40BD-855F-72D38854CB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C037DC-B270-48BC-9A2C-A04CE5D3AC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946400000000001</c:v>
                </c:pt>
                <c:pt idx="1">
                  <c:v>31.078299999999999</c:v>
                </c:pt>
                <c:pt idx="2">
                  <c:v>26.586600000000001</c:v>
                </c:pt>
                <c:pt idx="3">
                  <c:v>24.309100000000001</c:v>
                </c:pt>
                <c:pt idx="4">
                  <c:v>18.720199999999998</c:v>
                </c:pt>
                <c:pt idx="5">
                  <c:v>41.6464</c:v>
                </c:pt>
                <c:pt idx="6">
                  <c:v>28.857299999999999</c:v>
                </c:pt>
                <c:pt idx="7">
                  <c:v>28.788599999999999</c:v>
                </c:pt>
              </c:numCache>
            </c:numRef>
          </c:xVal>
          <c:yVal>
            <c:numRef>
              <c:f>Sheet1!$B$2:$B$9</c:f>
              <c:numCache>
                <c:formatCode>General</c:formatCode>
                <c:ptCount val="8"/>
                <c:pt idx="0">
                  <c:v>1.099</c:v>
                </c:pt>
                <c:pt idx="1">
                  <c:v>1.5009999999999999</c:v>
                </c:pt>
                <c:pt idx="2">
                  <c:v>1.2769999999999999</c:v>
                </c:pt>
                <c:pt idx="3">
                  <c:v>1.1040000000000001</c:v>
                </c:pt>
                <c:pt idx="4">
                  <c:v>0.30499999999999999</c:v>
                </c:pt>
                <c:pt idx="5">
                  <c:v>1.988</c:v>
                </c:pt>
                <c:pt idx="6">
                  <c:v>1.4419999999999999</c:v>
                </c:pt>
                <c:pt idx="7">
                  <c:v>1.3759999999999999</c:v>
                </c:pt>
              </c:numCache>
            </c:numRef>
          </c:yVal>
          <c:bubbleSize>
            <c:numRef>
              <c:f>Sheet1!$C$2:$C$9</c:f>
              <c:numCache>
                <c:formatCode>General</c:formatCode>
                <c:ptCount val="8"/>
                <c:pt idx="0">
                  <c:v>81150444</c:v>
                </c:pt>
                <c:pt idx="1">
                  <c:v>40272704</c:v>
                </c:pt>
                <c:pt idx="2">
                  <c:v>37152564</c:v>
                </c:pt>
                <c:pt idx="3">
                  <c:v>28145421</c:v>
                </c:pt>
                <c:pt idx="4">
                  <c:v>26885600</c:v>
                </c:pt>
                <c:pt idx="5">
                  <c:v>22739166</c:v>
                </c:pt>
                <c:pt idx="6">
                  <c:v>18912061</c:v>
                </c:pt>
                <c:pt idx="7">
                  <c:v>18082204</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anard Duchêne</c:v>
                  </c:pt>
                  <c:pt idx="3">
                    <c:v>Alfred De Rothschild</c:v>
                  </c:pt>
                  <c:pt idx="4">
                    <c:v>Charles Lafitte</c:v>
                  </c:pt>
                  <c:pt idx="5">
                    <c:v>Moët &amp; Chandon</c:v>
                  </c:pt>
                  <c:pt idx="6">
                    <c:v>Tsarine</c:v>
                  </c:pt>
                  <c:pt idx="7">
                    <c:v>Demoisel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A86E0E-93FB-4E7F-BF6E-B95CD1CCA3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745538-BDA1-4CDE-A8D1-C1C78CB67A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01DC5B-24E2-43EF-862C-EFDE6E352A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683EE7-A57E-4989-8D16-ECCB581504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16BE85-6CD3-4AA0-A6CA-B64CD13FBA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5CF9AE-5A9E-4F8A-85E3-F2584BA49A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FF2EF7-DB39-4843-9D85-2C6C3D5DA4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861AC4-56C2-4BAE-8CB8-6CAF4DC018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4298</c:v>
                </c:pt>
                <c:pt idx="1">
                  <c:v>23.6297</c:v>
                </c:pt>
                <c:pt idx="2">
                  <c:v>48.656399999999998</c:v>
                </c:pt>
                <c:pt idx="3">
                  <c:v>31.455500000000001</c:v>
                </c:pt>
                <c:pt idx="4">
                  <c:v>51.262500000000003</c:v>
                </c:pt>
                <c:pt idx="5">
                  <c:v>32.673000000000002</c:v>
                </c:pt>
                <c:pt idx="6">
                  <c:v>29.328600000000002</c:v>
                </c:pt>
                <c:pt idx="7">
                  <c:v>38.494</c:v>
                </c:pt>
              </c:numCache>
            </c:numRef>
          </c:xVal>
          <c:yVal>
            <c:numRef>
              <c:f>Sheet1!$B$2:$B$9</c:f>
              <c:numCache>
                <c:formatCode>General</c:formatCode>
                <c:ptCount val="8"/>
                <c:pt idx="0">
                  <c:v>1.6020000000000001</c:v>
                </c:pt>
                <c:pt idx="1">
                  <c:v>0.56899999999999995</c:v>
                </c:pt>
                <c:pt idx="2">
                  <c:v>1.157</c:v>
                </c:pt>
                <c:pt idx="3">
                  <c:v>0.753</c:v>
                </c:pt>
                <c:pt idx="4">
                  <c:v>1.1060000000000001</c:v>
                </c:pt>
                <c:pt idx="5">
                  <c:v>0.76900000000000002</c:v>
                </c:pt>
                <c:pt idx="6">
                  <c:v>0.70199999999999996</c:v>
                </c:pt>
                <c:pt idx="7">
                  <c:v>0.92100000000000004</c:v>
                </c:pt>
              </c:numCache>
            </c:numRef>
          </c:yVal>
          <c:bubbleSize>
            <c:numRef>
              <c:f>Sheet1!$C$2:$C$9</c:f>
              <c:numCache>
                <c:formatCode>General</c:formatCode>
                <c:ptCount val="8"/>
                <c:pt idx="0">
                  <c:v>5979133</c:v>
                </c:pt>
                <c:pt idx="1">
                  <c:v>2515244</c:v>
                </c:pt>
                <c:pt idx="2">
                  <c:v>2235322</c:v>
                </c:pt>
                <c:pt idx="3">
                  <c:v>1556133</c:v>
                </c:pt>
                <c:pt idx="4">
                  <c:v>1441809</c:v>
                </c:pt>
                <c:pt idx="5">
                  <c:v>1050176</c:v>
                </c:pt>
                <c:pt idx="6">
                  <c:v>1029785</c:v>
                </c:pt>
                <c:pt idx="7">
                  <c:v>92997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957C59-F575-4DC3-B65E-2931D9DDD9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A70DAE-90F6-4BB7-A9F9-D6D7E1A64B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1260CA-B970-4C09-9FB1-922ACD1349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1664CB-4E6E-41CF-B488-809175B5DF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348367-F5F1-4486-83FC-2B0BDCA30B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C09360-B48A-4FC9-8705-0681673898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530FA28-BE9C-4F9F-A77A-F41EED52E7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ECB427-52AF-4167-A05E-D81DAADB85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044300000000007</c:v>
                </c:pt>
                <c:pt idx="1">
                  <c:v>23.673100000000002</c:v>
                </c:pt>
                <c:pt idx="2">
                  <c:v>50.6248</c:v>
                </c:pt>
                <c:pt idx="3">
                  <c:v>31.541399999999999</c:v>
                </c:pt>
                <c:pt idx="4">
                  <c:v>52.898600000000002</c:v>
                </c:pt>
                <c:pt idx="5">
                  <c:v>33.237000000000002</c:v>
                </c:pt>
                <c:pt idx="6">
                  <c:v>30.649899999999999</c:v>
                </c:pt>
                <c:pt idx="7">
                  <c:v>30.5626</c:v>
                </c:pt>
              </c:numCache>
            </c:numRef>
          </c:xVal>
          <c:yVal>
            <c:numRef>
              <c:f>Sheet1!$B$2:$B$9</c:f>
              <c:numCache>
                <c:formatCode>General</c:formatCode>
                <c:ptCount val="8"/>
                <c:pt idx="0">
                  <c:v>1.65</c:v>
                </c:pt>
                <c:pt idx="1">
                  <c:v>0.56799999999999995</c:v>
                </c:pt>
                <c:pt idx="2">
                  <c:v>1.1679999999999999</c:v>
                </c:pt>
                <c:pt idx="3">
                  <c:v>0.755</c:v>
                </c:pt>
                <c:pt idx="4">
                  <c:v>1.117</c:v>
                </c:pt>
                <c:pt idx="5">
                  <c:v>0.76500000000000001</c:v>
                </c:pt>
                <c:pt idx="6">
                  <c:v>0.73299999999999998</c:v>
                </c:pt>
                <c:pt idx="7">
                  <c:v>0.74399999999999999</c:v>
                </c:pt>
              </c:numCache>
            </c:numRef>
          </c:yVal>
          <c:bubbleSize>
            <c:numRef>
              <c:f>Sheet1!$C$2:$C$9</c:f>
              <c:numCache>
                <c:formatCode>General</c:formatCode>
                <c:ptCount val="8"/>
                <c:pt idx="0">
                  <c:v>3181414</c:v>
                </c:pt>
                <c:pt idx="1">
                  <c:v>1250034</c:v>
                </c:pt>
                <c:pt idx="2">
                  <c:v>867406</c:v>
                </c:pt>
                <c:pt idx="3">
                  <c:v>661770</c:v>
                </c:pt>
                <c:pt idx="4">
                  <c:v>505869</c:v>
                </c:pt>
                <c:pt idx="5">
                  <c:v>426896</c:v>
                </c:pt>
                <c:pt idx="6">
                  <c:v>422417</c:v>
                </c:pt>
                <c:pt idx="7">
                  <c:v>41348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De Bligny</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81E040-A159-4A23-A057-628E09CB77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7B43EA-454D-42D5-8F1C-BD85145973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756725-EA46-48C1-A6AA-B27F0B5B1D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C55F90-D077-49D9-9EF1-7CD777D53C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B7CE42-3CB1-4CC9-8437-27BBD9610D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556A22-4AC8-4449-A84C-7F37FE37B5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4CD7D5C-9AAA-4D93-9D59-582ACED7BA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E743073-DD31-4E1E-9322-748FE96097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31900000000005</c:v>
                </c:pt>
                <c:pt idx="1">
                  <c:v>23.5243</c:v>
                </c:pt>
                <c:pt idx="2">
                  <c:v>50.431899999999999</c:v>
                </c:pt>
                <c:pt idx="3">
                  <c:v>53.389200000000002</c:v>
                </c:pt>
                <c:pt idx="4">
                  <c:v>31.674299999999999</c:v>
                </c:pt>
                <c:pt idx="5">
                  <c:v>83.896100000000004</c:v>
                </c:pt>
                <c:pt idx="6">
                  <c:v>33.087600000000002</c:v>
                </c:pt>
                <c:pt idx="7">
                  <c:v>56.0105</c:v>
                </c:pt>
              </c:numCache>
            </c:numRef>
          </c:xVal>
          <c:yVal>
            <c:numRef>
              <c:f>Sheet1!$B$2:$B$9</c:f>
              <c:numCache>
                <c:formatCode>General</c:formatCode>
                <c:ptCount val="8"/>
                <c:pt idx="0">
                  <c:v>1.552</c:v>
                </c:pt>
                <c:pt idx="1">
                  <c:v>0.52700000000000002</c:v>
                </c:pt>
                <c:pt idx="2">
                  <c:v>1.111</c:v>
                </c:pt>
                <c:pt idx="3">
                  <c:v>1.0760000000000001</c:v>
                </c:pt>
                <c:pt idx="4">
                  <c:v>0.70399999999999996</c:v>
                </c:pt>
                <c:pt idx="5">
                  <c:v>1.823</c:v>
                </c:pt>
                <c:pt idx="6">
                  <c:v>0.72699999999999998</c:v>
                </c:pt>
                <c:pt idx="7">
                  <c:v>1.1200000000000001</c:v>
                </c:pt>
              </c:numCache>
            </c:numRef>
          </c:yVal>
          <c:bubbleSize>
            <c:numRef>
              <c:f>Sheet1!$C$2:$C$9</c:f>
              <c:numCache>
                <c:formatCode>General</c:formatCode>
                <c:ptCount val="8"/>
                <c:pt idx="0">
                  <c:v>1828137</c:v>
                </c:pt>
                <c:pt idx="1">
                  <c:v>611372</c:v>
                </c:pt>
                <c:pt idx="2">
                  <c:v>586220</c:v>
                </c:pt>
                <c:pt idx="3">
                  <c:v>507304</c:v>
                </c:pt>
                <c:pt idx="4">
                  <c:v>355481</c:v>
                </c:pt>
                <c:pt idx="5">
                  <c:v>287512</c:v>
                </c:pt>
                <c:pt idx="6">
                  <c:v>286936</c:v>
                </c:pt>
                <c:pt idx="7">
                  <c:v>23916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2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AFD73D-DC47-4D0B-985B-6ABFF6A4EE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6B04BB-36BA-480D-B17E-A05877657B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9E4A8F-C7FD-46F7-8767-F856E92119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D77B3F-9361-4AAC-85F7-7976CB29E5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66519CF-6C67-4A61-9745-6B1AEB38D7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1A4E53-47B1-4115-A428-C628C43F4A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5D4806-3948-4000-B917-F75CA62CC1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6457DC-2D5A-4426-8BD1-DE3029F176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06999999999999</c:v>
                </c:pt>
                <c:pt idx="1">
                  <c:v>50.238399999999999</c:v>
                </c:pt>
                <c:pt idx="2">
                  <c:v>52.996000000000002</c:v>
                </c:pt>
                <c:pt idx="3">
                  <c:v>23.661899999999999</c:v>
                </c:pt>
                <c:pt idx="4">
                  <c:v>95.832400000000007</c:v>
                </c:pt>
                <c:pt idx="5">
                  <c:v>31.808399999999999</c:v>
                </c:pt>
                <c:pt idx="6">
                  <c:v>32.778799999999997</c:v>
                </c:pt>
                <c:pt idx="7">
                  <c:v>287.9796</c:v>
                </c:pt>
              </c:numCache>
            </c:numRef>
          </c:xVal>
          <c:yVal>
            <c:numRef>
              <c:f>Sheet1!$B$2:$B$9</c:f>
              <c:numCache>
                <c:formatCode>General</c:formatCode>
                <c:ptCount val="8"/>
                <c:pt idx="0">
                  <c:v>1.5149999999999999</c:v>
                </c:pt>
                <c:pt idx="1">
                  <c:v>1.006</c:v>
                </c:pt>
                <c:pt idx="2">
                  <c:v>0.98</c:v>
                </c:pt>
                <c:pt idx="3">
                  <c:v>0.48899999999999999</c:v>
                </c:pt>
                <c:pt idx="4">
                  <c:v>1.9430000000000001</c:v>
                </c:pt>
                <c:pt idx="5">
                  <c:v>0.65300000000000002</c:v>
                </c:pt>
                <c:pt idx="6">
                  <c:v>0.65900000000000003</c:v>
                </c:pt>
                <c:pt idx="7">
                  <c:v>5.758</c:v>
                </c:pt>
              </c:numCache>
            </c:numRef>
          </c:yVal>
          <c:bubbleSize>
            <c:numRef>
              <c:f>Sheet1!$C$2:$C$9</c:f>
              <c:numCache>
                <c:formatCode>General</c:formatCode>
                <c:ptCount val="8"/>
                <c:pt idx="0">
                  <c:v>1590547</c:v>
                </c:pt>
                <c:pt idx="1">
                  <c:v>430995</c:v>
                </c:pt>
                <c:pt idx="2">
                  <c:v>366626</c:v>
                </c:pt>
                <c:pt idx="3">
                  <c:v>343168</c:v>
                </c:pt>
                <c:pt idx="4">
                  <c:v>228081</c:v>
                </c:pt>
                <c:pt idx="5">
                  <c:v>210031</c:v>
                </c:pt>
                <c:pt idx="6">
                  <c:v>199000</c:v>
                </c:pt>
                <c:pt idx="7">
                  <c:v>18315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Roederer</c:v>
                  </c:pt>
                  <c:pt idx="5">
                    <c:v>Malard</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5.95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C2361B-5C34-4413-8BBF-B3744B4779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A1A7C4-813D-4BEC-AC15-A577FAC99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A1A4C3-F4EE-4586-99CF-6EBC630107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F757A8-4256-41C1-86D6-988E6CD041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B0B452-E433-4AAC-9464-02E15A562F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5AB6DB-0791-43CA-918B-825D87D4FC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769D2A-4E09-4F05-ABD9-4CD7EA8788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4BE91A-53F4-419E-9816-27453172FF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245000000000005</c:v>
                </c:pt>
                <c:pt idx="1">
                  <c:v>23.982600000000001</c:v>
                </c:pt>
                <c:pt idx="2">
                  <c:v>53.209800000000001</c:v>
                </c:pt>
                <c:pt idx="3">
                  <c:v>31.915800000000001</c:v>
                </c:pt>
                <c:pt idx="4">
                  <c:v>56.263100000000001</c:v>
                </c:pt>
                <c:pt idx="5">
                  <c:v>33.282400000000003</c:v>
                </c:pt>
                <c:pt idx="6">
                  <c:v>58.168599999999998</c:v>
                </c:pt>
                <c:pt idx="7">
                  <c:v>74.187700000000007</c:v>
                </c:pt>
              </c:numCache>
            </c:numRef>
          </c:xVal>
          <c:yVal>
            <c:numRef>
              <c:f>Sheet1!$B$2:$B$9</c:f>
              <c:numCache>
                <c:formatCode>General</c:formatCode>
                <c:ptCount val="8"/>
                <c:pt idx="0">
                  <c:v>1.5389999999999999</c:v>
                </c:pt>
                <c:pt idx="1">
                  <c:v>0.50800000000000001</c:v>
                </c:pt>
                <c:pt idx="2">
                  <c:v>1.0760000000000001</c:v>
                </c:pt>
                <c:pt idx="3">
                  <c:v>0.67700000000000005</c:v>
                </c:pt>
                <c:pt idx="4">
                  <c:v>1.022</c:v>
                </c:pt>
                <c:pt idx="5">
                  <c:v>0.68799999999999994</c:v>
                </c:pt>
                <c:pt idx="6">
                  <c:v>1.0229999999999999</c:v>
                </c:pt>
                <c:pt idx="7">
                  <c:v>1.524</c:v>
                </c:pt>
              </c:numCache>
            </c:numRef>
          </c:yVal>
          <c:bubbleSize>
            <c:numRef>
              <c:f>Sheet1!$C$2:$C$9</c:f>
              <c:numCache>
                <c:formatCode>General</c:formatCode>
                <c:ptCount val="8"/>
                <c:pt idx="0">
                  <c:v>1098847</c:v>
                </c:pt>
                <c:pt idx="1">
                  <c:v>246085</c:v>
                </c:pt>
                <c:pt idx="2">
                  <c:v>239125</c:v>
                </c:pt>
                <c:pt idx="3">
                  <c:v>135355</c:v>
                </c:pt>
                <c:pt idx="4">
                  <c:v>127436</c:v>
                </c:pt>
                <c:pt idx="5">
                  <c:v>107702</c:v>
                </c:pt>
                <c:pt idx="6">
                  <c:v>98654</c:v>
                </c:pt>
                <c:pt idx="7">
                  <c:v>9800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Taittinger</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3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C4289B-EEEA-4690-8C7F-23B89CAA0E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676F63-6E24-4643-8302-FF5A9C1EB7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7168F1-F689-4733-AF6C-82CDA57918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7637EB-5923-482F-9D1D-A722784F61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7A8F91-7642-457E-98E0-8EAF04E24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7CC65D-9B3D-4170-9F6C-973DDD8A2F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771353-D1F5-4BD7-9A8A-BBC6E95F64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3A9232-602C-4A99-8359-AEA0FBB44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32299999999995</c:v>
                </c:pt>
                <c:pt idx="1">
                  <c:v>23.5748</c:v>
                </c:pt>
                <c:pt idx="2">
                  <c:v>49.180500000000002</c:v>
                </c:pt>
                <c:pt idx="3">
                  <c:v>51.747599999999998</c:v>
                </c:pt>
                <c:pt idx="4">
                  <c:v>31.525200000000002</c:v>
                </c:pt>
                <c:pt idx="5">
                  <c:v>32.7211</c:v>
                </c:pt>
                <c:pt idx="6">
                  <c:v>79.0989</c:v>
                </c:pt>
                <c:pt idx="7">
                  <c:v>29.301100000000002</c:v>
                </c:pt>
              </c:numCache>
            </c:numRef>
          </c:xVal>
          <c:yVal>
            <c:numRef>
              <c:f>Sheet1!$B$2:$B$9</c:f>
              <c:numCache>
                <c:formatCode>General</c:formatCode>
                <c:ptCount val="8"/>
                <c:pt idx="0">
                  <c:v>1.591</c:v>
                </c:pt>
                <c:pt idx="1">
                  <c:v>0.54900000000000004</c:v>
                </c:pt>
                <c:pt idx="2">
                  <c:v>1.1259999999999999</c:v>
                </c:pt>
                <c:pt idx="3">
                  <c:v>1.0820000000000001</c:v>
                </c:pt>
                <c:pt idx="4">
                  <c:v>0.72899999999999998</c:v>
                </c:pt>
                <c:pt idx="5">
                  <c:v>0.74199999999999999</c:v>
                </c:pt>
                <c:pt idx="6">
                  <c:v>1.8560000000000001</c:v>
                </c:pt>
                <c:pt idx="7">
                  <c:v>0.67700000000000005</c:v>
                </c:pt>
              </c:numCache>
            </c:numRef>
          </c:yVal>
          <c:bubbleSize>
            <c:numRef>
              <c:f>Sheet1!$C$2:$C$9</c:f>
              <c:numCache>
                <c:formatCode>General</c:formatCode>
                <c:ptCount val="8"/>
                <c:pt idx="0">
                  <c:v>10761127</c:v>
                </c:pt>
                <c:pt idx="1">
                  <c:v>3788985</c:v>
                </c:pt>
                <c:pt idx="2">
                  <c:v>3461768</c:v>
                </c:pt>
                <c:pt idx="3">
                  <c:v>2407818</c:v>
                </c:pt>
                <c:pt idx="4">
                  <c:v>2351274</c:v>
                </c:pt>
                <c:pt idx="5">
                  <c:v>1672046</c:v>
                </c:pt>
                <c:pt idx="6">
                  <c:v>1436753</c:v>
                </c:pt>
                <c:pt idx="7">
                  <c:v>13914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Roederer</c:v>
                  </c:pt>
                  <c:pt idx="7">
                    <c:v>Heidsieck &amp; Co Monopo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5"/>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28D8FF-4F98-4FB4-BE39-DCE43B1497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FE9AE8-DFFC-4F8B-8472-0085346203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E20F5C-ABA9-4F8B-BDCA-2C48C3CAE2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2E8612-4F01-4E19-B47C-F99F69BFA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BE5423-743C-4097-B2E2-848FB93909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708314-6907-4DCD-A7E4-3716F1277E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63732A-5C67-4483-B4F4-33470F4511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832614-1FB2-43F8-8255-402C90F1D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902299999999997</c:v>
                </c:pt>
                <c:pt idx="1">
                  <c:v>23.632999999999999</c:v>
                </c:pt>
                <c:pt idx="2">
                  <c:v>51.113900000000001</c:v>
                </c:pt>
                <c:pt idx="3">
                  <c:v>54.3947</c:v>
                </c:pt>
                <c:pt idx="4">
                  <c:v>84.752200000000002</c:v>
                </c:pt>
                <c:pt idx="5">
                  <c:v>29.332599999999999</c:v>
                </c:pt>
                <c:pt idx="6">
                  <c:v>31.468499999999999</c:v>
                </c:pt>
                <c:pt idx="7">
                  <c:v>273.90089999999998</c:v>
                </c:pt>
              </c:numCache>
            </c:numRef>
          </c:xVal>
          <c:yVal>
            <c:numRef>
              <c:f>Sheet1!$B$2:$B$9</c:f>
              <c:numCache>
                <c:formatCode>General</c:formatCode>
                <c:ptCount val="8"/>
                <c:pt idx="0">
                  <c:v>1.5569999999999999</c:v>
                </c:pt>
                <c:pt idx="1">
                  <c:v>0.51700000000000002</c:v>
                </c:pt>
                <c:pt idx="2">
                  <c:v>1.0720000000000001</c:v>
                </c:pt>
                <c:pt idx="3">
                  <c:v>1.073</c:v>
                </c:pt>
                <c:pt idx="4">
                  <c:v>1.726</c:v>
                </c:pt>
                <c:pt idx="5">
                  <c:v>0.64400000000000002</c:v>
                </c:pt>
                <c:pt idx="6">
                  <c:v>0.69099999999999995</c:v>
                </c:pt>
                <c:pt idx="7">
                  <c:v>5.7939999999999996</c:v>
                </c:pt>
              </c:numCache>
            </c:numRef>
          </c:yVal>
          <c:bubbleSize>
            <c:numRef>
              <c:f>Sheet1!$C$2:$C$9</c:f>
              <c:numCache>
                <c:formatCode>General</c:formatCode>
                <c:ptCount val="8"/>
                <c:pt idx="0">
                  <c:v>1905667</c:v>
                </c:pt>
                <c:pt idx="1">
                  <c:v>630859</c:v>
                </c:pt>
                <c:pt idx="2">
                  <c:v>491358</c:v>
                </c:pt>
                <c:pt idx="3">
                  <c:v>344699</c:v>
                </c:pt>
                <c:pt idx="4">
                  <c:v>234933</c:v>
                </c:pt>
                <c:pt idx="5">
                  <c:v>217736</c:v>
                </c:pt>
                <c:pt idx="6">
                  <c:v>211311</c:v>
                </c:pt>
                <c:pt idx="7">
                  <c:v>18789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Roederer</c:v>
                  </c:pt>
                  <c:pt idx="5">
                    <c:v>Heidsieck &amp; Co Monopole</c:v>
                  </c:pt>
                  <c:pt idx="6">
                    <c:v>Malard</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5.993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4C2D69-5256-4EB4-9539-DAC6E3468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62A8DE-92A1-4D3F-863B-862916BCB3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8FB4F3-4298-44E6-87FC-7660A82ABB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2B8D69-C3D7-43EE-9153-B104E5C906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AFDFC8-9C6F-4A15-B497-E9F68B33E9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9639D9-C6A4-4B49-9EEE-62310D15FF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8E4156-11F1-44E7-A2BA-4A1971E615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2FB45D-E8EC-4BF9-8417-E7200150D3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778700000000001</c:v>
                </c:pt>
                <c:pt idx="1">
                  <c:v>51.711100000000002</c:v>
                </c:pt>
                <c:pt idx="2">
                  <c:v>24.7149</c:v>
                </c:pt>
                <c:pt idx="3">
                  <c:v>31.674600000000002</c:v>
                </c:pt>
                <c:pt idx="4">
                  <c:v>56.167200000000001</c:v>
                </c:pt>
                <c:pt idx="5">
                  <c:v>29.235499999999998</c:v>
                </c:pt>
                <c:pt idx="6">
                  <c:v>56.559800000000003</c:v>
                </c:pt>
                <c:pt idx="7">
                  <c:v>34.003700000000002</c:v>
                </c:pt>
              </c:numCache>
            </c:numRef>
          </c:xVal>
          <c:yVal>
            <c:numRef>
              <c:f>Sheet1!$B$2:$B$9</c:f>
              <c:numCache>
                <c:formatCode>General</c:formatCode>
                <c:ptCount val="8"/>
                <c:pt idx="0">
                  <c:v>1.5740000000000001</c:v>
                </c:pt>
                <c:pt idx="1">
                  <c:v>1.115</c:v>
                </c:pt>
                <c:pt idx="2">
                  <c:v>0.55700000000000005</c:v>
                </c:pt>
                <c:pt idx="3">
                  <c:v>0.71699999999999997</c:v>
                </c:pt>
                <c:pt idx="4">
                  <c:v>1.081</c:v>
                </c:pt>
                <c:pt idx="5">
                  <c:v>0.66300000000000003</c:v>
                </c:pt>
                <c:pt idx="6">
                  <c:v>1.0740000000000001</c:v>
                </c:pt>
                <c:pt idx="7">
                  <c:v>0.746</c:v>
                </c:pt>
              </c:numCache>
            </c:numRef>
          </c:yVal>
          <c:bubbleSize>
            <c:numRef>
              <c:f>Sheet1!$C$2:$C$9</c:f>
              <c:numCache>
                <c:formatCode>General</c:formatCode>
                <c:ptCount val="8"/>
                <c:pt idx="0">
                  <c:v>878434</c:v>
                </c:pt>
                <c:pt idx="1">
                  <c:v>324746</c:v>
                </c:pt>
                <c:pt idx="2">
                  <c:v>279303</c:v>
                </c:pt>
                <c:pt idx="3">
                  <c:v>176681</c:v>
                </c:pt>
                <c:pt idx="4">
                  <c:v>160863</c:v>
                </c:pt>
                <c:pt idx="5">
                  <c:v>125888</c:v>
                </c:pt>
                <c:pt idx="6">
                  <c:v>122961</c:v>
                </c:pt>
                <c:pt idx="7">
                  <c:v>12084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Malard</c:v>
                  </c:pt>
                  <c:pt idx="4">
                    <c:v>Laurent Perrier</c:v>
                  </c:pt>
                  <c:pt idx="5">
                    <c:v>Heidsieck &amp; Co Monopole</c:v>
                  </c:pt>
                  <c:pt idx="6">
                    <c:v>Taittinger</c:v>
                  </c:pt>
                  <c:pt idx="7">
                    <c:v>Nicolas Feuilla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7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CE8584-1CC4-4F84-98E9-B3D8A4451F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660441-FDF5-406C-86D8-76CBE679DC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A14E82-C33D-44EB-B72C-E8252E51B8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7E90C3-D5A5-4A97-99F0-5EA138AC08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F941FD-128A-4F33-8A9A-F89E16CC5C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8082B09-A800-497C-A846-6864441B54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575C25-2EA6-4DDB-98A9-7DB71FB92B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7DAF0A-2527-4810-90EA-6BBC500674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6399999999994</c:v>
                </c:pt>
                <c:pt idx="1">
                  <c:v>23.107299999999999</c:v>
                </c:pt>
                <c:pt idx="2">
                  <c:v>50.8294</c:v>
                </c:pt>
                <c:pt idx="3">
                  <c:v>31.597000000000001</c:v>
                </c:pt>
                <c:pt idx="4">
                  <c:v>29.059000000000001</c:v>
                </c:pt>
                <c:pt idx="5">
                  <c:v>39.901000000000003</c:v>
                </c:pt>
                <c:pt idx="6">
                  <c:v>30.6097</c:v>
                </c:pt>
                <c:pt idx="7">
                  <c:v>58.011600000000001</c:v>
                </c:pt>
              </c:numCache>
            </c:numRef>
          </c:xVal>
          <c:yVal>
            <c:numRef>
              <c:f>Sheet1!$B$2:$B$9</c:f>
              <c:numCache>
                <c:formatCode>General</c:formatCode>
                <c:ptCount val="8"/>
                <c:pt idx="0">
                  <c:v>1.673</c:v>
                </c:pt>
                <c:pt idx="1">
                  <c:v>0.56699999999999995</c:v>
                </c:pt>
                <c:pt idx="2">
                  <c:v>1.204</c:v>
                </c:pt>
                <c:pt idx="3">
                  <c:v>0.77300000000000002</c:v>
                </c:pt>
                <c:pt idx="4">
                  <c:v>0.71799999999999997</c:v>
                </c:pt>
                <c:pt idx="5">
                  <c:v>0.97699999999999998</c:v>
                </c:pt>
                <c:pt idx="6">
                  <c:v>0.75</c:v>
                </c:pt>
                <c:pt idx="7">
                  <c:v>1.208</c:v>
                </c:pt>
              </c:numCache>
            </c:numRef>
          </c:yVal>
          <c:bubbleSize>
            <c:numRef>
              <c:f>Sheet1!$C$2:$C$9</c:f>
              <c:numCache>
                <c:formatCode>General</c:formatCode>
                <c:ptCount val="8"/>
                <c:pt idx="0">
                  <c:v>395087</c:v>
                </c:pt>
                <c:pt idx="1">
                  <c:v>216631</c:v>
                </c:pt>
                <c:pt idx="2">
                  <c:v>169872</c:v>
                </c:pt>
                <c:pt idx="3">
                  <c:v>95486</c:v>
                </c:pt>
                <c:pt idx="4">
                  <c:v>91042</c:v>
                </c:pt>
                <c:pt idx="5">
                  <c:v>73338</c:v>
                </c:pt>
                <c:pt idx="6">
                  <c:v>71290</c:v>
                </c:pt>
                <c:pt idx="7">
                  <c:v>699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Heidsieck &amp; Co Monopole</c:v>
                  </c:pt>
                  <c:pt idx="5">
                    <c:v>Ayala</c:v>
                  </c:pt>
                  <c:pt idx="6">
                    <c:v>De Bligny</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9FAFF9-5061-456F-B843-B74E7B61E4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AFCF3B-884B-47F9-B9B5-76C57C0461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CD118E-02E5-4224-A496-F67AEB77E6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430D43-C3F4-41AC-B6E6-58E940C203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9CBA29C-415C-4A6D-BA1D-71DCB90150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06F6C4-7D1B-4940-8ACB-A132FF555E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A8B9CA-D360-41F9-98CD-692473D058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3E4BC0-20E2-4D79-9573-CB31D75E33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177999999999997</c:v>
                </c:pt>
                <c:pt idx="1">
                  <c:v>24.946400000000001</c:v>
                </c:pt>
                <c:pt idx="2">
                  <c:v>31.078299999999999</c:v>
                </c:pt>
                <c:pt idx="3">
                  <c:v>4.2683</c:v>
                </c:pt>
                <c:pt idx="4">
                  <c:v>26.586600000000001</c:v>
                </c:pt>
                <c:pt idx="5">
                  <c:v>5.8342000000000001</c:v>
                </c:pt>
                <c:pt idx="6">
                  <c:v>7.1054000000000004</c:v>
                </c:pt>
                <c:pt idx="7">
                  <c:v>24.309100000000001</c:v>
                </c:pt>
              </c:numCache>
            </c:numRef>
          </c:xVal>
          <c:yVal>
            <c:numRef>
              <c:f>Sheet1!$B$2:$B$9</c:f>
              <c:numCache>
                <c:formatCode>General</c:formatCode>
                <c:ptCount val="8"/>
                <c:pt idx="0">
                  <c:v>0.70499999999999996</c:v>
                </c:pt>
                <c:pt idx="1">
                  <c:v>3.5939999999999999</c:v>
                </c:pt>
                <c:pt idx="2">
                  <c:v>4.9089999999999998</c:v>
                </c:pt>
                <c:pt idx="3">
                  <c:v>0.24299999999999999</c:v>
                </c:pt>
                <c:pt idx="4">
                  <c:v>4.1760000000000002</c:v>
                </c:pt>
                <c:pt idx="5">
                  <c:v>0.81599999999999995</c:v>
                </c:pt>
                <c:pt idx="6">
                  <c:v>0.82899999999999996</c:v>
                </c:pt>
                <c:pt idx="7">
                  <c:v>3.61</c:v>
                </c:pt>
              </c:numCache>
            </c:numRef>
          </c:yVal>
          <c:bubbleSize>
            <c:numRef>
              <c:f>Sheet1!$C$2:$C$9</c:f>
              <c:numCache>
                <c:formatCode>General</c:formatCode>
                <c:ptCount val="8"/>
                <c:pt idx="0">
                  <c:v>135378958</c:v>
                </c:pt>
                <c:pt idx="1">
                  <c:v>81150444</c:v>
                </c:pt>
                <c:pt idx="2">
                  <c:v>40272704</c:v>
                </c:pt>
                <c:pt idx="3">
                  <c:v>39552397</c:v>
                </c:pt>
                <c:pt idx="4">
                  <c:v>37152564</c:v>
                </c:pt>
                <c:pt idx="5">
                  <c:v>35427059</c:v>
                </c:pt>
                <c:pt idx="6">
                  <c:v>32603771</c:v>
                </c:pt>
                <c:pt idx="7">
                  <c:v>28145421</c:v>
                </c:pt>
              </c:numCache>
            </c:numRef>
          </c:bubbleSize>
          <c:bubble3D val="0"/>
          <c:extLst>
            <c:ext xmlns:c15="http://schemas.microsoft.com/office/drawing/2012/chart" uri="{02D57815-91ED-43cb-92C2-25804820EDAC}">
              <c15:datalabelsRange>
                <c15:f>Sheet1!$E$2:$E$10</c15:f>
                <c15:dlblRangeCache>
                  <c:ptCount val="9"/>
                  <c:pt idx="0">
                    <c:v>Mdd</c:v>
                  </c:pt>
                  <c:pt idx="1">
                    <c:v>Nicolas Feuillatte</c:v>
                  </c:pt>
                  <c:pt idx="2">
                    <c:v>Mumm</c:v>
                  </c:pt>
                  <c:pt idx="3">
                    <c:v>Charles Volner</c:v>
                  </c:pt>
                  <c:pt idx="4">
                    <c:v>Canard Duchêne</c:v>
                  </c:pt>
                  <c:pt idx="5">
                    <c:v>Freixenet</c:v>
                  </c:pt>
                  <c:pt idx="6">
                    <c:v>Wolfberger</c:v>
                  </c:pt>
                  <c:pt idx="7">
                    <c:v>Alfred De Rothschi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C0C3588-778C-4516-B7A8-E8927F875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1A89387-FFF1-4EBB-93D6-521FEA670D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DE4CC3D-2399-4CF3-B646-90C282A455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D0EC4E82-5AA5-4E15-BF9F-F00E651CCE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2FFDC77-F92D-4FFE-9B5D-2628137217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408AD5FA-C98D-4C04-B56C-4A7CBFB634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1B77133-BB0A-4BF5-8992-6088FFC5F5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9FB17DB-0A2E-4941-8E40-8AF3F44BB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26399999999999</c:v>
                </c:pt>
                <c:pt idx="1">
                  <c:v>11.3819</c:v>
                </c:pt>
              </c:numCache>
            </c:numRef>
          </c:xVal>
          <c:yVal>
            <c:numRef>
              <c:f>Sheet1!$B$2:$B$3</c:f>
              <c:numCache>
                <c:formatCode>General</c:formatCode>
                <c:ptCount val="2"/>
                <c:pt idx="0">
                  <c:v>1.68</c:v>
                </c:pt>
                <c:pt idx="1">
                  <c:v>0.65900000000000003</c:v>
                </c:pt>
              </c:numCache>
            </c:numRef>
          </c:yVal>
          <c:bubbleSize>
            <c:numRef>
              <c:f>Sheet1!$C$2:$C$3</c:f>
              <c:numCache>
                <c:formatCode>General</c:formatCode>
                <c:ptCount val="2"/>
                <c:pt idx="0">
                  <c:v>159529</c:v>
                </c:pt>
                <c:pt idx="1">
                  <c:v>109528</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D17AE8-C4EC-4820-8717-8DDF270D4F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57BA73-8593-4FC4-9065-252A278F13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B20D37-9A42-465D-BB64-BE4D1B27B4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38C309-55AE-4863-BDEC-710E54F50A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93A964-2197-4A28-AE0D-6CC0D10F02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844F46-3D03-4C53-8093-08B901CED8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C6AA32-848D-449A-BD25-621CA29563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133D6A1-EA34-425D-824E-4F0863CAA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2499999999997</c:v>
                </c:pt>
                <c:pt idx="1">
                  <c:v>23.236599999999999</c:v>
                </c:pt>
                <c:pt idx="2">
                  <c:v>52.527299999999997</c:v>
                </c:pt>
                <c:pt idx="3">
                  <c:v>32.034199999999998</c:v>
                </c:pt>
                <c:pt idx="4">
                  <c:v>55.900500000000001</c:v>
                </c:pt>
                <c:pt idx="5">
                  <c:v>70.223500000000001</c:v>
                </c:pt>
                <c:pt idx="6">
                  <c:v>34.026000000000003</c:v>
                </c:pt>
                <c:pt idx="7">
                  <c:v>40.881700000000002</c:v>
                </c:pt>
              </c:numCache>
            </c:numRef>
          </c:xVal>
          <c:yVal>
            <c:numRef>
              <c:f>Sheet1!$B$2:$B$9</c:f>
              <c:numCache>
                <c:formatCode>General</c:formatCode>
                <c:ptCount val="8"/>
                <c:pt idx="0">
                  <c:v>1.6930000000000001</c:v>
                </c:pt>
                <c:pt idx="1">
                  <c:v>0.57899999999999996</c:v>
                </c:pt>
                <c:pt idx="2">
                  <c:v>1.266</c:v>
                </c:pt>
                <c:pt idx="3">
                  <c:v>0.79800000000000004</c:v>
                </c:pt>
                <c:pt idx="4">
                  <c:v>1.1919999999999999</c:v>
                </c:pt>
                <c:pt idx="5">
                  <c:v>1.6040000000000001</c:v>
                </c:pt>
                <c:pt idx="6">
                  <c:v>0.84699999999999998</c:v>
                </c:pt>
                <c:pt idx="7">
                  <c:v>1.012</c:v>
                </c:pt>
              </c:numCache>
            </c:numRef>
          </c:yVal>
          <c:bubbleSize>
            <c:numRef>
              <c:f>Sheet1!$C$2:$C$9</c:f>
              <c:numCache>
                <c:formatCode>General</c:formatCode>
                <c:ptCount val="8"/>
                <c:pt idx="0">
                  <c:v>300199</c:v>
                </c:pt>
                <c:pt idx="1">
                  <c:v>152037</c:v>
                </c:pt>
                <c:pt idx="2">
                  <c:v>101798</c:v>
                </c:pt>
                <c:pt idx="3">
                  <c:v>71244</c:v>
                </c:pt>
                <c:pt idx="4">
                  <c:v>66298</c:v>
                </c:pt>
                <c:pt idx="5">
                  <c:v>50280</c:v>
                </c:pt>
                <c:pt idx="6">
                  <c:v>49678</c:v>
                </c:pt>
                <c:pt idx="7">
                  <c:v>4942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Bollinger</c:v>
                  </c:pt>
                  <c:pt idx="6">
                    <c:v>Canard Duchên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5DD6AB-A25F-4E40-B953-512DB773C9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9E743D-8E2D-44E8-AD8C-D98F7435DB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63E9E3-6A11-4F39-83E5-E2C2A22459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C3E7D2-F6E9-40B7-93F4-FFF75DA887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816940-CFA0-4935-A0A5-AD9DE667DD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C97048-0B5D-41EA-88E8-3F6FB17B08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C5284E-8DA3-4158-A045-827CC34544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6FC7F6-129E-4B3D-9EE1-8F375C1AC0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09699999999998</c:v>
                </c:pt>
                <c:pt idx="1">
                  <c:v>23.626300000000001</c:v>
                </c:pt>
                <c:pt idx="2">
                  <c:v>50.448099999999997</c:v>
                </c:pt>
                <c:pt idx="3">
                  <c:v>53.660699999999999</c:v>
                </c:pt>
                <c:pt idx="4">
                  <c:v>31.505700000000001</c:v>
                </c:pt>
                <c:pt idx="5">
                  <c:v>88.677499999999995</c:v>
                </c:pt>
                <c:pt idx="6">
                  <c:v>32.752200000000002</c:v>
                </c:pt>
                <c:pt idx="7">
                  <c:v>291.98700000000002</c:v>
                </c:pt>
              </c:numCache>
            </c:numRef>
          </c:xVal>
          <c:yVal>
            <c:numRef>
              <c:f>Sheet1!$B$2:$B$9</c:f>
              <c:numCache>
                <c:formatCode>General</c:formatCode>
                <c:ptCount val="8"/>
                <c:pt idx="0">
                  <c:v>1.5509999999999999</c:v>
                </c:pt>
                <c:pt idx="1">
                  <c:v>0.51600000000000001</c:v>
                </c:pt>
                <c:pt idx="2">
                  <c:v>1.08</c:v>
                </c:pt>
                <c:pt idx="3">
                  <c:v>1.0529999999999999</c:v>
                </c:pt>
                <c:pt idx="4">
                  <c:v>0.68600000000000005</c:v>
                </c:pt>
                <c:pt idx="5">
                  <c:v>1.9419999999999999</c:v>
                </c:pt>
                <c:pt idx="6">
                  <c:v>0.70499999999999996</c:v>
                </c:pt>
                <c:pt idx="7">
                  <c:v>6.2690000000000001</c:v>
                </c:pt>
              </c:numCache>
            </c:numRef>
          </c:yVal>
          <c:bubbleSize>
            <c:numRef>
              <c:f>Sheet1!$C$2:$C$9</c:f>
              <c:numCache>
                <c:formatCode>General</c:formatCode>
                <c:ptCount val="8"/>
                <c:pt idx="0">
                  <c:v>4907450</c:v>
                </c:pt>
                <c:pt idx="1">
                  <c:v>1463201</c:v>
                </c:pt>
                <c:pt idx="2">
                  <c:v>1419306</c:v>
                </c:pt>
                <c:pt idx="3">
                  <c:v>1119576</c:v>
                </c:pt>
                <c:pt idx="4">
                  <c:v>828914</c:v>
                </c:pt>
                <c:pt idx="5">
                  <c:v>791269</c:v>
                </c:pt>
                <c:pt idx="6">
                  <c:v>634868</c:v>
                </c:pt>
                <c:pt idx="7">
                  <c:v>58572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6.46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235C77-DE21-475C-AF7A-AF95075485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4AAAED-156E-420B-AB3F-468E745E1D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0B8B35-E584-46CA-9A42-4771D40CF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CE3D81-A2BC-4DEF-9C53-0F520E790F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C182D9-1040-4F0B-958A-854CA04367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742FFE-C447-4B41-BEFB-E6373AED40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4DC6BA-C27B-468D-B740-6EEAF3FF4B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E64F1E-970A-4A7F-A0CF-6DEE157A81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133499999999998</c:v>
                </c:pt>
                <c:pt idx="1">
                  <c:v>23.392900000000001</c:v>
                </c:pt>
                <c:pt idx="2">
                  <c:v>48.761299999999999</c:v>
                </c:pt>
                <c:pt idx="3">
                  <c:v>51.302199999999999</c:v>
                </c:pt>
                <c:pt idx="4">
                  <c:v>31.512499999999999</c:v>
                </c:pt>
                <c:pt idx="5">
                  <c:v>32.631799999999998</c:v>
                </c:pt>
                <c:pt idx="6">
                  <c:v>29.2836</c:v>
                </c:pt>
                <c:pt idx="7">
                  <c:v>71.167199999999994</c:v>
                </c:pt>
              </c:numCache>
            </c:numRef>
          </c:xVal>
          <c:yVal>
            <c:numRef>
              <c:f>Sheet1!$B$2:$B$9</c:f>
              <c:numCache>
                <c:formatCode>General</c:formatCode>
                <c:ptCount val="8"/>
                <c:pt idx="0">
                  <c:v>1.595</c:v>
                </c:pt>
                <c:pt idx="1">
                  <c:v>0.55700000000000005</c:v>
                </c:pt>
                <c:pt idx="2">
                  <c:v>1.1419999999999999</c:v>
                </c:pt>
                <c:pt idx="3">
                  <c:v>1.097</c:v>
                </c:pt>
                <c:pt idx="4">
                  <c:v>0.747</c:v>
                </c:pt>
                <c:pt idx="5">
                  <c:v>0.76100000000000001</c:v>
                </c:pt>
                <c:pt idx="6">
                  <c:v>0.69299999999999995</c:v>
                </c:pt>
                <c:pt idx="7">
                  <c:v>1.6910000000000001</c:v>
                </c:pt>
              </c:numCache>
            </c:numRef>
          </c:yVal>
          <c:bubbleSize>
            <c:numRef>
              <c:f>Sheet1!$C$2:$C$9</c:f>
              <c:numCache>
                <c:formatCode>General</c:formatCode>
                <c:ptCount val="8"/>
                <c:pt idx="0">
                  <c:v>2147840</c:v>
                </c:pt>
                <c:pt idx="1">
                  <c:v>849490</c:v>
                </c:pt>
                <c:pt idx="2">
                  <c:v>757750</c:v>
                </c:pt>
                <c:pt idx="3">
                  <c:v>524411</c:v>
                </c:pt>
                <c:pt idx="4">
                  <c:v>464085</c:v>
                </c:pt>
                <c:pt idx="5">
                  <c:v>324491</c:v>
                </c:pt>
                <c:pt idx="6">
                  <c:v>304491</c:v>
                </c:pt>
                <c:pt idx="7">
                  <c:v>28132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BFCC11-4360-4230-9A2E-5969CCECB1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8DD275-1D18-47C3-901D-A37A2178E1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66B60C-CA43-499D-B7BC-BD0FE6470A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14D607-8CD3-41A4-99BA-3270FB3CEA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2E8234-9067-456B-9C11-99269FFDBD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618CF9-8F67-4060-B7C4-19F18ED025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E73C9D-9FBC-440D-819D-88A45C281E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3113BC-8CDE-4B43-89BA-6B96EC7963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75000000000006</c:v>
                </c:pt>
                <c:pt idx="1">
                  <c:v>23.590299999999999</c:v>
                </c:pt>
                <c:pt idx="2">
                  <c:v>50.235199999999999</c:v>
                </c:pt>
                <c:pt idx="3">
                  <c:v>31.48</c:v>
                </c:pt>
                <c:pt idx="4">
                  <c:v>52.412700000000001</c:v>
                </c:pt>
                <c:pt idx="5">
                  <c:v>32.894399999999997</c:v>
                </c:pt>
                <c:pt idx="6">
                  <c:v>29.253399999999999</c:v>
                </c:pt>
                <c:pt idx="7">
                  <c:v>38.716000000000001</c:v>
                </c:pt>
              </c:numCache>
            </c:numRef>
          </c:xVal>
          <c:yVal>
            <c:numRef>
              <c:f>Sheet1!$B$2:$B$9</c:f>
              <c:numCache>
                <c:formatCode>General</c:formatCode>
                <c:ptCount val="8"/>
                <c:pt idx="0">
                  <c:v>1.6160000000000001</c:v>
                </c:pt>
                <c:pt idx="1">
                  <c:v>0.56000000000000005</c:v>
                </c:pt>
                <c:pt idx="2">
                  <c:v>1.1599999999999999</c:v>
                </c:pt>
                <c:pt idx="3">
                  <c:v>0.745</c:v>
                </c:pt>
                <c:pt idx="4">
                  <c:v>1.1080000000000001</c:v>
                </c:pt>
                <c:pt idx="5">
                  <c:v>0.75700000000000001</c:v>
                </c:pt>
                <c:pt idx="6">
                  <c:v>0.69099999999999995</c:v>
                </c:pt>
                <c:pt idx="7">
                  <c:v>0.91500000000000004</c:v>
                </c:pt>
              </c:numCache>
            </c:numRef>
          </c:yVal>
          <c:bubbleSize>
            <c:numRef>
              <c:f>Sheet1!$C$2:$C$9</c:f>
              <c:numCache>
                <c:formatCode>General</c:formatCode>
                <c:ptCount val="8"/>
                <c:pt idx="0">
                  <c:v>3453150</c:v>
                </c:pt>
                <c:pt idx="1">
                  <c:v>1317521</c:v>
                </c:pt>
                <c:pt idx="2">
                  <c:v>1108641</c:v>
                </c:pt>
                <c:pt idx="3">
                  <c:v>730304</c:v>
                </c:pt>
                <c:pt idx="4">
                  <c:v>682885</c:v>
                </c:pt>
                <c:pt idx="5">
                  <c:v>520981</c:v>
                </c:pt>
                <c:pt idx="6">
                  <c:v>468611</c:v>
                </c:pt>
                <c:pt idx="7">
                  <c:v>46784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6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E809CB-43B0-4794-99B7-08CAB527FA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572D81-7EA0-4AA5-924C-F3C096765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A6D262-A3D0-4CDD-A506-04BA16F407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DF67D0-00B3-4FBF-BD67-DBF9004F29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A81EB4-0877-45A1-A59A-EBD0E6409E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6A63C7-A2D1-4C4B-86E1-1F94241741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15B196-D955-4D1B-BD97-C44844E289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7A1F47-E7BB-4A5D-B2ED-3088DE5AA9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515299999999996</c:v>
                </c:pt>
                <c:pt idx="1">
                  <c:v>23.7239</c:v>
                </c:pt>
                <c:pt idx="2">
                  <c:v>49.200299999999999</c:v>
                </c:pt>
                <c:pt idx="3">
                  <c:v>31.5063</c:v>
                </c:pt>
                <c:pt idx="4">
                  <c:v>52.281500000000001</c:v>
                </c:pt>
                <c:pt idx="5">
                  <c:v>32.801400000000001</c:v>
                </c:pt>
                <c:pt idx="6">
                  <c:v>29.312200000000001</c:v>
                </c:pt>
                <c:pt idx="7">
                  <c:v>30.9068</c:v>
                </c:pt>
              </c:numCache>
            </c:numRef>
          </c:xVal>
          <c:yVal>
            <c:numRef>
              <c:f>Sheet1!$B$2:$B$9</c:f>
              <c:numCache>
                <c:formatCode>General</c:formatCode>
                <c:ptCount val="8"/>
                <c:pt idx="0">
                  <c:v>1.625</c:v>
                </c:pt>
                <c:pt idx="1">
                  <c:v>0.56499999999999995</c:v>
                </c:pt>
                <c:pt idx="2">
                  <c:v>1.141</c:v>
                </c:pt>
                <c:pt idx="3">
                  <c:v>0.748</c:v>
                </c:pt>
                <c:pt idx="4">
                  <c:v>1.0960000000000001</c:v>
                </c:pt>
                <c:pt idx="5">
                  <c:v>0.75700000000000001</c:v>
                </c:pt>
                <c:pt idx="6">
                  <c:v>0.69499999999999995</c:v>
                </c:pt>
                <c:pt idx="7">
                  <c:v>0.73299999999999998</c:v>
                </c:pt>
              </c:numCache>
            </c:numRef>
          </c:yVal>
          <c:bubbleSize>
            <c:numRef>
              <c:f>Sheet1!$C$2:$C$9</c:f>
              <c:numCache>
                <c:formatCode>General</c:formatCode>
                <c:ptCount val="8"/>
                <c:pt idx="0">
                  <c:v>2733549</c:v>
                </c:pt>
                <c:pt idx="1">
                  <c:v>1023352</c:v>
                </c:pt>
                <c:pt idx="2">
                  <c:v>901841</c:v>
                </c:pt>
                <c:pt idx="3">
                  <c:v>627069</c:v>
                </c:pt>
                <c:pt idx="4">
                  <c:v>511679</c:v>
                </c:pt>
                <c:pt idx="5">
                  <c:v>429337</c:v>
                </c:pt>
                <c:pt idx="6">
                  <c:v>405270</c:v>
                </c:pt>
                <c:pt idx="7">
                  <c:v>37400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28D661-E750-4C32-978D-70D0B3E572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BA4994-ADF9-4CE5-B4E3-C07F5BFA66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796387-E2CB-4114-B1D7-129C16DA81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9F8584-DDBE-48B0-91CF-FA1C2509BE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35F8A0-E864-4168-BF8D-9597B3504C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3C0AEB-CA6D-4FC4-B50C-E5A2C456C3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C60790-9DBE-4F42-8E6A-986BC615FC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C66805-FD39-471D-ACA3-1B3990C8F7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593400000000003</c:v>
                </c:pt>
                <c:pt idx="1">
                  <c:v>23.808499999999999</c:v>
                </c:pt>
                <c:pt idx="2">
                  <c:v>50.115900000000003</c:v>
                </c:pt>
                <c:pt idx="3">
                  <c:v>31.6996</c:v>
                </c:pt>
                <c:pt idx="4">
                  <c:v>52.491900000000001</c:v>
                </c:pt>
                <c:pt idx="5">
                  <c:v>29.232500000000002</c:v>
                </c:pt>
                <c:pt idx="6">
                  <c:v>33.807899999999997</c:v>
                </c:pt>
                <c:pt idx="7">
                  <c:v>31.170300000000001</c:v>
                </c:pt>
              </c:numCache>
            </c:numRef>
          </c:xVal>
          <c:yVal>
            <c:numRef>
              <c:f>Sheet1!$B$2:$B$9</c:f>
              <c:numCache>
                <c:formatCode>General</c:formatCode>
                <c:ptCount val="8"/>
                <c:pt idx="0">
                  <c:v>1.6279999999999999</c:v>
                </c:pt>
                <c:pt idx="1">
                  <c:v>0.57399999999999995</c:v>
                </c:pt>
                <c:pt idx="2">
                  <c:v>1.1639999999999999</c:v>
                </c:pt>
                <c:pt idx="3">
                  <c:v>0.76200000000000001</c:v>
                </c:pt>
                <c:pt idx="4">
                  <c:v>1.1220000000000001</c:v>
                </c:pt>
                <c:pt idx="5">
                  <c:v>0.70299999999999996</c:v>
                </c:pt>
                <c:pt idx="6">
                  <c:v>0.78200000000000003</c:v>
                </c:pt>
                <c:pt idx="7">
                  <c:v>0.749</c:v>
                </c:pt>
              </c:numCache>
            </c:numRef>
          </c:yVal>
          <c:bubbleSize>
            <c:numRef>
              <c:f>Sheet1!$C$2:$C$9</c:f>
              <c:numCache>
                <c:formatCode>General</c:formatCode>
                <c:ptCount val="8"/>
                <c:pt idx="0">
                  <c:v>2452284</c:v>
                </c:pt>
                <c:pt idx="1">
                  <c:v>1052215</c:v>
                </c:pt>
                <c:pt idx="2">
                  <c:v>800953</c:v>
                </c:pt>
                <c:pt idx="3">
                  <c:v>584730</c:v>
                </c:pt>
                <c:pt idx="4">
                  <c:v>451798</c:v>
                </c:pt>
                <c:pt idx="5">
                  <c:v>367569</c:v>
                </c:pt>
                <c:pt idx="6">
                  <c:v>360663</c:v>
                </c:pt>
                <c:pt idx="7">
                  <c:v>351009</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Heidsieck &amp; Co Monopole</c:v>
                  </c:pt>
                  <c:pt idx="6">
                    <c:v>Nicolas Feuillatt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7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430B2E-EEA6-4AE2-815B-7D74279664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14A25E-86B2-4A79-B1C8-15A3803BBE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0AEBDF-CD0A-417F-8DC3-E8EED5CF03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28053D-E67F-43A6-BB96-8977E23362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D55E3B-AF21-42FF-82A4-56D6413CAA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A1FDAB-B320-4DF9-8519-DB65050841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6033D4-0F79-4A98-84D9-B2B139744D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973084-E719-45B6-8335-0D6CEDE656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0999999999996</c:v>
                </c:pt>
                <c:pt idx="1">
                  <c:v>4.2683</c:v>
                </c:pt>
                <c:pt idx="2">
                  <c:v>5.8516000000000004</c:v>
                </c:pt>
                <c:pt idx="3">
                  <c:v>7.1054000000000004</c:v>
                </c:pt>
                <c:pt idx="4">
                  <c:v>6.9976000000000003</c:v>
                </c:pt>
                <c:pt idx="5">
                  <c:v>6.3528000000000002</c:v>
                </c:pt>
                <c:pt idx="6">
                  <c:v>4.9656000000000002</c:v>
                </c:pt>
                <c:pt idx="7">
                  <c:v>7.1954000000000002</c:v>
                </c:pt>
              </c:numCache>
            </c:numRef>
          </c:xVal>
          <c:yVal>
            <c:numRef>
              <c:f>Sheet1!$B$2:$B$9</c:f>
              <c:numCache>
                <c:formatCode>General</c:formatCode>
                <c:ptCount val="8"/>
                <c:pt idx="0">
                  <c:v>1.1240000000000001</c:v>
                </c:pt>
                <c:pt idx="1">
                  <c:v>0.38400000000000001</c:v>
                </c:pt>
                <c:pt idx="2">
                  <c:v>1.286</c:v>
                </c:pt>
                <c:pt idx="3">
                  <c:v>1.3109999999999999</c:v>
                </c:pt>
                <c:pt idx="4">
                  <c:v>1.8540000000000001</c:v>
                </c:pt>
                <c:pt idx="5">
                  <c:v>1.5669999999999999</c:v>
                </c:pt>
                <c:pt idx="6">
                  <c:v>0.44500000000000001</c:v>
                </c:pt>
                <c:pt idx="7">
                  <c:v>1.446</c:v>
                </c:pt>
              </c:numCache>
            </c:numRef>
          </c:yVal>
          <c:bubbleSize>
            <c:numRef>
              <c:f>Sheet1!$C$2:$C$9</c:f>
              <c:numCache>
                <c:formatCode>General</c:formatCode>
                <c:ptCount val="8"/>
                <c:pt idx="0">
                  <c:v>132987950</c:v>
                </c:pt>
                <c:pt idx="1">
                  <c:v>39552397</c:v>
                </c:pt>
                <c:pt idx="2">
                  <c:v>33996423</c:v>
                </c:pt>
                <c:pt idx="3">
                  <c:v>32603771</c:v>
                </c:pt>
                <c:pt idx="4">
                  <c:v>26217786</c:v>
                </c:pt>
                <c:pt idx="5">
                  <c:v>21170443</c:v>
                </c:pt>
                <c:pt idx="6">
                  <c:v>19554616</c:v>
                </c:pt>
                <c:pt idx="7">
                  <c:v>17071028</c:v>
                </c:pt>
              </c:numCache>
            </c:numRef>
          </c:bubbleSize>
          <c:bubble3D val="0"/>
          <c:extLst>
            <c:ext xmlns:c15="http://schemas.microsoft.com/office/drawing/2012/chart" uri="{02D57815-91ED-43cb-92C2-25804820EDAC}">
              <c15:datalabelsRange>
                <c15:f>Sheet1!$E$2:$E$10</c15:f>
                <c15:dlblRangeCache>
                  <c:ptCount val="9"/>
                  <c:pt idx="0">
                    <c:v>Mdd</c:v>
                  </c:pt>
                  <c:pt idx="1">
                    <c:v>Charles Volner</c:v>
                  </c:pt>
                  <c:pt idx="2">
                    <c:v>Freixenet</c:v>
                  </c:pt>
                  <c:pt idx="3">
                    <c:v>Wolfberger</c:v>
                  </c:pt>
                  <c:pt idx="4">
                    <c:v>Riccadonna</c:v>
                  </c:pt>
                  <c:pt idx="5">
                    <c:v>Vilaveroni</c:v>
                  </c:pt>
                  <c:pt idx="6">
                    <c:v>Kriter</c:v>
                  </c:pt>
                  <c:pt idx="7">
                    <c:v>Arthur Me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4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8CF193-C921-45FC-94F0-042078C30E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56DDA7-7A3B-460D-845F-A155A462C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D92479-BFF7-48DB-83BF-791D954461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66317E-5F2E-4B59-BC15-D429D0F303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9FE3442-68BD-45E3-8D55-FF003133A0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4C960E-34CD-4A87-B90A-2B5933BCD5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D6703A-AF9F-4376-B481-6355ABA1A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FE1793-FFA9-4A66-B23B-8253482856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51499999999999</c:v>
                </c:pt>
                <c:pt idx="1">
                  <c:v>12.7646</c:v>
                </c:pt>
                <c:pt idx="2">
                  <c:v>17.4328</c:v>
                </c:pt>
                <c:pt idx="3">
                  <c:v>9.1104000000000003</c:v>
                </c:pt>
                <c:pt idx="4">
                  <c:v>11.800599999999999</c:v>
                </c:pt>
                <c:pt idx="5">
                  <c:v>11.4077</c:v>
                </c:pt>
                <c:pt idx="6">
                  <c:v>13.4663</c:v>
                </c:pt>
                <c:pt idx="7">
                  <c:v>5.7388000000000003</c:v>
                </c:pt>
              </c:numCache>
            </c:numRef>
          </c:xVal>
          <c:yVal>
            <c:numRef>
              <c:f>Sheet1!$B$2:$B$9</c:f>
              <c:numCache>
                <c:formatCode>General</c:formatCode>
                <c:ptCount val="8"/>
                <c:pt idx="0">
                  <c:v>1.083</c:v>
                </c:pt>
                <c:pt idx="1">
                  <c:v>1.208</c:v>
                </c:pt>
                <c:pt idx="2">
                  <c:v>1.667</c:v>
                </c:pt>
                <c:pt idx="3">
                  <c:v>0.86199999999999999</c:v>
                </c:pt>
                <c:pt idx="4">
                  <c:v>1.0640000000000001</c:v>
                </c:pt>
                <c:pt idx="5">
                  <c:v>1.08</c:v>
                </c:pt>
                <c:pt idx="6">
                  <c:v>1.2729999999999999</c:v>
                </c:pt>
                <c:pt idx="7">
                  <c:v>0.54200000000000004</c:v>
                </c:pt>
              </c:numCache>
            </c:numRef>
          </c:yVal>
          <c:bubbleSize>
            <c:numRef>
              <c:f>Sheet1!$C$2:$C$9</c:f>
              <c:numCache>
                <c:formatCode>General</c:formatCode>
                <c:ptCount val="8"/>
                <c:pt idx="0">
                  <c:v>607538</c:v>
                </c:pt>
                <c:pt idx="1">
                  <c:v>507318</c:v>
                </c:pt>
                <c:pt idx="2">
                  <c:v>388332</c:v>
                </c:pt>
                <c:pt idx="3">
                  <c:v>323774</c:v>
                </c:pt>
                <c:pt idx="4">
                  <c:v>305234</c:v>
                </c:pt>
                <c:pt idx="5">
                  <c:v>282454</c:v>
                </c:pt>
                <c:pt idx="6">
                  <c:v>158041</c:v>
                </c:pt>
                <c:pt idx="7">
                  <c:v>100733</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Bouvet-Ladubay</c:v>
                  </c:pt>
                  <c:pt idx="5">
                    <c:v>Chateau Moncontour</c:v>
                  </c:pt>
                  <c:pt idx="6">
                    <c:v>De Chanceny</c:v>
                  </c:pt>
                  <c:pt idx="7">
                    <c:v>Krit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82168E-D469-4B46-9A9A-5ED2B73139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7469ED-1556-4E05-BB02-DAAB86F73C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F1AE66-8C7C-49C0-844E-6A29B62EB1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772227-B8B6-46E7-9128-67667B505A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F87DD4-8DBC-4FF0-A770-FF07DD8707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3BAFC1-F100-4AC7-B3C5-019EED4821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42FFBD-B751-42DA-813E-2EB31F600C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3E3BCB-C917-4DD5-8169-E53FDE5249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0999999999996</c:v>
                </c:pt>
                <c:pt idx="1">
                  <c:v>4.2683</c:v>
                </c:pt>
                <c:pt idx="2">
                  <c:v>5.8516000000000004</c:v>
                </c:pt>
                <c:pt idx="3">
                  <c:v>7.1054000000000004</c:v>
                </c:pt>
                <c:pt idx="4">
                  <c:v>6.9976000000000003</c:v>
                </c:pt>
                <c:pt idx="5">
                  <c:v>6.3528000000000002</c:v>
                </c:pt>
                <c:pt idx="6">
                  <c:v>4.9625000000000004</c:v>
                </c:pt>
                <c:pt idx="7">
                  <c:v>7.1954000000000002</c:v>
                </c:pt>
              </c:numCache>
            </c:numRef>
          </c:xVal>
          <c:yVal>
            <c:numRef>
              <c:f>Sheet1!$B$2:$B$9</c:f>
              <c:numCache>
                <c:formatCode>General</c:formatCode>
                <c:ptCount val="8"/>
                <c:pt idx="0">
                  <c:v>1.129</c:v>
                </c:pt>
                <c:pt idx="1">
                  <c:v>0.38600000000000001</c:v>
                </c:pt>
                <c:pt idx="2">
                  <c:v>1.2929999999999999</c:v>
                </c:pt>
                <c:pt idx="3">
                  <c:v>1.3169999999999999</c:v>
                </c:pt>
                <c:pt idx="4">
                  <c:v>1.863</c:v>
                </c:pt>
                <c:pt idx="5">
                  <c:v>1.575</c:v>
                </c:pt>
                <c:pt idx="6">
                  <c:v>0.44600000000000001</c:v>
                </c:pt>
                <c:pt idx="7">
                  <c:v>1.4530000000000001</c:v>
                </c:pt>
              </c:numCache>
            </c:numRef>
          </c:yVal>
          <c:bubbleSize>
            <c:numRef>
              <c:f>Sheet1!$C$2:$C$9</c:f>
              <c:numCache>
                <c:formatCode>General</c:formatCode>
                <c:ptCount val="8"/>
                <c:pt idx="0">
                  <c:v>132987950</c:v>
                </c:pt>
                <c:pt idx="1">
                  <c:v>39552397</c:v>
                </c:pt>
                <c:pt idx="2">
                  <c:v>33996423</c:v>
                </c:pt>
                <c:pt idx="3">
                  <c:v>32603771</c:v>
                </c:pt>
                <c:pt idx="4">
                  <c:v>26217786</c:v>
                </c:pt>
                <c:pt idx="5">
                  <c:v>21162718</c:v>
                </c:pt>
                <c:pt idx="6">
                  <c:v>19453979</c:v>
                </c:pt>
                <c:pt idx="7">
                  <c:v>17071028</c:v>
                </c:pt>
              </c:numCache>
            </c:numRef>
          </c:bubbleSize>
          <c:bubble3D val="0"/>
          <c:extLst>
            <c:ext xmlns:c15="http://schemas.microsoft.com/office/drawing/2012/chart" uri="{02D57815-91ED-43cb-92C2-25804820EDAC}">
              <c15:datalabelsRange>
                <c15:f>Sheet1!$E$2:$E$10</c15:f>
                <c15:dlblRangeCache>
                  <c:ptCount val="9"/>
                  <c:pt idx="0">
                    <c:v>Mdd</c:v>
                  </c:pt>
                  <c:pt idx="1">
                    <c:v>Charles Volner</c:v>
                  </c:pt>
                  <c:pt idx="2">
                    <c:v>Freixenet</c:v>
                  </c:pt>
                  <c:pt idx="3">
                    <c:v>Wolfberger</c:v>
                  </c:pt>
                  <c:pt idx="4">
                    <c:v>Riccadonna</c:v>
                  </c:pt>
                  <c:pt idx="5">
                    <c:v>Vilaveroni</c:v>
                  </c:pt>
                  <c:pt idx="6">
                    <c:v>Kriter</c:v>
                  </c:pt>
                  <c:pt idx="7">
                    <c:v>Arthur Me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3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EDD639-26D2-4F6A-A516-81EC2BE92B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39C940-5C53-43FA-A5AF-D217E51D29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AE6385-FAEA-4104-86F7-99B1EE1B75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FBDF72-B8E8-4F43-AF81-33E5DFCF05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980C58-DCA9-4116-9034-A2FCF9F141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9C921C-9899-4AC8-8B25-DB5D23D406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51CCBC-6807-407F-81B4-3F851955DB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05BD51-FFE0-4A2A-9E37-33725BC004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527</c:v>
                </c:pt>
                <c:pt idx="1">
                  <c:v>12.753</c:v>
                </c:pt>
                <c:pt idx="2">
                  <c:v>17.365300000000001</c:v>
                </c:pt>
                <c:pt idx="3">
                  <c:v>9.0898000000000003</c:v>
                </c:pt>
                <c:pt idx="4">
                  <c:v>11.398199999999999</c:v>
                </c:pt>
                <c:pt idx="5">
                  <c:v>11.792999999999999</c:v>
                </c:pt>
                <c:pt idx="6">
                  <c:v>13.5303</c:v>
                </c:pt>
                <c:pt idx="7">
                  <c:v>5.7638999999999996</c:v>
                </c:pt>
              </c:numCache>
            </c:numRef>
          </c:xVal>
          <c:yVal>
            <c:numRef>
              <c:f>Sheet1!$B$2:$B$9</c:f>
              <c:numCache>
                <c:formatCode>General</c:formatCode>
                <c:ptCount val="8"/>
                <c:pt idx="0">
                  <c:v>1.0860000000000001</c:v>
                </c:pt>
                <c:pt idx="1">
                  <c:v>1.21</c:v>
                </c:pt>
                <c:pt idx="2">
                  <c:v>1.659</c:v>
                </c:pt>
                <c:pt idx="3">
                  <c:v>0.86199999999999999</c:v>
                </c:pt>
                <c:pt idx="4">
                  <c:v>1.081</c:v>
                </c:pt>
                <c:pt idx="5">
                  <c:v>1.069</c:v>
                </c:pt>
                <c:pt idx="6">
                  <c:v>1.284</c:v>
                </c:pt>
                <c:pt idx="7">
                  <c:v>0.54600000000000004</c:v>
                </c:pt>
              </c:numCache>
            </c:numRef>
          </c:yVal>
          <c:bubbleSize>
            <c:numRef>
              <c:f>Sheet1!$C$2:$C$9</c:f>
              <c:numCache>
                <c:formatCode>General</c:formatCode>
                <c:ptCount val="8"/>
                <c:pt idx="0">
                  <c:v>290933</c:v>
                </c:pt>
                <c:pt idx="1">
                  <c:v>231659</c:v>
                </c:pt>
                <c:pt idx="2">
                  <c:v>179505</c:v>
                </c:pt>
                <c:pt idx="3">
                  <c:v>172107</c:v>
                </c:pt>
                <c:pt idx="4">
                  <c:v>151528</c:v>
                </c:pt>
                <c:pt idx="5">
                  <c:v>144783</c:v>
                </c:pt>
                <c:pt idx="6">
                  <c:v>89327</c:v>
                </c:pt>
                <c:pt idx="7">
                  <c:v>47921</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Chateau Moncontour</c:v>
                  </c:pt>
                  <c:pt idx="5">
                    <c:v>Bouvet-Ladubay</c:v>
                  </c:pt>
                  <c:pt idx="6">
                    <c:v>De Chanceny</c:v>
                  </c:pt>
                  <c:pt idx="7">
                    <c:v>Krit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9F9A06-5414-4B00-86B7-454FA3C947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D96609-7EDE-4C78-ADB7-BFF4B19C52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74986A-8006-4BB1-9A9C-33EE078C34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DDB2E6-D844-4791-86DC-EA3AE0C255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A4C040-9728-463E-8655-740DAB8F03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396A91-35AD-44BF-94E8-CB5FF9FC01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27944F-D1CD-40BE-9A86-7D2FDD4F50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3E8BD1-6FC9-40C6-BC11-D1DAAB104C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044300000000007</c:v>
                </c:pt>
                <c:pt idx="1">
                  <c:v>23.673100000000002</c:v>
                </c:pt>
                <c:pt idx="2">
                  <c:v>50.6248</c:v>
                </c:pt>
                <c:pt idx="3">
                  <c:v>31.541399999999999</c:v>
                </c:pt>
                <c:pt idx="4">
                  <c:v>52.898600000000002</c:v>
                </c:pt>
                <c:pt idx="5">
                  <c:v>33.237000000000002</c:v>
                </c:pt>
                <c:pt idx="6">
                  <c:v>30.649899999999999</c:v>
                </c:pt>
                <c:pt idx="7">
                  <c:v>30.5626</c:v>
                </c:pt>
              </c:numCache>
            </c:numRef>
          </c:xVal>
          <c:yVal>
            <c:numRef>
              <c:f>Sheet1!$B$2:$B$9</c:f>
              <c:numCache>
                <c:formatCode>General</c:formatCode>
                <c:ptCount val="8"/>
                <c:pt idx="0">
                  <c:v>1.65</c:v>
                </c:pt>
                <c:pt idx="1">
                  <c:v>0.56799999999999995</c:v>
                </c:pt>
                <c:pt idx="2">
                  <c:v>1.1679999999999999</c:v>
                </c:pt>
                <c:pt idx="3">
                  <c:v>0.755</c:v>
                </c:pt>
                <c:pt idx="4">
                  <c:v>1.117</c:v>
                </c:pt>
                <c:pt idx="5">
                  <c:v>0.76500000000000001</c:v>
                </c:pt>
                <c:pt idx="6">
                  <c:v>0.73299999999999998</c:v>
                </c:pt>
                <c:pt idx="7">
                  <c:v>0.74399999999999999</c:v>
                </c:pt>
              </c:numCache>
            </c:numRef>
          </c:yVal>
          <c:bubbleSize>
            <c:numRef>
              <c:f>Sheet1!$C$2:$C$9</c:f>
              <c:numCache>
                <c:formatCode>General</c:formatCode>
                <c:ptCount val="8"/>
                <c:pt idx="0">
                  <c:v>3181414</c:v>
                </c:pt>
                <c:pt idx="1">
                  <c:v>1250034</c:v>
                </c:pt>
                <c:pt idx="2">
                  <c:v>867406</c:v>
                </c:pt>
                <c:pt idx="3">
                  <c:v>661770</c:v>
                </c:pt>
                <c:pt idx="4">
                  <c:v>505869</c:v>
                </c:pt>
                <c:pt idx="5">
                  <c:v>426896</c:v>
                </c:pt>
                <c:pt idx="6">
                  <c:v>422417</c:v>
                </c:pt>
                <c:pt idx="7">
                  <c:v>41348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De Bligny</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50CBAA-E518-4ED9-B872-979D775505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3AA9DB-9D72-4A9F-B719-8CD576F1DC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94CE30-9A0D-4AD2-A87B-086415FCF7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D66D0F-0C8B-43A0-AE05-D9A7A1E397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68E969-3AE5-4CBF-B270-0B431A0017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018E5A-4716-4E6B-BF58-713D2765DD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9A8E9A-48A7-4518-9325-731B1B66C7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F787AE-13E5-497C-AD8D-1B275DCA17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745100000000001</c:v>
                </c:pt>
                <c:pt idx="1">
                  <c:v>11.3698</c:v>
                </c:pt>
                <c:pt idx="2">
                  <c:v>17.401599999999998</c:v>
                </c:pt>
                <c:pt idx="3">
                  <c:v>11.7576</c:v>
                </c:pt>
                <c:pt idx="4">
                  <c:v>11.376799999999999</c:v>
                </c:pt>
                <c:pt idx="5">
                  <c:v>9.0983000000000001</c:v>
                </c:pt>
                <c:pt idx="6">
                  <c:v>13.245200000000001</c:v>
                </c:pt>
                <c:pt idx="7">
                  <c:v>5.7225999999999999</c:v>
                </c:pt>
              </c:numCache>
            </c:numRef>
          </c:xVal>
          <c:yVal>
            <c:numRef>
              <c:f>Sheet1!$B$2:$B$9</c:f>
              <c:numCache>
                <c:formatCode>General</c:formatCode>
                <c:ptCount val="8"/>
                <c:pt idx="0">
                  <c:v>1.2070000000000001</c:v>
                </c:pt>
                <c:pt idx="1">
                  <c:v>1.075</c:v>
                </c:pt>
                <c:pt idx="2">
                  <c:v>1.65</c:v>
                </c:pt>
                <c:pt idx="3">
                  <c:v>1.0609999999999999</c:v>
                </c:pt>
                <c:pt idx="4">
                  <c:v>1.077</c:v>
                </c:pt>
                <c:pt idx="5">
                  <c:v>0.86199999999999999</c:v>
                </c:pt>
                <c:pt idx="6">
                  <c:v>1.256</c:v>
                </c:pt>
                <c:pt idx="7">
                  <c:v>0.54100000000000004</c:v>
                </c:pt>
              </c:numCache>
            </c:numRef>
          </c:yVal>
          <c:bubbleSize>
            <c:numRef>
              <c:f>Sheet1!$C$2:$C$9</c:f>
              <c:numCache>
                <c:formatCode>General</c:formatCode>
                <c:ptCount val="8"/>
                <c:pt idx="0">
                  <c:v>115254</c:v>
                </c:pt>
                <c:pt idx="1">
                  <c:v>108729</c:v>
                </c:pt>
                <c:pt idx="2">
                  <c:v>74009</c:v>
                </c:pt>
                <c:pt idx="3">
                  <c:v>61739</c:v>
                </c:pt>
                <c:pt idx="4">
                  <c:v>55701</c:v>
                </c:pt>
                <c:pt idx="5">
                  <c:v>55136</c:v>
                </c:pt>
                <c:pt idx="6">
                  <c:v>28093</c:v>
                </c:pt>
                <c:pt idx="7">
                  <c:v>26015</c:v>
                </c:pt>
              </c:numCache>
            </c:numRef>
          </c:bubbleSize>
          <c:bubble3D val="0"/>
          <c:extLst>
            <c:ext xmlns:c15="http://schemas.microsoft.com/office/drawing/2012/chart" uri="{02D57815-91ED-43cb-92C2-25804820EDAC}">
              <c15:datalabelsRange>
                <c15:f>Sheet1!$E$2:$E$10</c15:f>
                <c15:dlblRangeCache>
                  <c:ptCount val="9"/>
                  <c:pt idx="0">
                    <c:v>Patriarche</c:v>
                  </c:pt>
                  <c:pt idx="1">
                    <c:v>Bottega</c:v>
                  </c:pt>
                  <c:pt idx="2">
                    <c:v>Mure</c:v>
                  </c:pt>
                  <c:pt idx="3">
                    <c:v>Bouvet-Ladubay</c:v>
                  </c:pt>
                  <c:pt idx="4">
                    <c:v>Chateau Moncontour</c:v>
                  </c:pt>
                  <c:pt idx="5">
                    <c:v>Savian</c:v>
                  </c:pt>
                  <c:pt idx="6">
                    <c:v>De Chanceny</c:v>
                  </c:pt>
                  <c:pt idx="7">
                    <c:v>Krit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FB988D-107E-44C0-A9B3-1B58DB4F01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F4C800-E41D-4A0E-A8A3-7F02A23085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BBE2D0-C5DA-4C2F-AA61-53BDBF89ED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759BFE-B3AD-4CEC-B76B-F81EF453DF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CE1BB4-6231-4FBB-B81B-7AB97531A9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7FB4E1-F86F-478B-B626-297F387F29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103DF2-94F1-403F-B421-C7844329F2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40F1D5-1AFA-4293-8242-00A342853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25599999999999</c:v>
                </c:pt>
                <c:pt idx="1">
                  <c:v>13.021599999999999</c:v>
                </c:pt>
                <c:pt idx="2">
                  <c:v>17.555099999999999</c:v>
                </c:pt>
                <c:pt idx="3">
                  <c:v>9.1058000000000003</c:v>
                </c:pt>
                <c:pt idx="4">
                  <c:v>11.366099999999999</c:v>
                </c:pt>
                <c:pt idx="5">
                  <c:v>11.7385</c:v>
                </c:pt>
                <c:pt idx="6">
                  <c:v>13.419700000000001</c:v>
                </c:pt>
                <c:pt idx="7">
                  <c:v>11.3514</c:v>
                </c:pt>
              </c:numCache>
            </c:numRef>
          </c:xVal>
          <c:yVal>
            <c:numRef>
              <c:f>Sheet1!$B$2:$B$9</c:f>
              <c:numCache>
                <c:formatCode>General</c:formatCode>
                <c:ptCount val="8"/>
                <c:pt idx="0">
                  <c:v>1.0529999999999999</c:v>
                </c:pt>
                <c:pt idx="1">
                  <c:v>1.2030000000000001</c:v>
                </c:pt>
                <c:pt idx="2">
                  <c:v>1.6679999999999999</c:v>
                </c:pt>
                <c:pt idx="3">
                  <c:v>0.84</c:v>
                </c:pt>
                <c:pt idx="4">
                  <c:v>1.0469999999999999</c:v>
                </c:pt>
                <c:pt idx="5">
                  <c:v>1.036</c:v>
                </c:pt>
                <c:pt idx="6">
                  <c:v>1.238</c:v>
                </c:pt>
                <c:pt idx="7">
                  <c:v>0.89</c:v>
                </c:pt>
              </c:numCache>
            </c:numRef>
          </c:yVal>
          <c:bubbleSize>
            <c:numRef>
              <c:f>Sheet1!$C$2:$C$9</c:f>
              <c:numCache>
                <c:formatCode>General</c:formatCode>
                <c:ptCount val="8"/>
                <c:pt idx="0">
                  <c:v>75203</c:v>
                </c:pt>
                <c:pt idx="1">
                  <c:v>56722</c:v>
                </c:pt>
                <c:pt idx="2">
                  <c:v>51331</c:v>
                </c:pt>
                <c:pt idx="3">
                  <c:v>40348</c:v>
                </c:pt>
                <c:pt idx="4">
                  <c:v>30427</c:v>
                </c:pt>
                <c:pt idx="5">
                  <c:v>22620</c:v>
                </c:pt>
                <c:pt idx="6">
                  <c:v>18895</c:v>
                </c:pt>
                <c:pt idx="7">
                  <c:v>9206</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Chateau Moncontour</c:v>
                  </c:pt>
                  <c:pt idx="5">
                    <c:v>Bouvet-Ladubay</c:v>
                  </c:pt>
                  <c:pt idx="6">
                    <c:v>De Chanceny</c:v>
                  </c:pt>
                  <c:pt idx="7">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BF5906-8C70-4A91-B553-DB3591DEF6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2A0B31-09A4-4A5C-856A-92F004B48F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5EE323-6399-4A1A-8C06-DDE2AD782E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61B018-98A2-46FB-835E-3917A91202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957B86-CB7A-46F7-8C26-2D126A3A5A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D95114-5403-4771-91A3-22B3E9DE09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04A3B2-5494-4709-B6CA-9481404981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95EDA9F-BE4E-449A-96E6-798DD79851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524699999999999</c:v>
                </c:pt>
                <c:pt idx="1">
                  <c:v>12.857200000000001</c:v>
                </c:pt>
                <c:pt idx="2">
                  <c:v>11.817299999999999</c:v>
                </c:pt>
                <c:pt idx="3">
                  <c:v>9.1434999999999995</c:v>
                </c:pt>
                <c:pt idx="4">
                  <c:v>17.4514</c:v>
                </c:pt>
                <c:pt idx="5">
                  <c:v>11.5405</c:v>
                </c:pt>
                <c:pt idx="6">
                  <c:v>13.3918</c:v>
                </c:pt>
                <c:pt idx="7">
                  <c:v>11.5547</c:v>
                </c:pt>
              </c:numCache>
            </c:numRef>
          </c:xVal>
          <c:yVal>
            <c:numRef>
              <c:f>Sheet1!$B$2:$B$9</c:f>
              <c:numCache>
                <c:formatCode>General</c:formatCode>
                <c:ptCount val="8"/>
                <c:pt idx="0">
                  <c:v>1.0760000000000001</c:v>
                </c:pt>
                <c:pt idx="1">
                  <c:v>1.206</c:v>
                </c:pt>
                <c:pt idx="2">
                  <c:v>1.0589999999999999</c:v>
                </c:pt>
                <c:pt idx="3">
                  <c:v>0.85699999999999998</c:v>
                </c:pt>
                <c:pt idx="4">
                  <c:v>1.63</c:v>
                </c:pt>
                <c:pt idx="5">
                  <c:v>1.0820000000000001</c:v>
                </c:pt>
                <c:pt idx="6">
                  <c:v>1.2450000000000001</c:v>
                </c:pt>
                <c:pt idx="7">
                  <c:v>0.90700000000000003</c:v>
                </c:pt>
              </c:numCache>
            </c:numRef>
          </c:yVal>
          <c:bubbleSize>
            <c:numRef>
              <c:f>Sheet1!$C$2:$C$9</c:f>
              <c:numCache>
                <c:formatCode>General</c:formatCode>
                <c:ptCount val="8"/>
                <c:pt idx="0">
                  <c:v>34574</c:v>
                </c:pt>
                <c:pt idx="1">
                  <c:v>24043</c:v>
                </c:pt>
                <c:pt idx="2">
                  <c:v>20314</c:v>
                </c:pt>
                <c:pt idx="3">
                  <c:v>19558</c:v>
                </c:pt>
                <c:pt idx="4">
                  <c:v>16893</c:v>
                </c:pt>
                <c:pt idx="5">
                  <c:v>16376</c:v>
                </c:pt>
                <c:pt idx="6">
                  <c:v>5571</c:v>
                </c:pt>
                <c:pt idx="7">
                  <c:v>4437</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Bouvet-Ladubay</c:v>
                  </c:pt>
                  <c:pt idx="3">
                    <c:v>Savian</c:v>
                  </c:pt>
                  <c:pt idx="4">
                    <c:v>Mure</c:v>
                  </c:pt>
                  <c:pt idx="5">
                    <c:v>Chateau Moncontour</c:v>
                  </c:pt>
                  <c:pt idx="6">
                    <c:v>De Chanceny</c:v>
                  </c:pt>
                  <c:pt idx="7">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9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F0714F-74FD-4FAD-9667-C95EB4CE04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74050E-BF14-4150-BFEB-B4ACEA5BDC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A01974-8EB6-428D-B173-F3A43E3DFD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640B41-1CCD-48F6-88D0-B548CD1DA3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B6115E-5AA9-43CA-BAD9-296C7964CF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D1EAEF-EE44-491C-983D-83E59B1DF6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AA0EAB-4A95-4E30-9954-2149C8F0E5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2BF38C-A945-4338-8696-80A4D2D268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154</c:v>
                </c:pt>
                <c:pt idx="1">
                  <c:v>17.843299999999999</c:v>
                </c:pt>
                <c:pt idx="2">
                  <c:v>12.435700000000001</c:v>
                </c:pt>
                <c:pt idx="3">
                  <c:v>11.672000000000001</c:v>
                </c:pt>
                <c:pt idx="4">
                  <c:v>9.2040000000000006</c:v>
                </c:pt>
                <c:pt idx="5">
                  <c:v>11.5655</c:v>
                </c:pt>
                <c:pt idx="6">
                  <c:v>12.408200000000001</c:v>
                </c:pt>
                <c:pt idx="7">
                  <c:v>13.4473</c:v>
                </c:pt>
              </c:numCache>
            </c:numRef>
          </c:xVal>
          <c:yVal>
            <c:numRef>
              <c:f>Sheet1!$B$2:$B$9</c:f>
              <c:numCache>
                <c:formatCode>General</c:formatCode>
                <c:ptCount val="8"/>
                <c:pt idx="0">
                  <c:v>1.1100000000000001</c:v>
                </c:pt>
                <c:pt idx="1">
                  <c:v>1.7410000000000001</c:v>
                </c:pt>
                <c:pt idx="2">
                  <c:v>1.2</c:v>
                </c:pt>
                <c:pt idx="3">
                  <c:v>1.0820000000000001</c:v>
                </c:pt>
                <c:pt idx="4">
                  <c:v>0.88800000000000001</c:v>
                </c:pt>
                <c:pt idx="5">
                  <c:v>1.125</c:v>
                </c:pt>
                <c:pt idx="6">
                  <c:v>0.93</c:v>
                </c:pt>
                <c:pt idx="7">
                  <c:v>1.2949999999999999</c:v>
                </c:pt>
              </c:numCache>
            </c:numRef>
          </c:yVal>
          <c:bubbleSize>
            <c:numRef>
              <c:f>Sheet1!$C$2:$C$9</c:f>
              <c:numCache>
                <c:formatCode>General</c:formatCode>
                <c:ptCount val="8"/>
                <c:pt idx="0">
                  <c:v>29406</c:v>
                </c:pt>
                <c:pt idx="1">
                  <c:v>21519</c:v>
                </c:pt>
                <c:pt idx="2">
                  <c:v>20606</c:v>
                </c:pt>
                <c:pt idx="3">
                  <c:v>15337</c:v>
                </c:pt>
                <c:pt idx="4">
                  <c:v>12361</c:v>
                </c:pt>
                <c:pt idx="5">
                  <c:v>8304</c:v>
                </c:pt>
                <c:pt idx="6">
                  <c:v>5472</c:v>
                </c:pt>
                <c:pt idx="7">
                  <c:v>4720</c:v>
                </c:pt>
              </c:numCache>
            </c:numRef>
          </c:bubbleSize>
          <c:bubble3D val="0"/>
          <c:extLst>
            <c:ext xmlns:c15="http://schemas.microsoft.com/office/drawing/2012/chart" uri="{02D57815-91ED-43cb-92C2-25804820EDAC}">
              <c15:datalabelsRange>
                <c15:f>Sheet1!$E$2:$E$10</c15:f>
                <c15:dlblRangeCache>
                  <c:ptCount val="9"/>
                  <c:pt idx="0">
                    <c:v>Bottega</c:v>
                  </c:pt>
                  <c:pt idx="1">
                    <c:v>Mure</c:v>
                  </c:pt>
                  <c:pt idx="2">
                    <c:v>Patriarche</c:v>
                  </c:pt>
                  <c:pt idx="3">
                    <c:v>Bouvet-Ladubay</c:v>
                  </c:pt>
                  <c:pt idx="4">
                    <c:v>Savian</c:v>
                  </c:pt>
                  <c:pt idx="5">
                    <c:v>Chateau Moncontour</c:v>
                  </c:pt>
                  <c:pt idx="6">
                    <c:v>Contarini</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23EB97-FBDC-4B01-8BB4-0A6467FD2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80438E-E219-4BFC-8441-909E275E07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45649C-BB2E-465F-B8B4-31096890CF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3C5A47-55A9-49F4-841C-EC6A615C6C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8E0631-2C18-4C77-B41D-AD0072F6E2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F185C6-2325-4448-BB44-37609A0E98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CD0D7B-8827-4790-94C3-3ADB8BCBC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0C3D23-BB9D-4CA0-9260-D8E51B0B09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37099999999999</c:v>
                </c:pt>
                <c:pt idx="1">
                  <c:v>12.776999999999999</c:v>
                </c:pt>
                <c:pt idx="2">
                  <c:v>17.389700000000001</c:v>
                </c:pt>
                <c:pt idx="3">
                  <c:v>9.0905000000000005</c:v>
                </c:pt>
                <c:pt idx="4">
                  <c:v>11.3963</c:v>
                </c:pt>
                <c:pt idx="5">
                  <c:v>11.78</c:v>
                </c:pt>
                <c:pt idx="6">
                  <c:v>13.4511</c:v>
                </c:pt>
                <c:pt idx="7">
                  <c:v>5.7374999999999998</c:v>
                </c:pt>
              </c:numCache>
            </c:numRef>
          </c:xVal>
          <c:yVal>
            <c:numRef>
              <c:f>Sheet1!$B$2:$B$9</c:f>
              <c:numCache>
                <c:formatCode>General</c:formatCode>
                <c:ptCount val="8"/>
                <c:pt idx="0">
                  <c:v>1.079</c:v>
                </c:pt>
                <c:pt idx="1">
                  <c:v>1.206</c:v>
                </c:pt>
                <c:pt idx="2">
                  <c:v>1.641</c:v>
                </c:pt>
                <c:pt idx="3">
                  <c:v>0.85699999999999998</c:v>
                </c:pt>
                <c:pt idx="4">
                  <c:v>1.075</c:v>
                </c:pt>
                <c:pt idx="5">
                  <c:v>1.0640000000000001</c:v>
                </c:pt>
                <c:pt idx="6">
                  <c:v>1.2689999999999999</c:v>
                </c:pt>
                <c:pt idx="7">
                  <c:v>0.54100000000000004</c:v>
                </c:pt>
              </c:numCache>
            </c:numRef>
          </c:yVal>
          <c:bubbleSize>
            <c:numRef>
              <c:f>Sheet1!$C$2:$C$9</c:f>
              <c:numCache>
                <c:formatCode>General</c:formatCode>
                <c:ptCount val="8"/>
                <c:pt idx="0">
                  <c:v>428822</c:v>
                </c:pt>
                <c:pt idx="1">
                  <c:v>352518</c:v>
                </c:pt>
                <c:pt idx="2">
                  <c:v>237909</c:v>
                </c:pt>
                <c:pt idx="3">
                  <c:v>237189</c:v>
                </c:pt>
                <c:pt idx="4">
                  <c:v>224598</c:v>
                </c:pt>
                <c:pt idx="5">
                  <c:v>209943</c:v>
                </c:pt>
                <c:pt idx="6">
                  <c:v>122782</c:v>
                </c:pt>
                <c:pt idx="7">
                  <c:v>62527</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Chateau Moncontour</c:v>
                  </c:pt>
                  <c:pt idx="5">
                    <c:v>Bouvet-Ladubay</c:v>
                  </c:pt>
                  <c:pt idx="6">
                    <c:v>De Chanceny</c:v>
                  </c:pt>
                  <c:pt idx="7">
                    <c:v>Krit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3A1E5A-266A-4EE7-9AA8-64681EECC4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692740-9C39-4031-81C9-50C3044842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DA96BF-EBF7-4BA7-823F-AFFE9C1132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CF9E55-99A1-4942-938B-EE338E26E1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C793F5-C1EF-4FBA-8998-36CD68AC62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767C8C-7018-4EF3-8A16-846BE1785B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77BA76-D036-449B-8D9C-736A19946D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348F377-81C4-4F26-845B-8EBC2A388E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709</c:v>
                </c:pt>
                <c:pt idx="1">
                  <c:v>12.8293</c:v>
                </c:pt>
                <c:pt idx="2">
                  <c:v>9.1577000000000002</c:v>
                </c:pt>
                <c:pt idx="3">
                  <c:v>17.518999999999998</c:v>
                </c:pt>
                <c:pt idx="4">
                  <c:v>11.9748</c:v>
                </c:pt>
                <c:pt idx="5">
                  <c:v>11.4427</c:v>
                </c:pt>
                <c:pt idx="6">
                  <c:v>13.5473</c:v>
                </c:pt>
                <c:pt idx="7">
                  <c:v>11.4771</c:v>
                </c:pt>
              </c:numCache>
            </c:numRef>
          </c:xVal>
          <c:yVal>
            <c:numRef>
              <c:f>Sheet1!$B$2:$B$9</c:f>
              <c:numCache>
                <c:formatCode>General</c:formatCode>
                <c:ptCount val="8"/>
                <c:pt idx="0">
                  <c:v>1.123</c:v>
                </c:pt>
                <c:pt idx="1">
                  <c:v>1.2569999999999999</c:v>
                </c:pt>
                <c:pt idx="2">
                  <c:v>0.89700000000000002</c:v>
                </c:pt>
                <c:pt idx="3">
                  <c:v>1.714</c:v>
                </c:pt>
                <c:pt idx="4">
                  <c:v>1.105</c:v>
                </c:pt>
                <c:pt idx="5">
                  <c:v>1.1160000000000001</c:v>
                </c:pt>
                <c:pt idx="6">
                  <c:v>1.327</c:v>
                </c:pt>
                <c:pt idx="7">
                  <c:v>0.93799999999999994</c:v>
                </c:pt>
              </c:numCache>
            </c:numRef>
          </c:yVal>
          <c:bubbleSize>
            <c:numRef>
              <c:f>Sheet1!$C$2:$C$9</c:f>
              <c:numCache>
                <c:formatCode>General</c:formatCode>
                <c:ptCount val="8"/>
                <c:pt idx="0">
                  <c:v>78289</c:v>
                </c:pt>
                <c:pt idx="1">
                  <c:v>39373</c:v>
                </c:pt>
                <c:pt idx="2">
                  <c:v>32061</c:v>
                </c:pt>
                <c:pt idx="3">
                  <c:v>22179</c:v>
                </c:pt>
                <c:pt idx="4">
                  <c:v>16609</c:v>
                </c:pt>
                <c:pt idx="5">
                  <c:v>12072</c:v>
                </c:pt>
                <c:pt idx="6">
                  <c:v>8589</c:v>
                </c:pt>
                <c:pt idx="7">
                  <c:v>8252</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Bouvet-Ladubay</c:v>
                  </c:pt>
                  <c:pt idx="5">
                    <c:v>Chateau Moncontour</c:v>
                  </c:pt>
                  <c:pt idx="6">
                    <c:v>De Chanceny</c:v>
                  </c:pt>
                  <c:pt idx="7">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1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0868E4-2560-4890-9FAD-8426C2D86E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2282F8-2935-4BFF-9070-BF384DEA4E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F573A6-5612-48A9-A41D-1ADBA35071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98C896-B73B-4DC6-BA50-FE9B527276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E2DC68-3E29-4D38-9E7B-31692E5C1A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022023-D395-4211-AE91-8D14198D1B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57E8C7-E033-409C-88E6-3DA075D200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846D41-9B04-4104-83DD-B08CD78AD0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886</c:v>
                </c:pt>
                <c:pt idx="1">
                  <c:v>12.6144</c:v>
                </c:pt>
                <c:pt idx="2">
                  <c:v>9.1776</c:v>
                </c:pt>
                <c:pt idx="3">
                  <c:v>17.562100000000001</c:v>
                </c:pt>
                <c:pt idx="4">
                  <c:v>11.366199999999999</c:v>
                </c:pt>
                <c:pt idx="5">
                  <c:v>11.551</c:v>
                </c:pt>
                <c:pt idx="6">
                  <c:v>6.4760999999999997</c:v>
                </c:pt>
                <c:pt idx="7">
                  <c:v>12.0534</c:v>
                </c:pt>
              </c:numCache>
            </c:numRef>
          </c:xVal>
          <c:yVal>
            <c:numRef>
              <c:f>Sheet1!$B$2:$B$9</c:f>
              <c:numCache>
                <c:formatCode>General</c:formatCode>
                <c:ptCount val="8"/>
                <c:pt idx="0">
                  <c:v>1.1180000000000001</c:v>
                </c:pt>
                <c:pt idx="1">
                  <c:v>1.2310000000000001</c:v>
                </c:pt>
                <c:pt idx="2">
                  <c:v>0.89500000000000002</c:v>
                </c:pt>
                <c:pt idx="3">
                  <c:v>1.698</c:v>
                </c:pt>
                <c:pt idx="4">
                  <c:v>1.103</c:v>
                </c:pt>
                <c:pt idx="5">
                  <c:v>0.93899999999999995</c:v>
                </c:pt>
                <c:pt idx="6">
                  <c:v>0.629</c:v>
                </c:pt>
                <c:pt idx="7">
                  <c:v>1.0760000000000001</c:v>
                </c:pt>
              </c:numCache>
            </c:numRef>
          </c:yVal>
          <c:bubbleSize>
            <c:numRef>
              <c:f>Sheet1!$C$2:$C$9</c:f>
              <c:numCache>
                <c:formatCode>General</c:formatCode>
                <c:ptCount val="8"/>
                <c:pt idx="0">
                  <c:v>41175</c:v>
                </c:pt>
                <c:pt idx="1">
                  <c:v>33731</c:v>
                </c:pt>
                <c:pt idx="2">
                  <c:v>22788</c:v>
                </c:pt>
                <c:pt idx="3">
                  <c:v>13997</c:v>
                </c:pt>
                <c:pt idx="4">
                  <c:v>10707</c:v>
                </c:pt>
                <c:pt idx="5">
                  <c:v>8259</c:v>
                </c:pt>
                <c:pt idx="6">
                  <c:v>7726</c:v>
                </c:pt>
                <c:pt idx="7">
                  <c:v>7220</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Chateau Moncontour</c:v>
                  </c:pt>
                  <c:pt idx="5">
                    <c:v>Contarini</c:v>
                  </c:pt>
                  <c:pt idx="6">
                    <c:v>Vilaveroni</c:v>
                  </c:pt>
                  <c:pt idx="7">
                    <c:v>Bouvet-Ladub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BE155A-DBBF-4189-BB7A-03B8D7E945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E05D94-E91D-4C1B-8D5A-A97BE5744C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87A122-CB22-4FDF-B113-AFB0219CA8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0B06DF-7CDD-484C-8C11-853D558FB4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9AD420-02BB-452E-A01F-175DA1834E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BD0FE6-25BE-4054-9AB3-E575DC715B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0AF448-C09E-427D-AD0F-262FFF2FC9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013C38-0F6A-4B52-8CB1-B3C2860BBB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6576</c:v>
                </c:pt>
                <c:pt idx="1">
                  <c:v>11.490399999999999</c:v>
                </c:pt>
                <c:pt idx="2">
                  <c:v>11.404400000000001</c:v>
                </c:pt>
                <c:pt idx="3">
                  <c:v>17.4818</c:v>
                </c:pt>
                <c:pt idx="4">
                  <c:v>5.8106999999999998</c:v>
                </c:pt>
                <c:pt idx="5">
                  <c:v>11.525499999999999</c:v>
                </c:pt>
                <c:pt idx="6">
                  <c:v>9.1667000000000005</c:v>
                </c:pt>
                <c:pt idx="7">
                  <c:v>10.4292</c:v>
                </c:pt>
              </c:numCache>
            </c:numRef>
          </c:xVal>
          <c:yVal>
            <c:numRef>
              <c:f>Sheet1!$B$2:$B$9</c:f>
              <c:numCache>
                <c:formatCode>General</c:formatCode>
                <c:ptCount val="8"/>
                <c:pt idx="0">
                  <c:v>1.2689999999999999</c:v>
                </c:pt>
                <c:pt idx="1">
                  <c:v>1.131</c:v>
                </c:pt>
                <c:pt idx="2">
                  <c:v>1.0940000000000001</c:v>
                </c:pt>
                <c:pt idx="3">
                  <c:v>1.7410000000000001</c:v>
                </c:pt>
                <c:pt idx="4">
                  <c:v>0.57599999999999996</c:v>
                </c:pt>
                <c:pt idx="5">
                  <c:v>1.1419999999999999</c:v>
                </c:pt>
                <c:pt idx="6">
                  <c:v>0.90500000000000003</c:v>
                </c:pt>
                <c:pt idx="7">
                  <c:v>0.97699999999999998</c:v>
                </c:pt>
              </c:numCache>
            </c:numRef>
          </c:yVal>
          <c:bubbleSize>
            <c:numRef>
              <c:f>Sheet1!$C$2:$C$9</c:f>
              <c:numCache>
                <c:formatCode>General</c:formatCode>
                <c:ptCount val="8"/>
                <c:pt idx="0">
                  <c:v>14860</c:v>
                </c:pt>
                <c:pt idx="1">
                  <c:v>13214</c:v>
                </c:pt>
                <c:pt idx="2">
                  <c:v>10800</c:v>
                </c:pt>
                <c:pt idx="3">
                  <c:v>9615</c:v>
                </c:pt>
                <c:pt idx="4">
                  <c:v>8164</c:v>
                </c:pt>
                <c:pt idx="5">
                  <c:v>5878</c:v>
                </c:pt>
                <c:pt idx="6">
                  <c:v>5555</c:v>
                </c:pt>
                <c:pt idx="7">
                  <c:v>2284</c:v>
                </c:pt>
              </c:numCache>
            </c:numRef>
          </c:bubbleSize>
          <c:bubble3D val="0"/>
          <c:extLst>
            <c:ext xmlns:c15="http://schemas.microsoft.com/office/drawing/2012/chart" uri="{02D57815-91ED-43cb-92C2-25804820EDAC}">
              <c15:datalabelsRange>
                <c15:f>Sheet1!$E$2:$E$10</c15:f>
                <c15:dlblRangeCache>
                  <c:ptCount val="9"/>
                  <c:pt idx="0">
                    <c:v>Patriarche</c:v>
                  </c:pt>
                  <c:pt idx="1">
                    <c:v>Bottega</c:v>
                  </c:pt>
                  <c:pt idx="2">
                    <c:v>Bouvet-Ladubay</c:v>
                  </c:pt>
                  <c:pt idx="3">
                    <c:v>Mure</c:v>
                  </c:pt>
                  <c:pt idx="4">
                    <c:v>Kriter</c:v>
                  </c:pt>
                  <c:pt idx="5">
                    <c:v>Chateau Moncontour</c:v>
                  </c:pt>
                  <c:pt idx="6">
                    <c:v>Savian</c:v>
                  </c:pt>
                  <c:pt idx="7">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BEDE78-7577-4511-BB99-1446B1B1FB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174F33-ECCC-4192-96BB-ED4C431EF2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B25540-614B-4F71-89FF-2BD17938D6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0AAB01-9ABB-4A03-A6C4-9030B3453D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2D073B-CFBE-479E-8DE2-DC056722DF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ED61A4E-033E-4D40-A8A8-A597756E7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39A8A53-9790-4F58-AEFD-5BF4B7B071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FD4D83-9EDD-47AF-A4F8-E157E033B4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333100000000002</c:v>
                </c:pt>
                <c:pt idx="1">
                  <c:v>12.973800000000001</c:v>
                </c:pt>
                <c:pt idx="2">
                  <c:v>9.0344999999999995</c:v>
                </c:pt>
                <c:pt idx="3">
                  <c:v>11.645300000000001</c:v>
                </c:pt>
                <c:pt idx="4">
                  <c:v>11.7005</c:v>
                </c:pt>
              </c:numCache>
            </c:numRef>
          </c:xVal>
          <c:yVal>
            <c:numRef>
              <c:f>Sheet1!$B$2:$B$6</c:f>
              <c:numCache>
                <c:formatCode>General</c:formatCode>
                <c:ptCount val="5"/>
                <c:pt idx="0">
                  <c:v>1.5960000000000001</c:v>
                </c:pt>
                <c:pt idx="1">
                  <c:v>1.091</c:v>
                </c:pt>
                <c:pt idx="2">
                  <c:v>0.78300000000000003</c:v>
                </c:pt>
                <c:pt idx="3">
                  <c:v>0.97099999999999997</c:v>
                </c:pt>
                <c:pt idx="4">
                  <c:v>0.98399999999999999</c:v>
                </c:pt>
              </c:numCache>
            </c:numRef>
          </c:yVal>
          <c:bubbleSize>
            <c:numRef>
              <c:f>Sheet1!$C$2:$C$6</c:f>
              <c:numCache>
                <c:formatCode>General</c:formatCode>
                <c:ptCount val="5"/>
                <c:pt idx="0">
                  <c:v>68483</c:v>
                </c:pt>
                <c:pt idx="1">
                  <c:v>3957</c:v>
                </c:pt>
                <c:pt idx="2">
                  <c:v>3930</c:v>
                </c:pt>
                <c:pt idx="3">
                  <c:v>3447</c:v>
                </c:pt>
                <c:pt idx="4">
                  <c:v>2188</c:v>
                </c:pt>
              </c:numCache>
            </c:numRef>
          </c:bubbleSize>
          <c:bubble3D val="0"/>
          <c:extLst>
            <c:ext xmlns:c15="http://schemas.microsoft.com/office/drawing/2012/chart" uri="{02D57815-91ED-43cb-92C2-25804820EDAC}">
              <c15:datalabelsRange>
                <c15:f>Sheet1!$E$2:$E$10</c15:f>
                <c15:dlblRangeCache>
                  <c:ptCount val="9"/>
                  <c:pt idx="0">
                    <c:v>Mure</c:v>
                  </c:pt>
                  <c:pt idx="1">
                    <c:v>Patriarche</c:v>
                  </c:pt>
                  <c:pt idx="2">
                    <c:v>Savian</c:v>
                  </c:pt>
                  <c:pt idx="3">
                    <c:v>Bottega</c:v>
                  </c:pt>
                  <c:pt idx="4">
                    <c:v>Chateau Moncontou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9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BDD2F6-5E87-47D5-932A-820899075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FA0DBA-7AB3-46A8-AC67-FCEE99C9E1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8E71D3-709F-4C8C-8561-C076190711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94B32E-48F8-4290-B825-785808F35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F8704C-F28B-4861-B1E2-28C3AEA6AB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DFBE0D-49D8-45F4-A9B8-2E6C1A8A0D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58BF37-1EB0-4453-AB58-5C3372988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44137B-183F-404E-946B-E8F5C427A8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457</c:v>
                </c:pt>
                <c:pt idx="1">
                  <c:v>12.7675</c:v>
                </c:pt>
                <c:pt idx="2">
                  <c:v>9.1258999999999997</c:v>
                </c:pt>
                <c:pt idx="3">
                  <c:v>17.377600000000001</c:v>
                </c:pt>
                <c:pt idx="4">
                  <c:v>11.3108</c:v>
                </c:pt>
                <c:pt idx="5">
                  <c:v>11.7963</c:v>
                </c:pt>
                <c:pt idx="6">
                  <c:v>13.266400000000001</c:v>
                </c:pt>
                <c:pt idx="7">
                  <c:v>11.2964</c:v>
                </c:pt>
              </c:numCache>
            </c:numRef>
          </c:xVal>
          <c:yVal>
            <c:numRef>
              <c:f>Sheet1!$B$2:$B$9</c:f>
              <c:numCache>
                <c:formatCode>General</c:formatCode>
                <c:ptCount val="8"/>
                <c:pt idx="0">
                  <c:v>1.0960000000000001</c:v>
                </c:pt>
                <c:pt idx="1">
                  <c:v>1.224</c:v>
                </c:pt>
                <c:pt idx="2">
                  <c:v>0.874</c:v>
                </c:pt>
                <c:pt idx="3">
                  <c:v>1.6639999999999999</c:v>
                </c:pt>
                <c:pt idx="4">
                  <c:v>1.0840000000000001</c:v>
                </c:pt>
                <c:pt idx="5">
                  <c:v>1.077</c:v>
                </c:pt>
                <c:pt idx="6">
                  <c:v>1.2689999999999999</c:v>
                </c:pt>
                <c:pt idx="7">
                  <c:v>0.92400000000000004</c:v>
                </c:pt>
              </c:numCache>
            </c:numRef>
          </c:yVal>
          <c:bubbleSize>
            <c:numRef>
              <c:f>Sheet1!$C$2:$C$9</c:f>
              <c:numCache>
                <c:formatCode>General</c:formatCode>
                <c:ptCount val="8"/>
                <c:pt idx="0">
                  <c:v>195596</c:v>
                </c:pt>
                <c:pt idx="1">
                  <c:v>123577</c:v>
                </c:pt>
                <c:pt idx="2">
                  <c:v>96917</c:v>
                </c:pt>
                <c:pt idx="3">
                  <c:v>78512</c:v>
                </c:pt>
                <c:pt idx="4">
                  <c:v>64924</c:v>
                </c:pt>
                <c:pt idx="5">
                  <c:v>64278</c:v>
                </c:pt>
                <c:pt idx="6">
                  <c:v>37597</c:v>
                </c:pt>
                <c:pt idx="7">
                  <c:v>19859</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Chateau Moncontour</c:v>
                  </c:pt>
                  <c:pt idx="5">
                    <c:v>Bouvet-Ladubay</c:v>
                  </c:pt>
                  <c:pt idx="6">
                    <c:v>De Chanceny</c:v>
                  </c:pt>
                  <c:pt idx="7">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03451A9-83B1-4A3A-86B5-0040BA0AB4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9EECFD1-3295-44E2-843B-09FD64DDC5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29B322C-840D-4470-A057-55FBEA6CCF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7D2A084-9294-4C3C-B10B-0890A4438F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DFAD824-8311-4698-9974-FEA15DAB34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CBBCF4E-2DB8-4337-B531-5BFEF70A67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0C8966F-364F-404C-AE9F-11C016B89B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CA1DE65-A22C-403A-ACB5-6F4B3B652B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745100000000001</c:v>
                </c:pt>
                <c:pt idx="1">
                  <c:v>11.3698</c:v>
                </c:pt>
                <c:pt idx="2">
                  <c:v>17.401599999999998</c:v>
                </c:pt>
                <c:pt idx="3">
                  <c:v>11.7576</c:v>
                </c:pt>
                <c:pt idx="4">
                  <c:v>11.376799999999999</c:v>
                </c:pt>
                <c:pt idx="5">
                  <c:v>9.0983000000000001</c:v>
                </c:pt>
                <c:pt idx="6">
                  <c:v>13.245200000000001</c:v>
                </c:pt>
                <c:pt idx="7">
                  <c:v>5.7225999999999999</c:v>
                </c:pt>
              </c:numCache>
            </c:numRef>
          </c:xVal>
          <c:yVal>
            <c:numRef>
              <c:f>Sheet1!$B$2:$B$9</c:f>
              <c:numCache>
                <c:formatCode>General</c:formatCode>
                <c:ptCount val="8"/>
                <c:pt idx="0">
                  <c:v>1.2070000000000001</c:v>
                </c:pt>
                <c:pt idx="1">
                  <c:v>1.075</c:v>
                </c:pt>
                <c:pt idx="2">
                  <c:v>1.65</c:v>
                </c:pt>
                <c:pt idx="3">
                  <c:v>1.0609999999999999</c:v>
                </c:pt>
                <c:pt idx="4">
                  <c:v>1.077</c:v>
                </c:pt>
                <c:pt idx="5">
                  <c:v>0.86199999999999999</c:v>
                </c:pt>
                <c:pt idx="6">
                  <c:v>1.256</c:v>
                </c:pt>
                <c:pt idx="7">
                  <c:v>0.54100000000000004</c:v>
                </c:pt>
              </c:numCache>
            </c:numRef>
          </c:yVal>
          <c:bubbleSize>
            <c:numRef>
              <c:f>Sheet1!$C$2:$C$9</c:f>
              <c:numCache>
                <c:formatCode>General</c:formatCode>
                <c:ptCount val="8"/>
                <c:pt idx="0">
                  <c:v>115254</c:v>
                </c:pt>
                <c:pt idx="1">
                  <c:v>108729</c:v>
                </c:pt>
                <c:pt idx="2">
                  <c:v>74009</c:v>
                </c:pt>
                <c:pt idx="3">
                  <c:v>61739</c:v>
                </c:pt>
                <c:pt idx="4">
                  <c:v>55701</c:v>
                </c:pt>
                <c:pt idx="5">
                  <c:v>55136</c:v>
                </c:pt>
                <c:pt idx="6">
                  <c:v>28093</c:v>
                </c:pt>
                <c:pt idx="7">
                  <c:v>26015</c:v>
                </c:pt>
              </c:numCache>
            </c:numRef>
          </c:bubbleSize>
          <c:bubble3D val="0"/>
          <c:extLst>
            <c:ext xmlns:c15="http://schemas.microsoft.com/office/drawing/2012/chart" uri="{02D57815-91ED-43cb-92C2-25804820EDAC}">
              <c15:datalabelsRange>
                <c15:f>Sheet1!$E$2:$E$10</c15:f>
                <c15:dlblRangeCache>
                  <c:ptCount val="9"/>
                  <c:pt idx="0">
                    <c:v>Patriarche</c:v>
                  </c:pt>
                  <c:pt idx="1">
                    <c:v>Bottega</c:v>
                  </c:pt>
                  <c:pt idx="2">
                    <c:v>Mure</c:v>
                  </c:pt>
                  <c:pt idx="3">
                    <c:v>Bouvet-Ladubay</c:v>
                  </c:pt>
                  <c:pt idx="4">
                    <c:v>Chateau Moncontour</c:v>
                  </c:pt>
                  <c:pt idx="5">
                    <c:v>Savian</c:v>
                  </c:pt>
                  <c:pt idx="6">
                    <c:v>De Chanceny</c:v>
                  </c:pt>
                  <c:pt idx="7">
                    <c:v>Krit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ACA502-4FCF-4F65-8401-BC45BD0B95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135858-D53E-49E2-9BB6-C7B79DFAEC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D4630DA-D4F6-458E-B716-815173DB22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2D8E99-A3BE-4520-9E97-0C4D7F4237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504133-2FCC-480F-AD0E-F91B276EBF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081647-C8E3-455A-98DF-1B5D993F39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9CC031-3277-4469-8B9B-08DB01A172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EC1308-8E89-4C55-8F46-E57C48DA4E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999</c:v>
                </c:pt>
                <c:pt idx="1">
                  <c:v>12.7821</c:v>
                </c:pt>
                <c:pt idx="2">
                  <c:v>17.365600000000001</c:v>
                </c:pt>
                <c:pt idx="3">
                  <c:v>11.6388</c:v>
                </c:pt>
                <c:pt idx="4">
                  <c:v>11.379899999999999</c:v>
                </c:pt>
                <c:pt idx="5">
                  <c:v>9.0538000000000007</c:v>
                </c:pt>
                <c:pt idx="6">
                  <c:v>13.565200000000001</c:v>
                </c:pt>
                <c:pt idx="7">
                  <c:v>5.7614999999999998</c:v>
                </c:pt>
              </c:numCache>
            </c:numRef>
          </c:xVal>
          <c:yVal>
            <c:numRef>
              <c:f>Sheet1!$B$2:$B$9</c:f>
              <c:numCache>
                <c:formatCode>General</c:formatCode>
                <c:ptCount val="8"/>
                <c:pt idx="0">
                  <c:v>1.0920000000000001</c:v>
                </c:pt>
                <c:pt idx="1">
                  <c:v>1.214</c:v>
                </c:pt>
                <c:pt idx="2">
                  <c:v>1.6639999999999999</c:v>
                </c:pt>
                <c:pt idx="3">
                  <c:v>1.0660000000000001</c:v>
                </c:pt>
                <c:pt idx="4">
                  <c:v>1.081</c:v>
                </c:pt>
                <c:pt idx="5">
                  <c:v>0.86099999999999999</c:v>
                </c:pt>
                <c:pt idx="6">
                  <c:v>1.2849999999999999</c:v>
                </c:pt>
                <c:pt idx="7">
                  <c:v>0.54600000000000004</c:v>
                </c:pt>
              </c:numCache>
            </c:numRef>
          </c:yVal>
          <c:bubbleSize>
            <c:numRef>
              <c:f>Sheet1!$C$2:$C$9</c:f>
              <c:numCache>
                <c:formatCode>General</c:formatCode>
                <c:ptCount val="8"/>
                <c:pt idx="0">
                  <c:v>82178</c:v>
                </c:pt>
                <c:pt idx="1">
                  <c:v>74724</c:v>
                </c:pt>
                <c:pt idx="2">
                  <c:v>70435</c:v>
                </c:pt>
                <c:pt idx="3">
                  <c:v>50745</c:v>
                </c:pt>
                <c:pt idx="4">
                  <c:v>43528</c:v>
                </c:pt>
                <c:pt idx="5">
                  <c:v>39538</c:v>
                </c:pt>
                <c:pt idx="6">
                  <c:v>23088</c:v>
                </c:pt>
                <c:pt idx="7">
                  <c:v>21335</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Bouvet-Ladubay</c:v>
                  </c:pt>
                  <c:pt idx="4">
                    <c:v>Chateau Moncontour</c:v>
                  </c:pt>
                  <c:pt idx="5">
                    <c:v>Savian</c:v>
                  </c:pt>
                  <c:pt idx="6">
                    <c:v>De Chanceny</c:v>
                  </c:pt>
                  <c:pt idx="7">
                    <c:v>Krit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BF5812-77F8-4193-8D3E-C0A1007E92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CC4A51-9394-4154-A019-61EB129DEC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4CB07E-21FB-4C95-BD49-4D80635A07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11C279-CBF9-453A-A398-685BABB1E1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97FAE6-2B8A-466B-B640-D7CC715727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281E43-7448-4FB7-95CC-737B028121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77DAAB-CB98-4B78-8E7D-1DFEEFB7AB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6DA21F-D715-4345-AD99-F6902CBE8E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04999999999999</c:v>
                </c:pt>
                <c:pt idx="1">
                  <c:v>12.696099999999999</c:v>
                </c:pt>
                <c:pt idx="2">
                  <c:v>9.0840999999999994</c:v>
                </c:pt>
                <c:pt idx="3">
                  <c:v>17.397300000000001</c:v>
                </c:pt>
                <c:pt idx="4">
                  <c:v>11.7463</c:v>
                </c:pt>
                <c:pt idx="5">
                  <c:v>11.4129</c:v>
                </c:pt>
                <c:pt idx="6">
                  <c:v>13.5061</c:v>
                </c:pt>
                <c:pt idx="7">
                  <c:v>5.7343000000000002</c:v>
                </c:pt>
              </c:numCache>
            </c:numRef>
          </c:xVal>
          <c:yVal>
            <c:numRef>
              <c:f>Sheet1!$B$2:$B$9</c:f>
              <c:numCache>
                <c:formatCode>General</c:formatCode>
                <c:ptCount val="8"/>
                <c:pt idx="0">
                  <c:v>1.0820000000000001</c:v>
                </c:pt>
                <c:pt idx="1">
                  <c:v>1.2050000000000001</c:v>
                </c:pt>
                <c:pt idx="2">
                  <c:v>0.86199999999999999</c:v>
                </c:pt>
                <c:pt idx="3">
                  <c:v>1.6519999999999999</c:v>
                </c:pt>
                <c:pt idx="4">
                  <c:v>1.0720000000000001</c:v>
                </c:pt>
                <c:pt idx="5">
                  <c:v>1.083</c:v>
                </c:pt>
                <c:pt idx="6">
                  <c:v>1.28</c:v>
                </c:pt>
                <c:pt idx="7">
                  <c:v>0.54500000000000004</c:v>
                </c:pt>
              </c:numCache>
            </c:numRef>
          </c:yVal>
          <c:bubbleSize>
            <c:numRef>
              <c:f>Sheet1!$C$2:$C$9</c:f>
              <c:numCache>
                <c:formatCode>General</c:formatCode>
                <c:ptCount val="8"/>
                <c:pt idx="0">
                  <c:v>150888</c:v>
                </c:pt>
                <c:pt idx="1">
                  <c:v>111713</c:v>
                </c:pt>
                <c:pt idx="2">
                  <c:v>86281</c:v>
                </c:pt>
                <c:pt idx="3">
                  <c:v>76009</c:v>
                </c:pt>
                <c:pt idx="4">
                  <c:v>74413</c:v>
                </c:pt>
                <c:pt idx="5">
                  <c:v>70235</c:v>
                </c:pt>
                <c:pt idx="6">
                  <c:v>42355</c:v>
                </c:pt>
                <c:pt idx="7">
                  <c:v>19233</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Bouvet-Ladubay</c:v>
                  </c:pt>
                  <c:pt idx="5">
                    <c:v>Chateau Moncontour</c:v>
                  </c:pt>
                  <c:pt idx="6">
                    <c:v>De Chanceny</c:v>
                  </c:pt>
                  <c:pt idx="7">
                    <c:v>Krit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CB9967-07C9-4D7C-BE4D-57D20C8B1A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A605AC-E748-4580-8BA0-5416E71D6B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172558-6DB2-4870-8099-C499950A39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96D7BF-1BBD-4F3C-A489-009877F3A1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5EBAC3-F181-41EA-A1F5-27A5694166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A78069-965B-4636-9707-CD42FEDD77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52EC1D9-FDCA-43F1-92DA-780BF12D7E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8E0FDD-98EC-4404-B891-15606ADF3C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3996</c:v>
                </c:pt>
                <c:pt idx="1">
                  <c:v>12.751099999999999</c:v>
                </c:pt>
                <c:pt idx="2">
                  <c:v>17.6111</c:v>
                </c:pt>
                <c:pt idx="3">
                  <c:v>9.1219000000000001</c:v>
                </c:pt>
                <c:pt idx="4">
                  <c:v>11.9292</c:v>
                </c:pt>
                <c:pt idx="5">
                  <c:v>11.430300000000001</c:v>
                </c:pt>
                <c:pt idx="6">
                  <c:v>13.4643</c:v>
                </c:pt>
                <c:pt idx="7">
                  <c:v>11.543699999999999</c:v>
                </c:pt>
              </c:numCache>
            </c:numRef>
          </c:xVal>
          <c:yVal>
            <c:numRef>
              <c:f>Sheet1!$B$2:$B$9</c:f>
              <c:numCache>
                <c:formatCode>General</c:formatCode>
                <c:ptCount val="8"/>
                <c:pt idx="0">
                  <c:v>1.06</c:v>
                </c:pt>
                <c:pt idx="1">
                  <c:v>1.1859999999999999</c:v>
                </c:pt>
                <c:pt idx="2">
                  <c:v>1.6619999999999999</c:v>
                </c:pt>
                <c:pt idx="3">
                  <c:v>0.84899999999999998</c:v>
                </c:pt>
                <c:pt idx="4">
                  <c:v>1.0469999999999999</c:v>
                </c:pt>
                <c:pt idx="5">
                  <c:v>1.0620000000000001</c:v>
                </c:pt>
                <c:pt idx="6">
                  <c:v>1.25</c:v>
                </c:pt>
                <c:pt idx="7">
                  <c:v>0.89800000000000002</c:v>
                </c:pt>
              </c:numCache>
            </c:numRef>
          </c:yVal>
          <c:bubbleSize>
            <c:numRef>
              <c:f>Sheet1!$C$2:$C$9</c:f>
              <c:numCache>
                <c:formatCode>General</c:formatCode>
                <c:ptCount val="8"/>
                <c:pt idx="0">
                  <c:v>101593</c:v>
                </c:pt>
                <c:pt idx="1">
                  <c:v>99140</c:v>
                </c:pt>
                <c:pt idx="2">
                  <c:v>82244</c:v>
                </c:pt>
                <c:pt idx="3">
                  <c:v>56501</c:v>
                </c:pt>
                <c:pt idx="4">
                  <c:v>55399</c:v>
                </c:pt>
                <c:pt idx="5">
                  <c:v>53231</c:v>
                </c:pt>
                <c:pt idx="6">
                  <c:v>27871</c:v>
                </c:pt>
                <c:pt idx="7">
                  <c:v>17154</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Bouvet-Ladubay</c:v>
                  </c:pt>
                  <c:pt idx="5">
                    <c:v>Chateau Moncontour</c:v>
                  </c:pt>
                  <c:pt idx="6">
                    <c:v>De Chanceny</c:v>
                  </c:pt>
                  <c:pt idx="7">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7DB5EC-116A-411A-A699-B558E4E10D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4A8254-22CA-4C5E-8C3E-091405AB33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EC6DC6-8ED4-4943-8D3A-3E1CABFE36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4AB00F-96B8-49F3-9FE6-2828BB61A4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677DFF-995C-403E-8F0D-8B4407A050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07ED60-C479-4EE6-9BF8-B7829FD1CC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6A82B0-001E-4C37-A309-4CC8EF79CC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57F106-82A3-4877-9E70-B0266FD86B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7788</c:v>
                </c:pt>
                <c:pt idx="1">
                  <c:v>17.286000000000001</c:v>
                </c:pt>
                <c:pt idx="2">
                  <c:v>11.5068</c:v>
                </c:pt>
                <c:pt idx="3">
                  <c:v>11.856400000000001</c:v>
                </c:pt>
                <c:pt idx="4">
                  <c:v>11.451700000000001</c:v>
                </c:pt>
                <c:pt idx="5">
                  <c:v>9.1301000000000005</c:v>
                </c:pt>
                <c:pt idx="6">
                  <c:v>5.7043999999999997</c:v>
                </c:pt>
                <c:pt idx="7">
                  <c:v>13.463800000000001</c:v>
                </c:pt>
              </c:numCache>
            </c:numRef>
          </c:xVal>
          <c:yVal>
            <c:numRef>
              <c:f>Sheet1!$B$2:$B$9</c:f>
              <c:numCache>
                <c:formatCode>General</c:formatCode>
                <c:ptCount val="8"/>
                <c:pt idx="0">
                  <c:v>1.206</c:v>
                </c:pt>
                <c:pt idx="1">
                  <c:v>1.671</c:v>
                </c:pt>
                <c:pt idx="2">
                  <c:v>1.0860000000000001</c:v>
                </c:pt>
                <c:pt idx="3">
                  <c:v>1.0509999999999999</c:v>
                </c:pt>
                <c:pt idx="4">
                  <c:v>1.0820000000000001</c:v>
                </c:pt>
                <c:pt idx="5">
                  <c:v>0.86199999999999999</c:v>
                </c:pt>
                <c:pt idx="6">
                  <c:v>0.53800000000000003</c:v>
                </c:pt>
                <c:pt idx="7">
                  <c:v>1.2729999999999999</c:v>
                </c:pt>
              </c:numCache>
            </c:numRef>
          </c:yVal>
          <c:bubbleSize>
            <c:numRef>
              <c:f>Sheet1!$C$2:$C$9</c:f>
              <c:numCache>
                <c:formatCode>General</c:formatCode>
                <c:ptCount val="8"/>
                <c:pt idx="0">
                  <c:v>98192</c:v>
                </c:pt>
                <c:pt idx="1">
                  <c:v>81175</c:v>
                </c:pt>
                <c:pt idx="2">
                  <c:v>77326</c:v>
                </c:pt>
                <c:pt idx="3">
                  <c:v>60420</c:v>
                </c:pt>
                <c:pt idx="4">
                  <c:v>50548</c:v>
                </c:pt>
                <c:pt idx="5">
                  <c:v>44555</c:v>
                </c:pt>
                <c:pt idx="6">
                  <c:v>27997</c:v>
                </c:pt>
                <c:pt idx="7">
                  <c:v>27143</c:v>
                </c:pt>
              </c:numCache>
            </c:numRef>
          </c:bubbleSize>
          <c:bubble3D val="0"/>
          <c:extLst>
            <c:ext xmlns:c15="http://schemas.microsoft.com/office/drawing/2012/chart" uri="{02D57815-91ED-43cb-92C2-25804820EDAC}">
              <c15:datalabelsRange>
                <c15:f>Sheet1!$E$2:$E$10</c15:f>
                <c15:dlblRangeCache>
                  <c:ptCount val="9"/>
                  <c:pt idx="0">
                    <c:v>Patriarche</c:v>
                  </c:pt>
                  <c:pt idx="1">
                    <c:v>Mure</c:v>
                  </c:pt>
                  <c:pt idx="2">
                    <c:v>Bottega</c:v>
                  </c:pt>
                  <c:pt idx="3">
                    <c:v>Bouvet-Ladubay</c:v>
                  </c:pt>
                  <c:pt idx="4">
                    <c:v>Chateau Moncontour</c:v>
                  </c:pt>
                  <c:pt idx="5">
                    <c:v>Savian</c:v>
                  </c:pt>
                  <c:pt idx="6">
                    <c:v>Krite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A46E8B-CE38-485C-B71D-566027813E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FC2B13-4D24-44ED-BCED-6BCA2AD5D5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7D26AD-61BA-47D5-AE8C-C667FC29FD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53D57A-5186-4141-836A-0341A75ACD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50DE85-7882-4037-876B-95684715BE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72D04E-918C-4083-9145-C411FB0EEA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426690-DA07-4866-976B-BA5425BED3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E23C531-3127-4F7B-8262-CD811FD28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5872999999999999</c:v>
                </c:pt>
                <c:pt idx="1">
                  <c:v>3.6678000000000002</c:v>
                </c:pt>
                <c:pt idx="2">
                  <c:v>3.9388000000000001</c:v>
                </c:pt>
                <c:pt idx="3">
                  <c:v>2.9659</c:v>
                </c:pt>
                <c:pt idx="4">
                  <c:v>5.45</c:v>
                </c:pt>
                <c:pt idx="5">
                  <c:v>7.4157999999999999</c:v>
                </c:pt>
                <c:pt idx="6">
                  <c:v>29.135300000000001</c:v>
                </c:pt>
              </c:numCache>
            </c:numRef>
          </c:xVal>
          <c:yVal>
            <c:numRef>
              <c:f>Sheet1!$B$2:$B$8</c:f>
              <c:numCache>
                <c:formatCode>General</c:formatCode>
                <c:ptCount val="7"/>
                <c:pt idx="0">
                  <c:v>0.93100000000000005</c:v>
                </c:pt>
                <c:pt idx="1">
                  <c:v>0.95099999999999996</c:v>
                </c:pt>
                <c:pt idx="2">
                  <c:v>1.0089999999999999</c:v>
                </c:pt>
                <c:pt idx="3">
                  <c:v>0.76900000000000002</c:v>
                </c:pt>
                <c:pt idx="4">
                  <c:v>1.4139999999999999</c:v>
                </c:pt>
                <c:pt idx="5">
                  <c:v>1.9059999999999999</c:v>
                </c:pt>
                <c:pt idx="6">
                  <c:v>7.5529999999999999</c:v>
                </c:pt>
              </c:numCache>
            </c:numRef>
          </c:yVal>
          <c:bubbleSize>
            <c:numRef>
              <c:f>Sheet1!$C$2:$C$8</c:f>
              <c:numCache>
                <c:formatCode>General</c:formatCode>
                <c:ptCount val="7"/>
                <c:pt idx="0">
                  <c:v>8393288</c:v>
                </c:pt>
                <c:pt idx="1">
                  <c:v>5214126</c:v>
                </c:pt>
                <c:pt idx="2">
                  <c:v>4064943</c:v>
                </c:pt>
                <c:pt idx="3">
                  <c:v>2391008</c:v>
                </c:pt>
                <c:pt idx="4">
                  <c:v>1430636</c:v>
                </c:pt>
                <c:pt idx="5">
                  <c:v>436974</c:v>
                </c:pt>
                <c:pt idx="6">
                  <c:v>337562</c:v>
                </c:pt>
              </c:numCache>
            </c:numRef>
          </c:bubbleSize>
          <c:bubble3D val="0"/>
          <c:extLst>
            <c:ext xmlns:c15="http://schemas.microsoft.com/office/drawing/2012/chart" uri="{02D57815-91ED-43cb-92C2-25804820EDAC}">
              <c15:datalabelsRange>
                <c15:f>Sheet1!$E$2:$E$10</c15:f>
                <c15:dlblRangeCache>
                  <c:ptCount val="9"/>
                  <c:pt idx="0">
                    <c:v>D'Artigny</c:v>
                  </c:pt>
                  <c:pt idx="1">
                    <c:v>Festillant</c:v>
                  </c:pt>
                  <c:pt idx="2">
                    <c:v>Petillant De Listel</c:v>
                  </c:pt>
                  <c:pt idx="3">
                    <c:v>Mdd</c:v>
                  </c:pt>
                  <c:pt idx="4">
                    <c:v>Freixenet</c:v>
                  </c:pt>
                  <c:pt idx="5">
                    <c:v>Ackerman</c:v>
                  </c:pt>
                  <c:pt idx="6">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75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9D5F1B-0F80-434D-AC7C-01FDF573E2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39FD22-17DE-4850-94E6-F06D5183DD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EF26AC9-DE4D-483F-9CDD-6D3600E1B3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3601F6C-BA59-461A-8544-3DE4A491DF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BA9CEC1-429A-4FE1-A7F8-CDE5905E5F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543814E-E919-48EC-B83B-ADDB911E10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5FD0FD4-648C-4537-AFE6-0EED9B1A5C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49F9AF-6723-4A6C-A8C4-A359A2815F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07099999999999</c:v>
                </c:pt>
                <c:pt idx="1">
                  <c:v>11.3858</c:v>
                </c:pt>
              </c:numCache>
            </c:numRef>
          </c:xVal>
          <c:yVal>
            <c:numRef>
              <c:f>Sheet1!$B$2:$B$3</c:f>
              <c:numCache>
                <c:formatCode>General</c:formatCode>
                <c:ptCount val="2"/>
                <c:pt idx="0">
                  <c:v>1.679</c:v>
                </c:pt>
                <c:pt idx="1">
                  <c:v>0.65800000000000003</c:v>
                </c:pt>
              </c:numCache>
            </c:numRef>
          </c:yVal>
          <c:bubbleSize>
            <c:numRef>
              <c:f>Sheet1!$C$2:$C$3</c:f>
              <c:numCache>
                <c:formatCode>General</c:formatCode>
                <c:ptCount val="2"/>
                <c:pt idx="0">
                  <c:v>322623</c:v>
                </c:pt>
                <c:pt idx="1">
                  <c:v>219371</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FFBE54-53BB-4AF7-8E5D-2DAA0D7221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3FE1B0-B4D5-4EF1-969C-A51FE97C1F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C3CA4F-6C56-4445-8019-EDC5CF3806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07E644-0439-4174-AEF4-A05DE6A9C1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FD18CE-67C2-4B33-AE7F-B1471951E3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B159E6-8645-48F4-8BC1-A5C1B646E4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F10C03-7D6D-4463-864C-FCD124A3AF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9530B6A-489F-4F60-81CA-88665790CF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872999999999999</c:v>
                </c:pt>
                <c:pt idx="1">
                  <c:v>3.6678000000000002</c:v>
                </c:pt>
                <c:pt idx="2">
                  <c:v>3.9388000000000001</c:v>
                </c:pt>
                <c:pt idx="3">
                  <c:v>2.9659</c:v>
                </c:pt>
                <c:pt idx="4">
                  <c:v>5.45</c:v>
                </c:pt>
                <c:pt idx="5">
                  <c:v>7.4157999999999999</c:v>
                </c:pt>
              </c:numCache>
            </c:numRef>
          </c:xVal>
          <c:yVal>
            <c:numRef>
              <c:f>Sheet1!$B$2:$B$7</c:f>
              <c:numCache>
                <c:formatCode>General</c:formatCode>
                <c:ptCount val="6"/>
                <c:pt idx="0">
                  <c:v>0.95199999999999996</c:v>
                </c:pt>
                <c:pt idx="1">
                  <c:v>0.97199999999999998</c:v>
                </c:pt>
                <c:pt idx="2">
                  <c:v>1.032</c:v>
                </c:pt>
                <c:pt idx="3">
                  <c:v>0.78700000000000003</c:v>
                </c:pt>
                <c:pt idx="4">
                  <c:v>1.446</c:v>
                </c:pt>
                <c:pt idx="5">
                  <c:v>1.9490000000000001</c:v>
                </c:pt>
              </c:numCache>
            </c:numRef>
          </c:yVal>
          <c:bubbleSize>
            <c:numRef>
              <c:f>Sheet1!$C$2:$C$7</c:f>
              <c:numCache>
                <c:formatCode>General</c:formatCode>
                <c:ptCount val="6"/>
                <c:pt idx="0">
                  <c:v>8393288</c:v>
                </c:pt>
                <c:pt idx="1">
                  <c:v>5214126</c:v>
                </c:pt>
                <c:pt idx="2">
                  <c:v>4064943</c:v>
                </c:pt>
                <c:pt idx="3">
                  <c:v>2391008</c:v>
                </c:pt>
                <c:pt idx="4">
                  <c:v>1430636</c:v>
                </c:pt>
                <c:pt idx="5">
                  <c:v>436974</c:v>
                </c:pt>
              </c:numCache>
            </c:numRef>
          </c:bubbleSize>
          <c:bubble3D val="0"/>
          <c:extLst>
            <c:ext xmlns:c15="http://schemas.microsoft.com/office/drawing/2012/chart" uri="{02D57815-91ED-43cb-92C2-25804820EDAC}">
              <c15:datalabelsRange>
                <c15:f>Sheet1!$E$2:$E$10</c15:f>
                <c15:dlblRangeCache>
                  <c:ptCount val="9"/>
                  <c:pt idx="0">
                    <c:v>D'Artigny</c:v>
                  </c:pt>
                  <c:pt idx="1">
                    <c:v>Festillant</c:v>
                  </c:pt>
                  <c:pt idx="2">
                    <c:v>Petillant De Listel</c:v>
                  </c:pt>
                  <c:pt idx="3">
                    <c:v>Mdd</c:v>
                  </c:pt>
                  <c:pt idx="4">
                    <c:v>Freixenet</c:v>
                  </c:pt>
                  <c:pt idx="5">
                    <c:v>Ackerma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9AAE92-895C-488D-AB1A-3BC2D76140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23F07D-92AA-4DE2-9E76-00C9C0BC0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EA5FA02-D562-476D-A139-88338AF6A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53F56DB-543C-4C4A-8B33-A27538FDD9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DCE836E-D6E2-4110-8407-98DD43ED6A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14C9A5D-295A-4433-BE67-E586E3FDB7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5A2CA03-D0AF-4366-8D75-82D5E950E5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B625C1-18FF-4E62-8B87-863B0BDC81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26399999999999</c:v>
                </c:pt>
                <c:pt idx="1">
                  <c:v>11.3819</c:v>
                </c:pt>
              </c:numCache>
            </c:numRef>
          </c:xVal>
          <c:yVal>
            <c:numRef>
              <c:f>Sheet1!$B$2:$B$3</c:f>
              <c:numCache>
                <c:formatCode>General</c:formatCode>
                <c:ptCount val="2"/>
                <c:pt idx="0">
                  <c:v>1.68</c:v>
                </c:pt>
                <c:pt idx="1">
                  <c:v>0.65900000000000003</c:v>
                </c:pt>
              </c:numCache>
            </c:numRef>
          </c:yVal>
          <c:bubbleSize>
            <c:numRef>
              <c:f>Sheet1!$C$2:$C$3</c:f>
              <c:numCache>
                <c:formatCode>General</c:formatCode>
                <c:ptCount val="2"/>
                <c:pt idx="0">
                  <c:v>159529</c:v>
                </c:pt>
                <c:pt idx="1">
                  <c:v>109528</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A205A9-BED3-4B98-835C-7BF0BB4EBC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0857F2-C4AD-4DB4-A613-E61D0D38B6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D72226A-C3D5-45A0-AEFB-6F2F5E32DE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B2E19B0-4A11-48A1-A598-A0FFCADEC4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B93A6E4-C1AA-43D1-B5A8-6D8E5B000C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82910FA-9888-49B3-AE88-D9EB14BCC6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6B47CB0-1B85-4455-B36B-3C39AADC9E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55E21A7-5F21-4456-BD08-124BC84BB4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73699999999999</c:v>
                </c:pt>
                <c:pt idx="1">
                  <c:v>11.320499999999999</c:v>
                </c:pt>
              </c:numCache>
            </c:numRef>
          </c:xVal>
          <c:yVal>
            <c:numRef>
              <c:f>Sheet1!$B$2:$B$3</c:f>
              <c:numCache>
                <c:formatCode>General</c:formatCode>
                <c:ptCount val="2"/>
                <c:pt idx="0">
                  <c:v>1.798</c:v>
                </c:pt>
                <c:pt idx="1">
                  <c:v>0.70299999999999996</c:v>
                </c:pt>
              </c:numCache>
            </c:numRef>
          </c:yVal>
          <c:bubbleSize>
            <c:numRef>
              <c:f>Sheet1!$C$2:$C$3</c:f>
              <c:numCache>
                <c:formatCode>General</c:formatCode>
                <c:ptCount val="2"/>
                <c:pt idx="0">
                  <c:v>51664</c:v>
                </c:pt>
                <c:pt idx="1">
                  <c:v>4726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864456-52B7-45B2-A260-9474DF3DB3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FA9B56-C860-465D-AEE2-19D80FDDCD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4D194C1-A7C8-4716-9820-B67EBF8B87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DEBA1E0-4770-4B45-BE41-06E2ACE555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C9FF256-0EA2-4861-88B0-F246AF6278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3D94BFC-AA53-4EE9-B0B8-ADFE13CFFF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A45BD6-8E78-4750-9F07-9E65B59E7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F8E8DF5-0C4B-4F90-A108-895C731742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313</c:v>
                </c:pt>
                <c:pt idx="1">
                  <c:v>11.426500000000001</c:v>
                </c:pt>
              </c:numCache>
            </c:numRef>
          </c:xVal>
          <c:yVal>
            <c:numRef>
              <c:f>Sheet1!$B$2:$B$3</c:f>
              <c:numCache>
                <c:formatCode>General</c:formatCode>
                <c:ptCount val="2"/>
                <c:pt idx="0">
                  <c:v>1.613</c:v>
                </c:pt>
                <c:pt idx="1">
                  <c:v>0.63400000000000001</c:v>
                </c:pt>
              </c:numCache>
            </c:numRef>
          </c:yVal>
          <c:bubbleSize>
            <c:numRef>
              <c:f>Sheet1!$C$2:$C$3</c:f>
              <c:numCache>
                <c:formatCode>General</c:formatCode>
                <c:ptCount val="2"/>
                <c:pt idx="0">
                  <c:v>33268</c:v>
                </c:pt>
                <c:pt idx="1">
                  <c:v>19288</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D8ABA35-D533-424D-A354-B2E400EBBF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7D371AB-BC67-4D4D-B83C-E617B31240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28DE2441-B511-47F6-8AB8-991B12901D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F018CFC9-BEEB-44D0-8510-35616EEDA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8DAFB6C4-C5B5-487E-9019-7C82CA1ACA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2D28C28-FEFE-47F6-95B2-19D035E464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22382E7A-D07C-4745-90D8-C284AA76C3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9516FBE-BE84-466E-9F64-895B898458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73699999999999</c:v>
                </c:pt>
                <c:pt idx="1">
                  <c:v>11.320499999999999</c:v>
                </c:pt>
              </c:numCache>
            </c:numRef>
          </c:xVal>
          <c:yVal>
            <c:numRef>
              <c:f>Sheet1!$B$2:$B$3</c:f>
              <c:numCache>
                <c:formatCode>General</c:formatCode>
                <c:ptCount val="2"/>
                <c:pt idx="0">
                  <c:v>1.798</c:v>
                </c:pt>
                <c:pt idx="1">
                  <c:v>0.70299999999999996</c:v>
                </c:pt>
              </c:numCache>
            </c:numRef>
          </c:yVal>
          <c:bubbleSize>
            <c:numRef>
              <c:f>Sheet1!$C$2:$C$3</c:f>
              <c:numCache>
                <c:formatCode>General</c:formatCode>
                <c:ptCount val="2"/>
                <c:pt idx="0">
                  <c:v>51664</c:v>
                </c:pt>
                <c:pt idx="1">
                  <c:v>4726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77CD3C-694C-4A59-B0BC-21B7235132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156795-BA12-4AE0-AADC-D3474FD417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FA5EE87-A5FE-474D-9A14-FAFD783EBD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681DE1B-A6C2-41B1-9D09-D52D0B1B6D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4CB9FC2-31A4-4BB7-B692-022C5A2E6A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5143AFB-70D4-4A7E-94E3-A3AFC9FD47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2B1EF9-5BBF-42DC-8389-F25130AA4F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A8D8DEF-49A7-4149-A0E3-B9AD3E9290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10499999999998</c:v>
                </c:pt>
                <c:pt idx="1">
                  <c:v>11.432700000000001</c:v>
                </c:pt>
              </c:numCache>
            </c:numRef>
          </c:xVal>
          <c:yVal>
            <c:numRef>
              <c:f>Sheet1!$B$2:$B$3</c:f>
              <c:numCache>
                <c:formatCode>General</c:formatCode>
                <c:ptCount val="2"/>
                <c:pt idx="0">
                  <c:v>1.42</c:v>
                </c:pt>
                <c:pt idx="1">
                  <c:v>0.55900000000000005</c:v>
                </c:pt>
              </c:numCache>
            </c:numRef>
          </c:yVal>
          <c:bubbleSize>
            <c:numRef>
              <c:f>Sheet1!$C$2:$C$3</c:f>
              <c:numCache>
                <c:formatCode>General</c:formatCode>
                <c:ptCount val="2"/>
                <c:pt idx="0">
                  <c:v>30304</c:v>
                </c:pt>
                <c:pt idx="1">
                  <c:v>11387</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B9A286-AB4F-4085-8446-BF55DB83C9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7A1968-A226-469C-8C64-2ECE8B067F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02A227C-2263-498B-8DE6-A83596A5CF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1E63418-591C-4ACF-B028-4790C1B862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55FD961-69F8-4706-A440-CBD8A2E257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6FED8CC-27A3-48D2-B785-15BC86038D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3701460-D8D0-4304-9669-08D90E88A9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D19345-9678-4305-BD3C-73C062E561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91199999999998</c:v>
                </c:pt>
                <c:pt idx="1">
                  <c:v>11.3607</c:v>
                </c:pt>
              </c:numCache>
            </c:numRef>
          </c:xVal>
          <c:yVal>
            <c:numRef>
              <c:f>Sheet1!$B$2:$B$3</c:f>
              <c:numCache>
                <c:formatCode>General</c:formatCode>
                <c:ptCount val="2"/>
                <c:pt idx="0">
                  <c:v>1.6819999999999999</c:v>
                </c:pt>
                <c:pt idx="1">
                  <c:v>0.64600000000000002</c:v>
                </c:pt>
              </c:numCache>
            </c:numRef>
          </c:yVal>
          <c:bubbleSize>
            <c:numRef>
              <c:f>Sheet1!$C$2:$C$3</c:f>
              <c:numCache>
                <c:formatCode>General</c:formatCode>
                <c:ptCount val="2"/>
                <c:pt idx="0">
                  <c:v>16493</c:v>
                </c:pt>
                <c:pt idx="1">
                  <c:v>995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9D2A0A-C833-4FA3-9FBE-C422422749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6C6F51-FD6C-4CE6-A4C3-42A9EC38D2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CFF9600-D08D-478D-93E1-6A84F5BF09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7E9ED21-ABBD-4CD6-809B-04649FE8C5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B5F806C-BD63-4934-A9ED-CB12B1ABF9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EE24303-9E20-4CE7-952F-5B8E4E3349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CC379B-95D7-4410-B6EF-BA1101531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8945B1-8EF3-49A9-949F-12D3913CD3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11900000000001</c:v>
                </c:pt>
                <c:pt idx="1">
                  <c:v>11.3827</c:v>
                </c:pt>
              </c:numCache>
            </c:numRef>
          </c:xVal>
          <c:yVal>
            <c:numRef>
              <c:f>Sheet1!$B$2:$B$3</c:f>
              <c:numCache>
                <c:formatCode>General</c:formatCode>
                <c:ptCount val="2"/>
                <c:pt idx="0">
                  <c:v>1.6539999999999999</c:v>
                </c:pt>
                <c:pt idx="1">
                  <c:v>0.64900000000000002</c:v>
                </c:pt>
              </c:numCache>
            </c:numRef>
          </c:yVal>
          <c:bubbleSize>
            <c:numRef>
              <c:f>Sheet1!$C$2:$C$3</c:f>
              <c:numCache>
                <c:formatCode>General</c:formatCode>
                <c:ptCount val="2"/>
                <c:pt idx="0">
                  <c:v>237317</c:v>
                </c:pt>
                <c:pt idx="1">
                  <c:v>15429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F0DED3-85AF-4710-B625-E8E3F697A4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09B37B-5B87-4A51-836C-0EAAD2731C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A0B9767-3B37-4120-869F-ACED0859DE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DF6ACCE-23FE-47C1-87EA-B9E895E589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344544-5940-4BCE-8680-975625D5B8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38009AE-D675-4708-A125-4D14B712B9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6D055B9-8E19-4A5F-B0BA-D8F508A332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D91DC7C-BEB6-4AC9-8B57-D450A40E2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084</c:v>
                </c:pt>
                <c:pt idx="1">
                  <c:v>11.2789</c:v>
                </c:pt>
              </c:numCache>
            </c:numRef>
          </c:xVal>
          <c:yVal>
            <c:numRef>
              <c:f>Sheet1!$B$2:$B$3</c:f>
              <c:numCache>
                <c:formatCode>General</c:formatCode>
                <c:ptCount val="2"/>
                <c:pt idx="0">
                  <c:v>1.6479999999999999</c:v>
                </c:pt>
                <c:pt idx="1">
                  <c:v>0.63400000000000001</c:v>
                </c:pt>
              </c:numCache>
            </c:numRef>
          </c:yVal>
          <c:bubbleSize>
            <c:numRef>
              <c:f>Sheet1!$C$2:$C$3</c:f>
              <c:numCache>
                <c:formatCode>General</c:formatCode>
                <c:ptCount val="2"/>
                <c:pt idx="0">
                  <c:v>26576</c:v>
                </c:pt>
                <c:pt idx="1">
                  <c:v>1581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10F316-4BBC-4866-A684-B30FFCB54B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1BC3D7-8D45-42F3-AD98-3359F05AFE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3810907-65E5-41A3-8F9D-C78D156769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9A5A656-6428-4C53-A961-096CB67B77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E610232-FE01-4E7F-9FD4-437D80EEC4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61ADBE5-968A-4D08-A511-B84ADCD0C4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A3EFF19-D79A-4492-9E33-DBF73A747C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C51E6E-6806-4B4E-80D2-4E2579FB54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648</c:v>
                </c:pt>
                <c:pt idx="1">
                  <c:v>11.4002</c:v>
                </c:pt>
              </c:numCache>
            </c:numRef>
          </c:xVal>
          <c:yVal>
            <c:numRef>
              <c:f>Sheet1!$B$2:$B$3</c:f>
              <c:numCache>
                <c:formatCode>General</c:formatCode>
                <c:ptCount val="2"/>
                <c:pt idx="0">
                  <c:v>1.6870000000000001</c:v>
                </c:pt>
                <c:pt idx="1">
                  <c:v>0.65200000000000002</c:v>
                </c:pt>
              </c:numCache>
            </c:numRef>
          </c:yVal>
          <c:bubbleSize>
            <c:numRef>
              <c:f>Sheet1!$C$2:$C$3</c:f>
              <c:numCache>
                <c:formatCode>General</c:formatCode>
                <c:ptCount val="2"/>
                <c:pt idx="0">
                  <c:v>18403</c:v>
                </c:pt>
                <c:pt idx="1">
                  <c:v>11081</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6F081A-AB5D-437D-BB50-73894D3D4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F6A1E8-BADD-4BC1-A548-67034B9B09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BD74DC1-2699-4924-9B78-C9364D7986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12F1393-F38F-438C-A09D-F3642ABE2F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B17591E-C602-409D-A514-49F4D1ADF0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FE617D8-05EF-49A8-952D-6A880A7568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BEA917-2BE1-409C-B8A6-DD7C0040DF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1393EFD-B393-4C3B-94B1-B86220CCA9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628900000000002</c:v>
                </c:pt>
                <c:pt idx="1">
                  <c:v>11.506600000000001</c:v>
                </c:pt>
              </c:numCache>
            </c:numRef>
          </c:xVal>
          <c:yVal>
            <c:numRef>
              <c:f>Sheet1!$B$2:$B$3</c:f>
              <c:numCache>
                <c:formatCode>General</c:formatCode>
                <c:ptCount val="2"/>
                <c:pt idx="0">
                  <c:v>1.8049999999999999</c:v>
                </c:pt>
                <c:pt idx="1">
                  <c:v>0.71299999999999997</c:v>
                </c:pt>
              </c:numCache>
            </c:numRef>
          </c:yVal>
          <c:bubbleSize>
            <c:numRef>
              <c:f>Sheet1!$C$2:$C$3</c:f>
              <c:numCache>
                <c:formatCode>General</c:formatCode>
                <c:ptCount val="2"/>
                <c:pt idx="0">
                  <c:v>9422</c:v>
                </c:pt>
                <c:pt idx="1">
                  <c:v>7859</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FEAB1A-93DF-4D2A-AF7A-8A5FAA6137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9D676F-EECC-4ACB-8580-0C40BB2548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7D37E92-E88E-4A9C-95E9-2CAFA7C115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6154A28-5043-4FED-84FE-6E6455FEF5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A996307-CE08-4AAF-A12B-51B2A6B687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CF63F7D-41CC-4914-A4C2-39453CF79B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FCE3CC4-05D2-4C97-B1B0-91F45C5744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7A78AA-FBE4-4D0D-A5DC-B0D4FC7508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984000000000002</c:v>
                </c:pt>
                <c:pt idx="1">
                  <c:v>11.5024</c:v>
                </c:pt>
              </c:numCache>
            </c:numRef>
          </c:xVal>
          <c:yVal>
            <c:numRef>
              <c:f>Sheet1!$B$2:$B$3</c:f>
              <c:numCache>
                <c:formatCode>General</c:formatCode>
                <c:ptCount val="2"/>
                <c:pt idx="0">
                  <c:v>1.706</c:v>
                </c:pt>
                <c:pt idx="1">
                  <c:v>0.68300000000000005</c:v>
                </c:pt>
              </c:numCache>
            </c:numRef>
          </c:yVal>
          <c:bubbleSize>
            <c:numRef>
              <c:f>Sheet1!$C$2:$C$3</c:f>
              <c:numCache>
                <c:formatCode>General</c:formatCode>
                <c:ptCount val="2"/>
                <c:pt idx="0">
                  <c:v>5637</c:v>
                </c:pt>
                <c:pt idx="1">
                  <c:v>4716</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0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2C0475-1A94-4D89-9A39-2F713D8DBB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4C6D00-F4C8-482B-B784-001E08578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4B34AB4-D636-404C-9E89-18A9D3146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8BD5FEC-6CEB-4E90-A44E-45FC2B9495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D7A40F4-02B7-4068-AE98-3E6318E1B7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E07DAD9-9A16-4E6C-B911-920A73D919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60B6C36-0AFF-4AF4-9219-10A19ECE96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A74CA3-2F2C-406A-B875-DFEB188842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425</c:v>
                </c:pt>
                <c:pt idx="1">
                  <c:v>11.2257</c:v>
                </c:pt>
              </c:numCache>
            </c:numRef>
          </c:xVal>
          <c:yVal>
            <c:numRef>
              <c:f>Sheet1!$B$2:$B$3</c:f>
              <c:numCache>
                <c:formatCode>General</c:formatCode>
                <c:ptCount val="2"/>
                <c:pt idx="0">
                  <c:v>1.581</c:v>
                </c:pt>
                <c:pt idx="1">
                  <c:v>0.61099999999999999</c:v>
                </c:pt>
              </c:numCache>
            </c:numRef>
          </c:yVal>
          <c:bubbleSize>
            <c:numRef>
              <c:f>Sheet1!$C$2:$C$3</c:f>
              <c:numCache>
                <c:formatCode>General</c:formatCode>
                <c:ptCount val="2"/>
                <c:pt idx="0">
                  <c:v>104553</c:v>
                </c:pt>
                <c:pt idx="1">
                  <c:v>56005</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292C9D-941A-415F-B906-52D97BC725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EDCBAD-AD54-4EB4-9B6B-D04A334711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7A546E2-32B7-47BD-93C9-B6FCB9D2E1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5DD865F-1E29-42F0-A414-9597543600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9898BF-FEDE-436A-AD4E-FF82B07E09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397780-36E5-4B0F-A793-380FE5D7F4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DEC875-568D-4E0F-90CF-789752D707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FBE7FDD-FB76-488F-9708-851204E39F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84499999999998</c:v>
                </c:pt>
                <c:pt idx="1">
                  <c:v>11.353199999999999</c:v>
                </c:pt>
              </c:numCache>
            </c:numRef>
          </c:xVal>
          <c:yVal>
            <c:numRef>
              <c:f>Sheet1!$B$2:$B$3</c:f>
              <c:numCache>
                <c:formatCode>General</c:formatCode>
                <c:ptCount val="2"/>
                <c:pt idx="0">
                  <c:v>1.68</c:v>
                </c:pt>
                <c:pt idx="1">
                  <c:v>0.65600000000000003</c:v>
                </c:pt>
              </c:numCache>
            </c:numRef>
          </c:yVal>
          <c:bubbleSize>
            <c:numRef>
              <c:f>Sheet1!$C$2:$C$3</c:f>
              <c:numCache>
                <c:formatCode>General</c:formatCode>
                <c:ptCount val="2"/>
                <c:pt idx="0">
                  <c:v>46128</c:v>
                </c:pt>
                <c:pt idx="1">
                  <c:v>33594</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2079B0-C883-4B48-8723-B4AA0569C5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D300CD-D0A8-4DD8-829C-977DDD8951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F5B1E65-B323-4FAB-8EC8-2DBAD8CD45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19379CC-8F64-4BF5-B3DE-3A787A44AB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4B3F2DD-0663-4996-80F7-4438E8DE74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919A99E-AA43-4B92-83EC-A5A7B1BE5C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B8067BA-98B7-4593-9472-112E785D39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556B73-DBA9-4BEF-B3B8-102ACA032F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535</c:v>
                </c:pt>
                <c:pt idx="1">
                  <c:v>11.4306</c:v>
                </c:pt>
              </c:numCache>
            </c:numRef>
          </c:xVal>
          <c:yVal>
            <c:numRef>
              <c:f>Sheet1!$B$2:$B$3</c:f>
              <c:numCache>
                <c:formatCode>General</c:formatCode>
                <c:ptCount val="2"/>
                <c:pt idx="0">
                  <c:v>1.665</c:v>
                </c:pt>
                <c:pt idx="1">
                  <c:v>0.65500000000000003</c:v>
                </c:pt>
              </c:numCache>
            </c:numRef>
          </c:yVal>
          <c:bubbleSize>
            <c:numRef>
              <c:f>Sheet1!$C$2:$C$3</c:f>
              <c:numCache>
                <c:formatCode>General</c:formatCode>
                <c:ptCount val="2"/>
                <c:pt idx="0">
                  <c:v>74377</c:v>
                </c:pt>
                <c:pt idx="1">
                  <c:v>4796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A97D3D-2BF8-4112-8129-53CDC7E9E4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55638E-A7D6-437E-A5E3-28A10BDA7C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C28CA7-BAF5-43C3-989E-370392F398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7EE742-7E6D-43C5-863E-C740C116D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39B82E-1ED5-457D-86B2-D562187AA4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BCE8D4-04A9-4A49-AACE-538482DC67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86C86A-5193-430B-B65E-DC4DABCD7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D6170B-2965-4E3C-849F-814A7D051D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31900000000005</c:v>
                </c:pt>
                <c:pt idx="1">
                  <c:v>23.5243</c:v>
                </c:pt>
                <c:pt idx="2">
                  <c:v>50.431899999999999</c:v>
                </c:pt>
                <c:pt idx="3">
                  <c:v>53.389200000000002</c:v>
                </c:pt>
                <c:pt idx="4">
                  <c:v>31.674299999999999</c:v>
                </c:pt>
                <c:pt idx="5">
                  <c:v>83.896100000000004</c:v>
                </c:pt>
                <c:pt idx="6">
                  <c:v>33.087600000000002</c:v>
                </c:pt>
                <c:pt idx="7">
                  <c:v>56.0105</c:v>
                </c:pt>
              </c:numCache>
            </c:numRef>
          </c:xVal>
          <c:yVal>
            <c:numRef>
              <c:f>Sheet1!$B$2:$B$9</c:f>
              <c:numCache>
                <c:formatCode>General</c:formatCode>
                <c:ptCount val="8"/>
                <c:pt idx="0">
                  <c:v>1.552</c:v>
                </c:pt>
                <c:pt idx="1">
                  <c:v>0.52700000000000002</c:v>
                </c:pt>
                <c:pt idx="2">
                  <c:v>1.111</c:v>
                </c:pt>
                <c:pt idx="3">
                  <c:v>1.0760000000000001</c:v>
                </c:pt>
                <c:pt idx="4">
                  <c:v>0.70399999999999996</c:v>
                </c:pt>
                <c:pt idx="5">
                  <c:v>1.823</c:v>
                </c:pt>
                <c:pt idx="6">
                  <c:v>0.72699999999999998</c:v>
                </c:pt>
                <c:pt idx="7">
                  <c:v>1.1200000000000001</c:v>
                </c:pt>
              </c:numCache>
            </c:numRef>
          </c:yVal>
          <c:bubbleSize>
            <c:numRef>
              <c:f>Sheet1!$C$2:$C$9</c:f>
              <c:numCache>
                <c:formatCode>General</c:formatCode>
                <c:ptCount val="8"/>
                <c:pt idx="0">
                  <c:v>1828137</c:v>
                </c:pt>
                <c:pt idx="1">
                  <c:v>611372</c:v>
                </c:pt>
                <c:pt idx="2">
                  <c:v>586220</c:v>
                </c:pt>
                <c:pt idx="3">
                  <c:v>507304</c:v>
                </c:pt>
                <c:pt idx="4">
                  <c:v>355481</c:v>
                </c:pt>
                <c:pt idx="5">
                  <c:v>287512</c:v>
                </c:pt>
                <c:pt idx="6">
                  <c:v>286936</c:v>
                </c:pt>
                <c:pt idx="7">
                  <c:v>23916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1"/>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4DCC73-FBDC-4E36-B523-48F1DC42AA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A084B7-6F95-4FB3-9CE4-C29516558B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D7F8F5F-1A23-4A06-AAEF-DB5A1D29FE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75A0F5E-2DCE-4721-ADBC-F16F3E18BC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18B7A5C-C885-45FC-81AE-3460481799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9555D0-34B7-4634-8D65-39E1B245F4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B90C3E8-0106-4C95-8BCA-FA954DE05B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CE0A2FC-7D17-4EF7-B873-D15C49D52E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99299999999999</c:v>
                </c:pt>
                <c:pt idx="1">
                  <c:v>11.4146</c:v>
                </c:pt>
              </c:numCache>
            </c:numRef>
          </c:xVal>
          <c:yVal>
            <c:numRef>
              <c:f>Sheet1!$B$2:$B$3</c:f>
              <c:numCache>
                <c:formatCode>General</c:formatCode>
                <c:ptCount val="2"/>
                <c:pt idx="0">
                  <c:v>1.766</c:v>
                </c:pt>
                <c:pt idx="1">
                  <c:v>0.69199999999999995</c:v>
                </c:pt>
              </c:numCache>
            </c:numRef>
          </c:yVal>
          <c:bubbleSize>
            <c:numRef>
              <c:f>Sheet1!$C$2:$C$3</c:f>
              <c:numCache>
                <c:formatCode>General</c:formatCode>
                <c:ptCount val="2"/>
                <c:pt idx="0">
                  <c:v>52466</c:v>
                </c:pt>
                <c:pt idx="1">
                  <c:v>43330</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21405D-37A4-47D7-9302-253C403E94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FC3F48-4D13-4B05-843A-E9E3D544ED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EA6FBF8-6312-43E5-A800-00060BD78D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C8E1655-3BBB-4331-8D2D-36E07CC196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2BE9E19-1E0B-4A16-AD35-BBB8761AE7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0945F1D-F29C-4DBC-A463-8F3B6411F0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A288C2C-7F59-4E42-92A2-9B27B0DF1C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357E54-D20F-491C-822D-B2A05725EE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68899999999999</c:v>
                </c:pt>
                <c:pt idx="1">
                  <c:v>11.472899999999999</c:v>
                </c:pt>
              </c:numCache>
            </c:numRef>
          </c:xVal>
          <c:yVal>
            <c:numRef>
              <c:f>Sheet1!$B$2:$B$3</c:f>
              <c:numCache>
                <c:formatCode>General</c:formatCode>
                <c:ptCount val="2"/>
                <c:pt idx="0">
                  <c:v>1.8120000000000001</c:v>
                </c:pt>
                <c:pt idx="1">
                  <c:v>0.71499999999999997</c:v>
                </c:pt>
              </c:numCache>
            </c:numRef>
          </c:yVal>
          <c:bubbleSize>
            <c:numRef>
              <c:f>Sheet1!$C$2:$C$3</c:f>
              <c:numCache>
                <c:formatCode>General</c:formatCode>
                <c:ptCount val="2"/>
                <c:pt idx="0">
                  <c:v>45115</c:v>
                </c:pt>
                <c:pt idx="1">
                  <c:v>3850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D136A9-2F19-4984-B33B-C2E3686857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FA8066-9D07-430C-BD4D-0E11BF6A6D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0A1A4A-33A0-469A-8168-114A354E6E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8B9837-2B6C-474D-9E23-2D6966CC61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02E5B8-C3B8-4016-918D-F9D4C819E7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CC74D9-531B-40C1-9B0D-44B4440699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601DE7-AECF-45DA-A03A-9229061328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CBDB10-8DC7-4BE7-8D7E-084B015E58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008300000000006</c:v>
                </c:pt>
                <c:pt idx="1">
                  <c:v>30.7135</c:v>
                </c:pt>
                <c:pt idx="2">
                  <c:v>39.392000000000003</c:v>
                </c:pt>
                <c:pt idx="3">
                  <c:v>35.273200000000003</c:v>
                </c:pt>
                <c:pt idx="4">
                  <c:v>57.777700000000003</c:v>
                </c:pt>
                <c:pt idx="5">
                  <c:v>46.685600000000001</c:v>
                </c:pt>
                <c:pt idx="6">
                  <c:v>74.661799999999999</c:v>
                </c:pt>
                <c:pt idx="7">
                  <c:v>53.224699999999999</c:v>
                </c:pt>
              </c:numCache>
            </c:numRef>
          </c:xVal>
          <c:yVal>
            <c:numRef>
              <c:f>Sheet1!$B$2:$B$9</c:f>
              <c:numCache>
                <c:formatCode>General</c:formatCode>
                <c:ptCount val="8"/>
                <c:pt idx="0">
                  <c:v>1.91</c:v>
                </c:pt>
                <c:pt idx="1">
                  <c:v>0.60699999999999998</c:v>
                </c:pt>
                <c:pt idx="2">
                  <c:v>0.81100000000000005</c:v>
                </c:pt>
                <c:pt idx="3">
                  <c:v>0.69699999999999995</c:v>
                </c:pt>
                <c:pt idx="4">
                  <c:v>1.1659999999999999</c:v>
                </c:pt>
                <c:pt idx="5">
                  <c:v>0.92300000000000004</c:v>
                </c:pt>
                <c:pt idx="6">
                  <c:v>1.4530000000000001</c:v>
                </c:pt>
                <c:pt idx="7">
                  <c:v>1.03</c:v>
                </c:pt>
              </c:numCache>
            </c:numRef>
          </c:yVal>
          <c:bubbleSize>
            <c:numRef>
              <c:f>Sheet1!$C$2:$C$9</c:f>
              <c:numCache>
                <c:formatCode>General</c:formatCode>
                <c:ptCount val="8"/>
                <c:pt idx="0">
                  <c:v>7602346</c:v>
                </c:pt>
                <c:pt idx="1">
                  <c:v>5549709</c:v>
                </c:pt>
                <c:pt idx="2">
                  <c:v>534037</c:v>
                </c:pt>
                <c:pt idx="3">
                  <c:v>450509</c:v>
                </c:pt>
                <c:pt idx="4">
                  <c:v>424377</c:v>
                </c:pt>
                <c:pt idx="5">
                  <c:v>277219</c:v>
                </c:pt>
                <c:pt idx="6">
                  <c:v>213010</c:v>
                </c:pt>
                <c:pt idx="7">
                  <c:v>200125</c:v>
                </c:pt>
              </c:numCache>
            </c:numRef>
          </c:bubbleSize>
          <c:bubble3D val="0"/>
          <c:extLst>
            <c:ext xmlns:c15="http://schemas.microsoft.com/office/drawing/2012/chart" uri="{02D57815-91ED-43cb-92C2-25804820EDAC}">
              <c15:datalabelsRange>
                <c15:f>Sheet1!$E$2:$E$10</c15:f>
                <c15:dlblRangeCache>
                  <c:ptCount val="9"/>
                  <c:pt idx="0">
                    <c:v>Ruinart</c:v>
                  </c:pt>
                  <c:pt idx="1">
                    <c:v>Canard Duchêne</c:v>
                  </c:pt>
                  <c:pt idx="2">
                    <c:v>Nicolas</c:v>
                  </c:pt>
                  <c:pt idx="3">
                    <c:v>Malard</c:v>
                  </c:pt>
                  <c:pt idx="4">
                    <c:v>Besserat De Bellefon</c:v>
                  </c:pt>
                  <c:pt idx="5">
                    <c:v>Henriot</c:v>
                  </c:pt>
                  <c:pt idx="6">
                    <c:v>Ayala</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6"/>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72EB1D-4AD0-4877-8A9A-45815F8C54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5DE0CE-700E-48BA-A9D5-717F268F5D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162FD0-599C-4455-B9E6-97DACA6608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46E849-1762-43E4-AC93-A8CA327238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4EB798-0F6E-4DCF-AF59-3BE2A140C0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F427E5-D461-4B57-8CB8-A50231C2AC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79ACAC-9A66-4A54-8833-720BA3F1AF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974119-15F1-4589-A3D4-9948266B6A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226200000000006</c:v>
                </c:pt>
                <c:pt idx="1">
                  <c:v>39.809199999999997</c:v>
                </c:pt>
                <c:pt idx="2">
                  <c:v>35.308900000000001</c:v>
                </c:pt>
                <c:pt idx="3">
                  <c:v>59.295900000000003</c:v>
                </c:pt>
                <c:pt idx="4">
                  <c:v>46.989800000000002</c:v>
                </c:pt>
                <c:pt idx="5">
                  <c:v>53.581299999999999</c:v>
                </c:pt>
                <c:pt idx="6">
                  <c:v>37.996200000000002</c:v>
                </c:pt>
                <c:pt idx="7">
                  <c:v>76.687899999999999</c:v>
                </c:pt>
              </c:numCache>
            </c:numRef>
          </c:xVal>
          <c:yVal>
            <c:numRef>
              <c:f>Sheet1!$B$2:$B$9</c:f>
              <c:numCache>
                <c:formatCode>General</c:formatCode>
                <c:ptCount val="8"/>
                <c:pt idx="0">
                  <c:v>1.3380000000000001</c:v>
                </c:pt>
                <c:pt idx="1">
                  <c:v>0.56200000000000006</c:v>
                </c:pt>
                <c:pt idx="2">
                  <c:v>0.48299999999999998</c:v>
                </c:pt>
                <c:pt idx="3">
                  <c:v>0.84799999999999998</c:v>
                </c:pt>
                <c:pt idx="4">
                  <c:v>0.63400000000000001</c:v>
                </c:pt>
                <c:pt idx="5">
                  <c:v>0.71599999999999997</c:v>
                </c:pt>
                <c:pt idx="6">
                  <c:v>0.51500000000000001</c:v>
                </c:pt>
                <c:pt idx="7">
                  <c:v>1.0169999999999999</c:v>
                </c:pt>
              </c:numCache>
            </c:numRef>
          </c:yVal>
          <c:bubbleSize>
            <c:numRef>
              <c:f>Sheet1!$C$2:$C$9</c:f>
              <c:numCache>
                <c:formatCode>General</c:formatCode>
                <c:ptCount val="8"/>
                <c:pt idx="0">
                  <c:v>5308144</c:v>
                </c:pt>
                <c:pt idx="1">
                  <c:v>534199</c:v>
                </c:pt>
                <c:pt idx="2">
                  <c:v>450506</c:v>
                </c:pt>
                <c:pt idx="3">
                  <c:v>311422</c:v>
                </c:pt>
                <c:pt idx="4">
                  <c:v>267278</c:v>
                </c:pt>
                <c:pt idx="5">
                  <c:v>198465</c:v>
                </c:pt>
                <c:pt idx="6">
                  <c:v>181508</c:v>
                </c:pt>
                <c:pt idx="7">
                  <c:v>16119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D7E70A-CB27-4CE3-A20D-ADD766E9BC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6C4036-9BB3-4357-8C1F-66582604FB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9FDB43-87DC-443C-8908-96541ADE3A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72A9470-E045-4256-AC2C-6E3501092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39B06BB-920D-463F-9071-FBBD9ACB1B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DF3ABB3-6B8C-4046-B535-5A271D9B0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685C5E4-C90C-4E63-866B-A6EA29B0E0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1EF800F-D738-4660-9D94-2EE743406B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7121</c:v>
                </c:pt>
                <c:pt idx="1">
                  <c:v>94.948400000000007</c:v>
                </c:pt>
                <c:pt idx="2">
                  <c:v>55.431899999999999</c:v>
                </c:pt>
              </c:numCache>
            </c:numRef>
          </c:xVal>
          <c:yVal>
            <c:numRef>
              <c:f>Sheet1!$B$2:$B$4</c:f>
              <c:numCache>
                <c:formatCode>General</c:formatCode>
                <c:ptCount val="3"/>
                <c:pt idx="0">
                  <c:v>0.79300000000000004</c:v>
                </c:pt>
                <c:pt idx="1">
                  <c:v>2.4390000000000001</c:v>
                </c:pt>
                <c:pt idx="2">
                  <c:v>1.4</c:v>
                </c:pt>
              </c:numCache>
            </c:numRef>
          </c:yVal>
          <c:bubbleSize>
            <c:numRef>
              <c:f>Sheet1!$C$2:$C$4</c:f>
              <c:numCache>
                <c:formatCode>General</c:formatCode>
                <c:ptCount val="3"/>
                <c:pt idx="0">
                  <c:v>5549099</c:v>
                </c:pt>
                <c:pt idx="1">
                  <c:v>2308385</c:v>
                </c:pt>
                <c:pt idx="2">
                  <c:v>113081</c:v>
                </c:pt>
              </c:numCache>
            </c:numRef>
          </c:bubbleSize>
          <c:bubble3D val="0"/>
          <c:extLst>
            <c:ext xmlns:c15="http://schemas.microsoft.com/office/drawing/2012/chart" uri="{02D57815-91ED-43cb-92C2-25804820EDAC}">
              <c15:datalabelsRange>
                <c15:f>Sheet1!$E$2:$E$10</c15:f>
                <c15:dlblRangeCache>
                  <c:ptCount val="9"/>
                  <c:pt idx="0">
                    <c:v>Canard Duchêne</c:v>
                  </c:pt>
                  <c:pt idx="1">
                    <c:v>Ruinart</c:v>
                  </c:pt>
                  <c:pt idx="2">
                    <c:v>Besserat De Bellef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639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667C13-AB17-41B2-A590-2116A50B28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2B0913-B7B9-4960-99D5-82DA1C2900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40C00C-4E43-424E-9655-D8B37442F4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A38959-27FB-4F79-8A52-91C07D5B56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44F67B-F3BE-4662-89B3-85A18834BE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85C579-2AF1-49B0-91E8-5B29F0AC09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1309AC-6EC7-4F98-93EE-39CC0CE5BB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C43E0A3-CD3B-416E-80B7-96427CF548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609899999999996</c:v>
                </c:pt>
                <c:pt idx="1">
                  <c:v>39.417499999999997</c:v>
                </c:pt>
                <c:pt idx="2">
                  <c:v>35.276000000000003</c:v>
                </c:pt>
                <c:pt idx="3">
                  <c:v>46.558799999999998</c:v>
                </c:pt>
                <c:pt idx="4">
                  <c:v>59.063800000000001</c:v>
                </c:pt>
                <c:pt idx="5">
                  <c:v>52.780999999999999</c:v>
                </c:pt>
                <c:pt idx="6">
                  <c:v>37.8521</c:v>
                </c:pt>
                <c:pt idx="7">
                  <c:v>75.428600000000003</c:v>
                </c:pt>
              </c:numCache>
            </c:numRef>
          </c:xVal>
          <c:yVal>
            <c:numRef>
              <c:f>Sheet1!$B$2:$B$9</c:f>
              <c:numCache>
                <c:formatCode>General</c:formatCode>
                <c:ptCount val="8"/>
                <c:pt idx="0">
                  <c:v>1.4019999999999999</c:v>
                </c:pt>
                <c:pt idx="1">
                  <c:v>0.58299999999999996</c:v>
                </c:pt>
                <c:pt idx="2">
                  <c:v>0.504</c:v>
                </c:pt>
                <c:pt idx="3">
                  <c:v>0.66500000000000004</c:v>
                </c:pt>
                <c:pt idx="4">
                  <c:v>0.88300000000000001</c:v>
                </c:pt>
                <c:pt idx="5">
                  <c:v>0.75</c:v>
                </c:pt>
                <c:pt idx="6">
                  <c:v>0.54100000000000004</c:v>
                </c:pt>
                <c:pt idx="7">
                  <c:v>1.071</c:v>
                </c:pt>
              </c:numCache>
            </c:numRef>
          </c:yVal>
          <c:bubbleSize>
            <c:numRef>
              <c:f>Sheet1!$C$2:$C$9</c:f>
              <c:numCache>
                <c:formatCode>General</c:formatCode>
                <c:ptCount val="8"/>
                <c:pt idx="0">
                  <c:v>1705852</c:v>
                </c:pt>
                <c:pt idx="1">
                  <c:v>231105</c:v>
                </c:pt>
                <c:pt idx="2">
                  <c:v>202096</c:v>
                </c:pt>
                <c:pt idx="3">
                  <c:v>117654</c:v>
                </c:pt>
                <c:pt idx="4">
                  <c:v>108323</c:v>
                </c:pt>
                <c:pt idx="5">
                  <c:v>81230</c:v>
                </c:pt>
                <c:pt idx="6">
                  <c:v>76802</c:v>
                </c:pt>
                <c:pt idx="7">
                  <c:v>623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Henriot</c:v>
                  </c:pt>
                  <c:pt idx="4">
                    <c:v>Besserat De Bellefon</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84CC1D-FBCA-4B43-B2FE-748317637C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3AAA5C-6FA7-4DCD-BDC8-F59C3CF4B4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392AC2-65BD-487F-8A95-224FF57E66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F4BF05-BF60-42ED-B7F4-46DBAA8571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46A191-9F86-461A-9C35-51488021FA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8665EA-8804-485F-965D-38E6135C3D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D57F7D-616D-42F2-B47B-EF8D9135B1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8B57B1-E753-4298-94C6-5BBE434A48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625</c:v>
                </c:pt>
                <c:pt idx="1">
                  <c:v>39.718200000000003</c:v>
                </c:pt>
                <c:pt idx="2">
                  <c:v>35.055900000000001</c:v>
                </c:pt>
                <c:pt idx="3">
                  <c:v>59.2517</c:v>
                </c:pt>
                <c:pt idx="4">
                  <c:v>46.262700000000002</c:v>
                </c:pt>
                <c:pt idx="5">
                  <c:v>37.4221</c:v>
                </c:pt>
                <c:pt idx="6">
                  <c:v>76.025499999999994</c:v>
                </c:pt>
                <c:pt idx="7">
                  <c:v>53.0809</c:v>
                </c:pt>
              </c:numCache>
            </c:numRef>
          </c:xVal>
          <c:yVal>
            <c:numRef>
              <c:f>Sheet1!$B$2:$B$9</c:f>
              <c:numCache>
                <c:formatCode>General</c:formatCode>
                <c:ptCount val="8"/>
                <c:pt idx="0">
                  <c:v>1.4490000000000001</c:v>
                </c:pt>
                <c:pt idx="1">
                  <c:v>0.60499999999999998</c:v>
                </c:pt>
                <c:pt idx="2">
                  <c:v>0.52100000000000002</c:v>
                </c:pt>
                <c:pt idx="3">
                  <c:v>0.90900000000000003</c:v>
                </c:pt>
                <c:pt idx="4">
                  <c:v>0.68500000000000005</c:v>
                </c:pt>
                <c:pt idx="5">
                  <c:v>0.55500000000000005</c:v>
                </c:pt>
                <c:pt idx="6">
                  <c:v>1.1120000000000001</c:v>
                </c:pt>
                <c:pt idx="7">
                  <c:v>0.78800000000000003</c:v>
                </c:pt>
              </c:numCache>
            </c:numRef>
          </c:yVal>
          <c:bubbleSize>
            <c:numRef>
              <c:f>Sheet1!$C$2:$C$9</c:f>
              <c:numCache>
                <c:formatCode>General</c:formatCode>
                <c:ptCount val="8"/>
                <c:pt idx="0">
                  <c:v>1082244</c:v>
                </c:pt>
                <c:pt idx="1">
                  <c:v>126423</c:v>
                </c:pt>
                <c:pt idx="2">
                  <c:v>94651</c:v>
                </c:pt>
                <c:pt idx="3">
                  <c:v>79812</c:v>
                </c:pt>
                <c:pt idx="4">
                  <c:v>59355</c:v>
                </c:pt>
                <c:pt idx="5">
                  <c:v>46104</c:v>
                </c:pt>
                <c:pt idx="6">
                  <c:v>38697</c:v>
                </c:pt>
                <c:pt idx="7">
                  <c:v>3476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 Bligny</c:v>
                  </c:pt>
                  <c:pt idx="6">
                    <c:v>Ayala</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5853CB-C927-450E-972B-366A051654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D6AD69-5E6C-4C44-8125-4882FE7B56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E9BE9A-B947-44A1-A60F-ED9891FED2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FF9AE1-F719-4C31-BCC2-2F98DCA778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80809B-1D5B-4A07-9576-8B524D470F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CC9C4A-9456-4CAA-8409-BE22944959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AA76AA-DD2D-4D31-9E6B-3CC2FA0529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D9EA6A-BAAE-4318-A4C1-3EABAAAA95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828900000000004</c:v>
                </c:pt>
                <c:pt idx="1">
                  <c:v>39.487299999999998</c:v>
                </c:pt>
                <c:pt idx="2">
                  <c:v>35.456499999999998</c:v>
                </c:pt>
                <c:pt idx="3">
                  <c:v>47.334800000000001</c:v>
                </c:pt>
                <c:pt idx="4">
                  <c:v>54.0471</c:v>
                </c:pt>
                <c:pt idx="5">
                  <c:v>58.458399999999997</c:v>
                </c:pt>
                <c:pt idx="6">
                  <c:v>273.92469999999997</c:v>
                </c:pt>
                <c:pt idx="7">
                  <c:v>266.5926</c:v>
                </c:pt>
              </c:numCache>
            </c:numRef>
          </c:xVal>
          <c:yVal>
            <c:numRef>
              <c:f>Sheet1!$B$2:$B$9</c:f>
              <c:numCache>
                <c:formatCode>General</c:formatCode>
                <c:ptCount val="8"/>
                <c:pt idx="0">
                  <c:v>1.2370000000000001</c:v>
                </c:pt>
                <c:pt idx="1">
                  <c:v>0.53</c:v>
                </c:pt>
                <c:pt idx="2">
                  <c:v>0.44900000000000001</c:v>
                </c:pt>
                <c:pt idx="3">
                  <c:v>0.59299999999999997</c:v>
                </c:pt>
                <c:pt idx="4">
                  <c:v>0.67200000000000004</c:v>
                </c:pt>
                <c:pt idx="5">
                  <c:v>0.79500000000000004</c:v>
                </c:pt>
                <c:pt idx="6">
                  <c:v>3.0190000000000001</c:v>
                </c:pt>
                <c:pt idx="7">
                  <c:v>2.625</c:v>
                </c:pt>
              </c:numCache>
            </c:numRef>
          </c:yVal>
          <c:bubbleSize>
            <c:numRef>
              <c:f>Sheet1!$C$2:$C$9</c:f>
              <c:numCache>
                <c:formatCode>General</c:formatCode>
                <c:ptCount val="8"/>
                <c:pt idx="0">
                  <c:v>649486</c:v>
                </c:pt>
                <c:pt idx="1">
                  <c:v>48214</c:v>
                </c:pt>
                <c:pt idx="2">
                  <c:v>45668</c:v>
                </c:pt>
                <c:pt idx="3">
                  <c:v>32235</c:v>
                </c:pt>
                <c:pt idx="4">
                  <c:v>32158</c:v>
                </c:pt>
                <c:pt idx="5">
                  <c:v>31626</c:v>
                </c:pt>
                <c:pt idx="6">
                  <c:v>25475</c:v>
                </c:pt>
                <c:pt idx="7">
                  <c:v>215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Henriot</c:v>
                  </c:pt>
                  <c:pt idx="4">
                    <c:v>Delamotte</c:v>
                  </c:pt>
                  <c:pt idx="5">
                    <c:v>Besserat De Bellefon</c:v>
                  </c:pt>
                  <c:pt idx="6">
                    <c:v>Taittinger</c:v>
                  </c:pt>
                  <c:pt idx="7">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21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DB9A2F-ECBA-4AFB-88A1-F0DAB42CC2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4C95A8-F657-499B-B9F6-D885F5EBC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4234A4-A686-4467-9895-F9F6AD3B90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3E2B42-34C9-44C2-925F-B6482A366A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322FCD-7CDE-44FA-A100-C1B8E0328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4CFED8-BB3D-4619-A70E-4C575510FA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254D3E-A3FE-45EE-9F71-ED415484C6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6E5D2F-DDD2-49E0-AAA5-4CB70C2B2D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436099999999996</c:v>
                </c:pt>
                <c:pt idx="1">
                  <c:v>38.432400000000001</c:v>
                </c:pt>
                <c:pt idx="2">
                  <c:v>84.719300000000004</c:v>
                </c:pt>
                <c:pt idx="3">
                  <c:v>35.465499999999999</c:v>
                </c:pt>
                <c:pt idx="4">
                  <c:v>47.244599999999998</c:v>
                </c:pt>
                <c:pt idx="5">
                  <c:v>59.281199999999998</c:v>
                </c:pt>
                <c:pt idx="6">
                  <c:v>52.890099999999997</c:v>
                </c:pt>
                <c:pt idx="7">
                  <c:v>185.72460000000001</c:v>
                </c:pt>
              </c:numCache>
            </c:numRef>
          </c:xVal>
          <c:yVal>
            <c:numRef>
              <c:f>Sheet1!$B$2:$B$9</c:f>
              <c:numCache>
                <c:formatCode>General</c:formatCode>
                <c:ptCount val="8"/>
                <c:pt idx="0">
                  <c:v>1.151</c:v>
                </c:pt>
                <c:pt idx="1">
                  <c:v>0.497</c:v>
                </c:pt>
                <c:pt idx="2">
                  <c:v>0.997</c:v>
                </c:pt>
                <c:pt idx="3">
                  <c:v>0.42599999999999999</c:v>
                </c:pt>
                <c:pt idx="4">
                  <c:v>0.55700000000000005</c:v>
                </c:pt>
                <c:pt idx="5">
                  <c:v>0.76100000000000001</c:v>
                </c:pt>
                <c:pt idx="6">
                  <c:v>0.624</c:v>
                </c:pt>
                <c:pt idx="7">
                  <c:v>2.1640000000000001</c:v>
                </c:pt>
              </c:numCache>
            </c:numRef>
          </c:yVal>
          <c:bubbleSize>
            <c:numRef>
              <c:f>Sheet1!$C$2:$C$9</c:f>
              <c:numCache>
                <c:formatCode>General</c:formatCode>
                <c:ptCount val="8"/>
                <c:pt idx="0">
                  <c:v>745644</c:v>
                </c:pt>
                <c:pt idx="1">
                  <c:v>32706</c:v>
                </c:pt>
                <c:pt idx="2">
                  <c:v>31092</c:v>
                </c:pt>
                <c:pt idx="3">
                  <c:v>28798</c:v>
                </c:pt>
                <c:pt idx="4">
                  <c:v>24142</c:v>
                </c:pt>
                <c:pt idx="5">
                  <c:v>22349</c:v>
                </c:pt>
                <c:pt idx="6">
                  <c:v>14915</c:v>
                </c:pt>
                <c:pt idx="7">
                  <c:v>1281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Perrier Jouet</c:v>
                  </c:pt>
                  <c:pt idx="3">
                    <c:v>Malard</c:v>
                  </c:pt>
                  <c:pt idx="4">
                    <c:v>Henriot</c:v>
                  </c:pt>
                  <c:pt idx="5">
                    <c:v>Besserat De Bellefon</c:v>
                  </c:pt>
                  <c:pt idx="6">
                    <c:v>Delamotte</c:v>
                  </c:pt>
                  <c:pt idx="7">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3"/>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64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AD7510-FC98-4E4B-96D8-1B1182275F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AACC45-8866-497C-AFB9-BF6897955E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0D589F-945B-4EA9-8E19-710F94CCCE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696D8D-62EC-4E46-ACB0-F15F1E0BD0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E8A453-57CA-40B7-A9E3-2594A055FF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7CA1B5-5526-4040-AEB6-D17909BCB9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374444-4C34-4981-9420-8EE01A5DDD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020E785-31EB-4B55-A7CA-2C2B0E37C1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2.375500000000002</c:v>
                </c:pt>
                <c:pt idx="1">
                  <c:v>42.073</c:v>
                </c:pt>
                <c:pt idx="2">
                  <c:v>35.363399999999999</c:v>
                </c:pt>
                <c:pt idx="3">
                  <c:v>60.463999999999999</c:v>
                </c:pt>
                <c:pt idx="4">
                  <c:v>78.006</c:v>
                </c:pt>
                <c:pt idx="5">
                  <c:v>183.55930000000001</c:v>
                </c:pt>
                <c:pt idx="6">
                  <c:v>72.110299999999995</c:v>
                </c:pt>
                <c:pt idx="7">
                  <c:v>48.165100000000002</c:v>
                </c:pt>
              </c:numCache>
            </c:numRef>
          </c:xVal>
          <c:yVal>
            <c:numRef>
              <c:f>Sheet1!$B$2:$B$9</c:f>
              <c:numCache>
                <c:formatCode>General</c:formatCode>
                <c:ptCount val="8"/>
                <c:pt idx="0">
                  <c:v>1.23</c:v>
                </c:pt>
                <c:pt idx="1">
                  <c:v>0.52600000000000002</c:v>
                </c:pt>
                <c:pt idx="2">
                  <c:v>0.44400000000000001</c:v>
                </c:pt>
                <c:pt idx="3">
                  <c:v>0.80200000000000005</c:v>
                </c:pt>
                <c:pt idx="4">
                  <c:v>0.94399999999999995</c:v>
                </c:pt>
                <c:pt idx="5">
                  <c:v>2.2999999999999998</c:v>
                </c:pt>
                <c:pt idx="6">
                  <c:v>0.85</c:v>
                </c:pt>
                <c:pt idx="7">
                  <c:v>0.58499999999999996</c:v>
                </c:pt>
              </c:numCache>
            </c:numRef>
          </c:yVal>
          <c:bubbleSize>
            <c:numRef>
              <c:f>Sheet1!$C$2:$C$9</c:f>
              <c:numCache>
                <c:formatCode>General</c:formatCode>
                <c:ptCount val="8"/>
                <c:pt idx="0">
                  <c:v>432687</c:v>
                </c:pt>
                <c:pt idx="1">
                  <c:v>27095</c:v>
                </c:pt>
                <c:pt idx="2">
                  <c:v>25497</c:v>
                </c:pt>
                <c:pt idx="3">
                  <c:v>16809</c:v>
                </c:pt>
                <c:pt idx="4">
                  <c:v>13027</c:v>
                </c:pt>
                <c:pt idx="5">
                  <c:v>10830</c:v>
                </c:pt>
                <c:pt idx="6">
                  <c:v>10456</c:v>
                </c:pt>
                <c:pt idx="7">
                  <c:v>10211</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Ayala</c:v>
                  </c:pt>
                  <c:pt idx="5">
                    <c:v>Deutz</c:v>
                  </c:pt>
                  <c:pt idx="6">
                    <c:v>De Venoge</c:v>
                  </c:pt>
                  <c:pt idx="7">
                    <c:v>Henrio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0"/>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0F0ABDA-ABA3-4226-9275-ED21D553E3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BD53665-8EAA-4D9F-88D5-EA70AE14A5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4E27CE7-2E09-4C51-8417-5CFD6C173F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81C65DC-E86E-47A3-B3F2-DA00DBB809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76A1872-5E01-4F12-94FE-D64061F957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789AE7F-6D53-4403-BE4F-19EA100B85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CB37067-879C-4599-ACFA-D9AB1078D0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09C37D4-E517-4C08-B215-5C3BDD2171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25599999999999</c:v>
                </c:pt>
                <c:pt idx="1">
                  <c:v>13.021599999999999</c:v>
                </c:pt>
                <c:pt idx="2">
                  <c:v>17.555099999999999</c:v>
                </c:pt>
                <c:pt idx="3">
                  <c:v>9.1058000000000003</c:v>
                </c:pt>
                <c:pt idx="4">
                  <c:v>11.366099999999999</c:v>
                </c:pt>
                <c:pt idx="5">
                  <c:v>11.7385</c:v>
                </c:pt>
                <c:pt idx="6">
                  <c:v>13.419700000000001</c:v>
                </c:pt>
                <c:pt idx="7">
                  <c:v>11.3514</c:v>
                </c:pt>
              </c:numCache>
            </c:numRef>
          </c:xVal>
          <c:yVal>
            <c:numRef>
              <c:f>Sheet1!$B$2:$B$9</c:f>
              <c:numCache>
                <c:formatCode>General</c:formatCode>
                <c:ptCount val="8"/>
                <c:pt idx="0">
                  <c:v>1.0529999999999999</c:v>
                </c:pt>
                <c:pt idx="1">
                  <c:v>1.2030000000000001</c:v>
                </c:pt>
                <c:pt idx="2">
                  <c:v>1.6679999999999999</c:v>
                </c:pt>
                <c:pt idx="3">
                  <c:v>0.84</c:v>
                </c:pt>
                <c:pt idx="4">
                  <c:v>1.0469999999999999</c:v>
                </c:pt>
                <c:pt idx="5">
                  <c:v>1.036</c:v>
                </c:pt>
                <c:pt idx="6">
                  <c:v>1.238</c:v>
                </c:pt>
                <c:pt idx="7">
                  <c:v>0.89</c:v>
                </c:pt>
              </c:numCache>
            </c:numRef>
          </c:yVal>
          <c:bubbleSize>
            <c:numRef>
              <c:f>Sheet1!$C$2:$C$9</c:f>
              <c:numCache>
                <c:formatCode>General</c:formatCode>
                <c:ptCount val="8"/>
                <c:pt idx="0">
                  <c:v>75203</c:v>
                </c:pt>
                <c:pt idx="1">
                  <c:v>56722</c:v>
                </c:pt>
                <c:pt idx="2">
                  <c:v>51331</c:v>
                </c:pt>
                <c:pt idx="3">
                  <c:v>40348</c:v>
                </c:pt>
                <c:pt idx="4">
                  <c:v>30427</c:v>
                </c:pt>
                <c:pt idx="5">
                  <c:v>22620</c:v>
                </c:pt>
                <c:pt idx="6">
                  <c:v>18895</c:v>
                </c:pt>
                <c:pt idx="7">
                  <c:v>9206</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Chateau Moncontour</c:v>
                  </c:pt>
                  <c:pt idx="5">
                    <c:v>Bouvet-Ladubay</c:v>
                  </c:pt>
                  <c:pt idx="6">
                    <c:v>De Chanceny</c:v>
                  </c:pt>
                  <c:pt idx="7">
                    <c:v>Contarin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0B4011-1EFA-4B2D-83D2-177A1CE2FF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220D86-C8F4-4909-8FD5-C0B5A0E2E0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E2027F-5B32-4293-87DF-9D3A19FB50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212AD8-DF09-461A-953A-2E8FB45CCD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515754-0C4C-406D-B5FB-22255F3420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AEC1B6-ABD3-43D1-B83A-5179B697CC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D9763F-7A61-42F5-B8E0-24569DCC60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549A6C-C30E-40A0-9739-3258B6D311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277500000000003</c:v>
                </c:pt>
                <c:pt idx="1">
                  <c:v>39.03</c:v>
                </c:pt>
                <c:pt idx="2">
                  <c:v>35.237200000000001</c:v>
                </c:pt>
                <c:pt idx="3">
                  <c:v>58.893099999999997</c:v>
                </c:pt>
                <c:pt idx="4">
                  <c:v>46.434600000000003</c:v>
                </c:pt>
                <c:pt idx="5">
                  <c:v>52.797199999999997</c:v>
                </c:pt>
                <c:pt idx="6">
                  <c:v>37.828899999999997</c:v>
                </c:pt>
                <c:pt idx="7">
                  <c:v>75.531400000000005</c:v>
                </c:pt>
              </c:numCache>
            </c:numRef>
          </c:xVal>
          <c:yVal>
            <c:numRef>
              <c:f>Sheet1!$B$2:$B$9</c:f>
              <c:numCache>
                <c:formatCode>General</c:formatCode>
                <c:ptCount val="8"/>
                <c:pt idx="0">
                  <c:v>1.3140000000000001</c:v>
                </c:pt>
                <c:pt idx="1">
                  <c:v>0.54800000000000004</c:v>
                </c:pt>
                <c:pt idx="2">
                  <c:v>0.47499999999999998</c:v>
                </c:pt>
                <c:pt idx="3">
                  <c:v>0.82</c:v>
                </c:pt>
                <c:pt idx="4">
                  <c:v>0.626</c:v>
                </c:pt>
                <c:pt idx="5">
                  <c:v>0.70899999999999996</c:v>
                </c:pt>
                <c:pt idx="6">
                  <c:v>0.51</c:v>
                </c:pt>
                <c:pt idx="7">
                  <c:v>1.016</c:v>
                </c:pt>
              </c:numCache>
            </c:numRef>
          </c:yVal>
          <c:bubbleSize>
            <c:numRef>
              <c:f>Sheet1!$C$2:$C$9</c:f>
              <c:numCache>
                <c:formatCode>General</c:formatCode>
                <c:ptCount val="8"/>
                <c:pt idx="0">
                  <c:v>3647322</c:v>
                </c:pt>
                <c:pt idx="1">
                  <c:v>359310</c:v>
                </c:pt>
                <c:pt idx="2">
                  <c:v>311285</c:v>
                </c:pt>
                <c:pt idx="3">
                  <c:v>215961</c:v>
                </c:pt>
                <c:pt idx="4">
                  <c:v>195397</c:v>
                </c:pt>
                <c:pt idx="5">
                  <c:v>139279</c:v>
                </c:pt>
                <c:pt idx="6">
                  <c:v>115643</c:v>
                </c:pt>
                <c:pt idx="7">
                  <c:v>1021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105440-668C-4480-B363-2E6CFA1582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3B01FE-BC6B-45CA-AA9A-8BF28D16F0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A95830-28BD-4E96-B410-B70ED29377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F5C88A-F00A-4146-8AA6-DD10D28999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2E3BC2-54EF-414A-82D8-E6B047B6A9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76393F-D29A-4C13-84A0-3537806344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DCA0BD-BF42-443F-823B-C57AAEAE4F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D5D6D2-7F8E-4FB2-932C-C83EEDDC9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729699999999994</c:v>
                </c:pt>
                <c:pt idx="1">
                  <c:v>39.805500000000002</c:v>
                </c:pt>
                <c:pt idx="2">
                  <c:v>35.273699999999998</c:v>
                </c:pt>
                <c:pt idx="3">
                  <c:v>60.255800000000001</c:v>
                </c:pt>
                <c:pt idx="4">
                  <c:v>38.656100000000002</c:v>
                </c:pt>
                <c:pt idx="5">
                  <c:v>47.862200000000001</c:v>
                </c:pt>
                <c:pt idx="6">
                  <c:v>235.16220000000001</c:v>
                </c:pt>
                <c:pt idx="7">
                  <c:v>54.452500000000001</c:v>
                </c:pt>
              </c:numCache>
            </c:numRef>
          </c:xVal>
          <c:yVal>
            <c:numRef>
              <c:f>Sheet1!$B$2:$B$9</c:f>
              <c:numCache>
                <c:formatCode>General</c:formatCode>
                <c:ptCount val="8"/>
                <c:pt idx="0">
                  <c:v>1.224</c:v>
                </c:pt>
                <c:pt idx="1">
                  <c:v>0.52300000000000002</c:v>
                </c:pt>
                <c:pt idx="2">
                  <c:v>0.443</c:v>
                </c:pt>
                <c:pt idx="3">
                  <c:v>0.77400000000000002</c:v>
                </c:pt>
                <c:pt idx="4">
                  <c:v>0.48399999999999999</c:v>
                </c:pt>
                <c:pt idx="5">
                  <c:v>0.59299999999999997</c:v>
                </c:pt>
                <c:pt idx="6">
                  <c:v>2.629</c:v>
                </c:pt>
                <c:pt idx="7">
                  <c:v>0.66600000000000004</c:v>
                </c:pt>
              </c:numCache>
            </c:numRef>
          </c:yVal>
          <c:bubbleSize>
            <c:numRef>
              <c:f>Sheet1!$C$2:$C$9</c:f>
              <c:numCache>
                <c:formatCode>General</c:formatCode>
                <c:ptCount val="8"/>
                <c:pt idx="0">
                  <c:v>704092</c:v>
                </c:pt>
                <c:pt idx="1">
                  <c:v>60584</c:v>
                </c:pt>
                <c:pt idx="2">
                  <c:v>33122</c:v>
                </c:pt>
                <c:pt idx="3">
                  <c:v>28742</c:v>
                </c:pt>
                <c:pt idx="4">
                  <c:v>18323</c:v>
                </c:pt>
                <c:pt idx="5">
                  <c:v>17709</c:v>
                </c:pt>
                <c:pt idx="6">
                  <c:v>17402</c:v>
                </c:pt>
                <c:pt idx="7">
                  <c:v>1720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De Bligny</c:v>
                  </c:pt>
                  <c:pt idx="5">
                    <c:v>Henriot</c:v>
                  </c:pt>
                  <c:pt idx="6">
                    <c:v>Taittinger</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2"/>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829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AB7098-6C81-4B96-8110-D2178EE83C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664C63-C957-4EC6-A908-E567243335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903C6E-1286-43B3-9D48-C9D901ACE8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9D6291-0012-4D8F-A1D3-3365801B9C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107604-F4FE-4F5F-B1FC-32C385E7AB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293BA3-49AD-44AC-B6EB-7C33495E66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7B0414A-43C3-4954-A693-C76158CEC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0819BD-258C-4DC4-B301-2F3CEEE435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1.1712</c:v>
                </c:pt>
                <c:pt idx="1">
                  <c:v>35.475900000000003</c:v>
                </c:pt>
                <c:pt idx="2">
                  <c:v>43.171999999999997</c:v>
                </c:pt>
                <c:pt idx="3">
                  <c:v>57.229799999999997</c:v>
                </c:pt>
                <c:pt idx="4">
                  <c:v>47.451099999999997</c:v>
                </c:pt>
                <c:pt idx="5">
                  <c:v>77.934200000000004</c:v>
                </c:pt>
                <c:pt idx="6">
                  <c:v>38.840800000000002</c:v>
                </c:pt>
                <c:pt idx="7">
                  <c:v>55.2742</c:v>
                </c:pt>
              </c:numCache>
            </c:numRef>
          </c:xVal>
          <c:yVal>
            <c:numRef>
              <c:f>Sheet1!$B$2:$B$9</c:f>
              <c:numCache>
                <c:formatCode>General</c:formatCode>
                <c:ptCount val="8"/>
                <c:pt idx="0">
                  <c:v>1.341</c:v>
                </c:pt>
                <c:pt idx="1">
                  <c:v>0.47599999999999998</c:v>
                </c:pt>
                <c:pt idx="2">
                  <c:v>0.58799999999999997</c:v>
                </c:pt>
                <c:pt idx="3">
                  <c:v>0.86</c:v>
                </c:pt>
                <c:pt idx="4">
                  <c:v>0.626</c:v>
                </c:pt>
                <c:pt idx="5">
                  <c:v>0.99099999999999999</c:v>
                </c:pt>
                <c:pt idx="6">
                  <c:v>0.50700000000000001</c:v>
                </c:pt>
                <c:pt idx="7">
                  <c:v>0.69799999999999995</c:v>
                </c:pt>
              </c:numCache>
            </c:numRef>
          </c:yVal>
          <c:bubbleSize>
            <c:numRef>
              <c:f>Sheet1!$C$2:$C$9</c:f>
              <c:numCache>
                <c:formatCode>General</c:formatCode>
                <c:ptCount val="8"/>
                <c:pt idx="0">
                  <c:v>286011</c:v>
                </c:pt>
                <c:pt idx="1">
                  <c:v>30119</c:v>
                </c:pt>
                <c:pt idx="2">
                  <c:v>27112</c:v>
                </c:pt>
                <c:pt idx="3">
                  <c:v>17684</c:v>
                </c:pt>
                <c:pt idx="4">
                  <c:v>12622</c:v>
                </c:pt>
                <c:pt idx="5">
                  <c:v>11846</c:v>
                </c:pt>
                <c:pt idx="6">
                  <c:v>11225</c:v>
                </c:pt>
                <c:pt idx="7">
                  <c:v>10281</c:v>
                </c:pt>
              </c:numCache>
            </c:numRef>
          </c:bubbleSize>
          <c:bubble3D val="0"/>
          <c:extLst>
            <c:ext xmlns:c15="http://schemas.microsoft.com/office/drawing/2012/chart" uri="{02D57815-91ED-43cb-92C2-25804820EDAC}">
              <c15:datalabelsRange>
                <c15:f>Sheet1!$E$2:$E$10</c15:f>
                <c15:dlblRangeCache>
                  <c:ptCount val="9"/>
                  <c:pt idx="0">
                    <c:v>Ruinart</c:v>
                  </c:pt>
                  <c:pt idx="1">
                    <c:v>Malard</c:v>
                  </c:pt>
                  <c:pt idx="2">
                    <c:v>Nicolas</c:v>
                  </c:pt>
                  <c:pt idx="3">
                    <c:v>Besserat De Bellefon</c:v>
                  </c:pt>
                  <c:pt idx="4">
                    <c:v>Henriot</c:v>
                  </c:pt>
                  <c:pt idx="5">
                    <c:v>Ayala</c:v>
                  </c:pt>
                  <c:pt idx="6">
                    <c:v>De Bligny</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1"/>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CF399F-5E00-4283-887B-6486E4637F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8ED6B2-179B-4D88-8686-23EF5CD953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BAC68C-AD3A-42D6-8C44-0930484AD9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41C8BB-2C88-48DA-BC01-63D27C858E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DEA13A-7E08-49E9-9C4A-F0F782F15A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00E7DE-8AD3-4267-9A38-FBFB67E6B4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9E0AA63-8F73-4833-922D-C4BF532CF8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CB38CB-3404-4BDD-86E0-3F56DB6224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08700000000005</c:v>
                </c:pt>
                <c:pt idx="1">
                  <c:v>60.156500000000001</c:v>
                </c:pt>
                <c:pt idx="2">
                  <c:v>35.562199999999997</c:v>
                </c:pt>
                <c:pt idx="3">
                  <c:v>41.855200000000004</c:v>
                </c:pt>
                <c:pt idx="4">
                  <c:v>48.439599999999999</c:v>
                </c:pt>
                <c:pt idx="5">
                  <c:v>55.195900000000002</c:v>
                </c:pt>
                <c:pt idx="6">
                  <c:v>82.162800000000004</c:v>
                </c:pt>
                <c:pt idx="7">
                  <c:v>37.318800000000003</c:v>
                </c:pt>
              </c:numCache>
            </c:numRef>
          </c:xVal>
          <c:yVal>
            <c:numRef>
              <c:f>Sheet1!$B$2:$B$9</c:f>
              <c:numCache>
                <c:formatCode>General</c:formatCode>
                <c:ptCount val="8"/>
                <c:pt idx="0">
                  <c:v>1.413</c:v>
                </c:pt>
                <c:pt idx="1">
                  <c:v>0.91100000000000003</c:v>
                </c:pt>
                <c:pt idx="2">
                  <c:v>0.50600000000000001</c:v>
                </c:pt>
                <c:pt idx="3">
                  <c:v>0.59899999999999998</c:v>
                </c:pt>
                <c:pt idx="4">
                  <c:v>0.66100000000000003</c:v>
                </c:pt>
                <c:pt idx="5">
                  <c:v>0.77400000000000002</c:v>
                </c:pt>
                <c:pt idx="6">
                  <c:v>1.0449999999999999</c:v>
                </c:pt>
                <c:pt idx="7">
                  <c:v>0.50800000000000001</c:v>
                </c:pt>
              </c:numCache>
            </c:numRef>
          </c:yVal>
          <c:bubbleSize>
            <c:numRef>
              <c:f>Sheet1!$C$2:$C$9</c:f>
              <c:numCache>
                <c:formatCode>General</c:formatCode>
                <c:ptCount val="8"/>
                <c:pt idx="0">
                  <c:v>113838</c:v>
                </c:pt>
                <c:pt idx="1">
                  <c:v>13836</c:v>
                </c:pt>
                <c:pt idx="2">
                  <c:v>13727</c:v>
                </c:pt>
                <c:pt idx="3">
                  <c:v>12431</c:v>
                </c:pt>
                <c:pt idx="4">
                  <c:v>8816</c:v>
                </c:pt>
                <c:pt idx="5">
                  <c:v>8169</c:v>
                </c:pt>
                <c:pt idx="6">
                  <c:v>7066</c:v>
                </c:pt>
                <c:pt idx="7">
                  <c:v>5971</c:v>
                </c:pt>
              </c:numCache>
            </c:numRef>
          </c:bubbleSize>
          <c:bubble3D val="0"/>
          <c:extLst>
            <c:ext xmlns:c15="http://schemas.microsoft.com/office/drawing/2012/chart" uri="{02D57815-91ED-43cb-92C2-25804820EDAC}">
              <c15:datalabelsRange>
                <c15:f>Sheet1!$E$2:$E$10</c15:f>
                <c15:dlblRangeCache>
                  <c:ptCount val="9"/>
                  <c:pt idx="0">
                    <c:v>Ruinart</c:v>
                  </c:pt>
                  <c:pt idx="1">
                    <c:v>Besserat De Bellefon</c:v>
                  </c:pt>
                  <c:pt idx="2">
                    <c:v>Malard</c:v>
                  </c:pt>
                  <c:pt idx="3">
                    <c:v>Nicolas</c:v>
                  </c:pt>
                  <c:pt idx="4">
                    <c:v>Henriot</c:v>
                  </c:pt>
                  <c:pt idx="5">
                    <c:v>Delamotte</c:v>
                  </c:pt>
                  <c:pt idx="6">
                    <c:v>Ayala</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A45763-626E-4446-BFC3-18BB59E54C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33DAD4-6F71-47A8-BDBF-C1F905BCB1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C0A6D8-3BE9-4774-AD95-5DA1ED7848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362FB6-ECCE-401F-B114-70B2254561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4E2D63-65F8-40B0-89B7-09AF392CC1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29A031-E852-434E-A3CF-21DB4626F7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8DFB94-DC41-4473-9096-730F556CAB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29138A-6732-4EBF-81E2-EDAF5F27E1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6083</c:v>
                </c:pt>
                <c:pt idx="1">
                  <c:v>40.554200000000002</c:v>
                </c:pt>
                <c:pt idx="2">
                  <c:v>35.214300000000001</c:v>
                </c:pt>
                <c:pt idx="3">
                  <c:v>77.7453</c:v>
                </c:pt>
                <c:pt idx="4">
                  <c:v>56.062899999999999</c:v>
                </c:pt>
                <c:pt idx="5">
                  <c:v>48.319699999999997</c:v>
                </c:pt>
                <c:pt idx="6">
                  <c:v>40.115099999999998</c:v>
                </c:pt>
                <c:pt idx="7">
                  <c:v>72.929599999999994</c:v>
                </c:pt>
              </c:numCache>
            </c:numRef>
          </c:xVal>
          <c:yVal>
            <c:numRef>
              <c:f>Sheet1!$B$2:$B$9</c:f>
              <c:numCache>
                <c:formatCode>General</c:formatCode>
                <c:ptCount val="8"/>
                <c:pt idx="0">
                  <c:v>2.0590000000000002</c:v>
                </c:pt>
                <c:pt idx="1">
                  <c:v>0.89200000000000002</c:v>
                </c:pt>
                <c:pt idx="2">
                  <c:v>0.74399999999999999</c:v>
                </c:pt>
                <c:pt idx="3">
                  <c:v>1.4770000000000001</c:v>
                </c:pt>
                <c:pt idx="4">
                  <c:v>1.0329999999999999</c:v>
                </c:pt>
                <c:pt idx="5">
                  <c:v>0.90100000000000002</c:v>
                </c:pt>
                <c:pt idx="6">
                  <c:v>0.78300000000000003</c:v>
                </c:pt>
                <c:pt idx="7">
                  <c:v>1.3240000000000001</c:v>
                </c:pt>
              </c:numCache>
            </c:numRef>
          </c:yVal>
          <c:bubbleSize>
            <c:numRef>
              <c:f>Sheet1!$C$2:$C$9</c:f>
              <c:numCache>
                <c:formatCode>General</c:formatCode>
                <c:ptCount val="8"/>
                <c:pt idx="0">
                  <c:v>81984</c:v>
                </c:pt>
                <c:pt idx="1">
                  <c:v>13099</c:v>
                </c:pt>
                <c:pt idx="2">
                  <c:v>8874</c:v>
                </c:pt>
                <c:pt idx="3">
                  <c:v>8241</c:v>
                </c:pt>
                <c:pt idx="4">
                  <c:v>8017</c:v>
                </c:pt>
                <c:pt idx="5">
                  <c:v>5895</c:v>
                </c:pt>
                <c:pt idx="6">
                  <c:v>5576</c:v>
                </c:pt>
                <c:pt idx="7">
                  <c:v>51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Ayala</c:v>
                  </c:pt>
                  <c:pt idx="4">
                    <c:v>Delamotte</c:v>
                  </c:pt>
                  <c:pt idx="5">
                    <c:v>Henriot</c:v>
                  </c:pt>
                  <c:pt idx="6">
                    <c:v>De Bligny</c:v>
                  </c:pt>
                  <c:pt idx="7">
                    <c:v>De Venog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3"/>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5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CCA132-74B6-4464-B1B4-23607C3C64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E2C41D-87A8-412E-8F60-58AFA32B05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590833-5F57-464C-8E21-4FBF00BB21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48EDF8-E35C-4118-BE28-3647EA4943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8AF597-D789-4D38-9884-2EAABA5CBA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2C2A91-2539-4C39-AA22-B2F6EC198C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056750F-803C-4FA4-B6E4-5476CD0444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B67F3E-3DDF-4151-B427-B3C762A6B6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792599999999993</c:v>
                </c:pt>
                <c:pt idx="1">
                  <c:v>39.543100000000003</c:v>
                </c:pt>
                <c:pt idx="2">
                  <c:v>35.273200000000003</c:v>
                </c:pt>
                <c:pt idx="3">
                  <c:v>59.5274</c:v>
                </c:pt>
                <c:pt idx="4">
                  <c:v>84.996300000000005</c:v>
                </c:pt>
                <c:pt idx="5">
                  <c:v>46.717700000000001</c:v>
                </c:pt>
                <c:pt idx="6">
                  <c:v>53.284199999999998</c:v>
                </c:pt>
                <c:pt idx="7">
                  <c:v>203.2747</c:v>
                </c:pt>
              </c:numCache>
            </c:numRef>
          </c:xVal>
          <c:yVal>
            <c:numRef>
              <c:f>Sheet1!$B$2:$B$9</c:f>
              <c:numCache>
                <c:formatCode>General</c:formatCode>
                <c:ptCount val="8"/>
                <c:pt idx="0">
                  <c:v>1.272</c:v>
                </c:pt>
                <c:pt idx="1">
                  <c:v>0.52700000000000002</c:v>
                </c:pt>
                <c:pt idx="2">
                  <c:v>0.45400000000000001</c:v>
                </c:pt>
                <c:pt idx="3">
                  <c:v>0.79</c:v>
                </c:pt>
                <c:pt idx="4">
                  <c:v>1.091</c:v>
                </c:pt>
                <c:pt idx="5">
                  <c:v>0.60199999999999998</c:v>
                </c:pt>
                <c:pt idx="6">
                  <c:v>0.68</c:v>
                </c:pt>
                <c:pt idx="7">
                  <c:v>2.66</c:v>
                </c:pt>
              </c:numCache>
            </c:numRef>
          </c:yVal>
          <c:bubbleSize>
            <c:numRef>
              <c:f>Sheet1!$C$2:$C$9</c:f>
              <c:numCache>
                <c:formatCode>General</c:formatCode>
                <c:ptCount val="8"/>
                <c:pt idx="0">
                  <c:v>1886198</c:v>
                </c:pt>
                <c:pt idx="1">
                  <c:v>146191</c:v>
                </c:pt>
                <c:pt idx="2">
                  <c:v>116472</c:v>
                </c:pt>
                <c:pt idx="3">
                  <c:v>76076</c:v>
                </c:pt>
                <c:pt idx="4">
                  <c:v>67997</c:v>
                </c:pt>
                <c:pt idx="5">
                  <c:v>66853</c:v>
                </c:pt>
                <c:pt idx="6">
                  <c:v>61490</c:v>
                </c:pt>
                <c:pt idx="7">
                  <c:v>4736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Perrier Jouet</c:v>
                  </c:pt>
                  <c:pt idx="5">
                    <c:v>Henriot</c:v>
                  </c:pt>
                  <c:pt idx="6">
                    <c:v>Delamotte</c:v>
                  </c:pt>
                  <c:pt idx="7">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4"/>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860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A6BB14-98C9-4393-9265-1DE2B8A0B1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79C3A0-89F7-4302-A38A-DFD22AEC95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773207-EA9F-482C-B790-2DFE46ADE1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4905F5-0037-424C-A885-3DDA6CD1ED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359D82-7ADD-454E-9B1A-5720B63699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AC4F61-6610-4103-B81F-E216CBE78B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371AB4E-F2B9-42CE-A291-B3C6894A9F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44E87F-83FB-4E3F-B944-780BF4F95C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354299999999995</c:v>
                </c:pt>
                <c:pt idx="1">
                  <c:v>40.190100000000001</c:v>
                </c:pt>
                <c:pt idx="2">
                  <c:v>35.284500000000001</c:v>
                </c:pt>
                <c:pt idx="3">
                  <c:v>58.968699999999998</c:v>
                </c:pt>
                <c:pt idx="4">
                  <c:v>46.8782</c:v>
                </c:pt>
                <c:pt idx="5">
                  <c:v>53.136400000000002</c:v>
                </c:pt>
                <c:pt idx="6">
                  <c:v>37.7256</c:v>
                </c:pt>
                <c:pt idx="7">
                  <c:v>76.505700000000004</c:v>
                </c:pt>
              </c:numCache>
            </c:numRef>
          </c:xVal>
          <c:yVal>
            <c:numRef>
              <c:f>Sheet1!$B$2:$B$9</c:f>
              <c:numCache>
                <c:formatCode>General</c:formatCode>
                <c:ptCount val="8"/>
                <c:pt idx="0">
                  <c:v>1.347</c:v>
                </c:pt>
                <c:pt idx="1">
                  <c:v>0.56200000000000006</c:v>
                </c:pt>
                <c:pt idx="2">
                  <c:v>0.48899999999999999</c:v>
                </c:pt>
                <c:pt idx="3">
                  <c:v>0.85199999999999998</c:v>
                </c:pt>
                <c:pt idx="4">
                  <c:v>0.64400000000000002</c:v>
                </c:pt>
                <c:pt idx="5">
                  <c:v>0.72799999999999998</c:v>
                </c:pt>
                <c:pt idx="6">
                  <c:v>0.52500000000000002</c:v>
                </c:pt>
                <c:pt idx="7">
                  <c:v>1.0209999999999999</c:v>
                </c:pt>
              </c:numCache>
            </c:numRef>
          </c:yVal>
          <c:bubbleSize>
            <c:numRef>
              <c:f>Sheet1!$C$2:$C$9</c:f>
              <c:numCache>
                <c:formatCode>General</c:formatCode>
                <c:ptCount val="8"/>
                <c:pt idx="0">
                  <c:v>638221</c:v>
                </c:pt>
                <c:pt idx="1">
                  <c:v>73588</c:v>
                </c:pt>
                <c:pt idx="2">
                  <c:v>60513</c:v>
                </c:pt>
                <c:pt idx="3">
                  <c:v>45170</c:v>
                </c:pt>
                <c:pt idx="4">
                  <c:v>36940</c:v>
                </c:pt>
                <c:pt idx="5">
                  <c:v>32732</c:v>
                </c:pt>
                <c:pt idx="6">
                  <c:v>20485</c:v>
                </c:pt>
                <c:pt idx="7">
                  <c:v>2027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AC4BE2-86F3-4D23-80E1-648E238731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06F852-CBE2-4743-B529-5094FCC294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75F504-C9B2-469F-B48B-8764A99AF2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DBC16B-DCB8-40C1-9726-EE87366D7F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ED693C-F676-4B44-B5F2-E77B88568C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DF9687-102D-4B4E-B4B2-7D5223BA94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090C814-B3D3-47DB-8DF8-5F4D455372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4CEDB04-2AC6-429F-B587-C41E6E0CED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499899999999997</c:v>
                </c:pt>
                <c:pt idx="1">
                  <c:v>39.097499999999997</c:v>
                </c:pt>
                <c:pt idx="2">
                  <c:v>35.116300000000003</c:v>
                </c:pt>
                <c:pt idx="3">
                  <c:v>59.410200000000003</c:v>
                </c:pt>
                <c:pt idx="4">
                  <c:v>46.718200000000003</c:v>
                </c:pt>
                <c:pt idx="5">
                  <c:v>37.393700000000003</c:v>
                </c:pt>
                <c:pt idx="6">
                  <c:v>53.1616</c:v>
                </c:pt>
                <c:pt idx="7">
                  <c:v>75.871099999999998</c:v>
                </c:pt>
              </c:numCache>
            </c:numRef>
          </c:xVal>
          <c:yVal>
            <c:numRef>
              <c:f>Sheet1!$B$2:$B$9</c:f>
              <c:numCache>
                <c:formatCode>General</c:formatCode>
                <c:ptCount val="8"/>
                <c:pt idx="0">
                  <c:v>1.365</c:v>
                </c:pt>
                <c:pt idx="1">
                  <c:v>0.58299999999999996</c:v>
                </c:pt>
                <c:pt idx="2">
                  <c:v>0.49399999999999999</c:v>
                </c:pt>
                <c:pt idx="3">
                  <c:v>0.86299999999999999</c:v>
                </c:pt>
                <c:pt idx="4">
                  <c:v>0.65500000000000003</c:v>
                </c:pt>
                <c:pt idx="5">
                  <c:v>0.52600000000000002</c:v>
                </c:pt>
                <c:pt idx="6">
                  <c:v>0.73699999999999999</c:v>
                </c:pt>
                <c:pt idx="7">
                  <c:v>1.0549999999999999</c:v>
                </c:pt>
              </c:numCache>
            </c:numRef>
          </c:yVal>
          <c:bubbleSize>
            <c:numRef>
              <c:f>Sheet1!$C$2:$C$9</c:f>
              <c:numCache>
                <c:formatCode>General</c:formatCode>
                <c:ptCount val="8"/>
                <c:pt idx="0">
                  <c:v>1109404</c:v>
                </c:pt>
                <c:pt idx="1">
                  <c:v>118739</c:v>
                </c:pt>
                <c:pt idx="2">
                  <c:v>108439</c:v>
                </c:pt>
                <c:pt idx="3">
                  <c:v>72421</c:v>
                </c:pt>
                <c:pt idx="4">
                  <c:v>62509</c:v>
                </c:pt>
                <c:pt idx="5">
                  <c:v>38179</c:v>
                </c:pt>
                <c:pt idx="6">
                  <c:v>38170</c:v>
                </c:pt>
                <c:pt idx="7">
                  <c:v>364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 Bligny</c:v>
                  </c:pt>
                  <c:pt idx="6">
                    <c:v>Delamott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7F7888-9130-4485-8C24-0B65A9F10E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90BB39-51E2-4D37-B746-23D674CA61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B1AFFE-AF07-439F-8901-247DE3BC70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30F26D-048E-461F-AF59-2E8329BC0E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BED4D7-B150-46C9-95E1-4215C58470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793393-1CC1-404E-A4E3-71B89B248E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B4D88D-A22C-49D4-B5CA-3F934655CB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0936408-03D4-4123-A54C-B3F7CE660B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423199999999994</c:v>
                </c:pt>
                <c:pt idx="1">
                  <c:v>39.362900000000003</c:v>
                </c:pt>
                <c:pt idx="2">
                  <c:v>35.230899999999998</c:v>
                </c:pt>
                <c:pt idx="3">
                  <c:v>58.4313</c:v>
                </c:pt>
                <c:pt idx="4">
                  <c:v>46.652500000000003</c:v>
                </c:pt>
                <c:pt idx="5">
                  <c:v>37.884399999999999</c:v>
                </c:pt>
                <c:pt idx="6">
                  <c:v>52.983499999999999</c:v>
                </c:pt>
                <c:pt idx="7">
                  <c:v>76.6631</c:v>
                </c:pt>
              </c:numCache>
            </c:numRef>
          </c:xVal>
          <c:yVal>
            <c:numRef>
              <c:f>Sheet1!$B$2:$B$9</c:f>
              <c:numCache>
                <c:formatCode>General</c:formatCode>
                <c:ptCount val="8"/>
                <c:pt idx="0">
                  <c:v>1.347</c:v>
                </c:pt>
                <c:pt idx="1">
                  <c:v>0.56899999999999995</c:v>
                </c:pt>
                <c:pt idx="2">
                  <c:v>0.49</c:v>
                </c:pt>
                <c:pt idx="3">
                  <c:v>0.85399999999999998</c:v>
                </c:pt>
                <c:pt idx="4">
                  <c:v>0.64200000000000002</c:v>
                </c:pt>
                <c:pt idx="5">
                  <c:v>0.52600000000000002</c:v>
                </c:pt>
                <c:pt idx="6">
                  <c:v>0.72799999999999998</c:v>
                </c:pt>
                <c:pt idx="7">
                  <c:v>1.0449999999999999</c:v>
                </c:pt>
              </c:numCache>
            </c:numRef>
          </c:yVal>
          <c:bubbleSize>
            <c:numRef>
              <c:f>Sheet1!$C$2:$C$9</c:f>
              <c:numCache>
                <c:formatCode>General</c:formatCode>
                <c:ptCount val="8"/>
                <c:pt idx="0">
                  <c:v>910915</c:v>
                </c:pt>
                <c:pt idx="1">
                  <c:v>87307</c:v>
                </c:pt>
                <c:pt idx="2">
                  <c:v>80714</c:v>
                </c:pt>
                <c:pt idx="3">
                  <c:v>60827</c:v>
                </c:pt>
                <c:pt idx="4">
                  <c:v>55050</c:v>
                </c:pt>
                <c:pt idx="5">
                  <c:v>38983</c:v>
                </c:pt>
                <c:pt idx="6">
                  <c:v>35234</c:v>
                </c:pt>
                <c:pt idx="7">
                  <c:v>2867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 Bligny</c:v>
                  </c:pt>
                  <c:pt idx="6">
                    <c:v>Delamott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FC6BA1-3A9A-4C77-9F8D-28437DB84C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A9D682-27E4-43CF-832F-9203B04649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BC80B6-F699-4B9A-9D90-A5E18D1BB7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ED093E-B2BC-4720-A1CD-0866BB9A41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3FF324-88E8-4603-86CE-2A6DDE5CD0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1D7263-D3FD-4374-A7B2-111EB9340B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2C91C8-0D95-4A65-9ACF-6BAB25455B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762A50-CD2B-4FCB-B2C9-8E9E00CAD7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013999999999996</c:v>
                </c:pt>
                <c:pt idx="1">
                  <c:v>40.125500000000002</c:v>
                </c:pt>
                <c:pt idx="2">
                  <c:v>35.324399999999997</c:v>
                </c:pt>
                <c:pt idx="3">
                  <c:v>58.5242</c:v>
                </c:pt>
                <c:pt idx="4">
                  <c:v>37.983400000000003</c:v>
                </c:pt>
                <c:pt idx="5">
                  <c:v>47.084000000000003</c:v>
                </c:pt>
                <c:pt idx="6">
                  <c:v>53.462699999999998</c:v>
                </c:pt>
                <c:pt idx="7">
                  <c:v>75.419600000000003</c:v>
                </c:pt>
              </c:numCache>
            </c:numRef>
          </c:xVal>
          <c:yVal>
            <c:numRef>
              <c:f>Sheet1!$B$2:$B$9</c:f>
              <c:numCache>
                <c:formatCode>General</c:formatCode>
                <c:ptCount val="8"/>
                <c:pt idx="0">
                  <c:v>1.411</c:v>
                </c:pt>
                <c:pt idx="1">
                  <c:v>0.59699999999999998</c:v>
                </c:pt>
                <c:pt idx="2">
                  <c:v>0.51300000000000001</c:v>
                </c:pt>
                <c:pt idx="3">
                  <c:v>0.90300000000000002</c:v>
                </c:pt>
                <c:pt idx="4">
                  <c:v>0.55300000000000005</c:v>
                </c:pt>
                <c:pt idx="5">
                  <c:v>0.68100000000000005</c:v>
                </c:pt>
                <c:pt idx="6">
                  <c:v>0.76900000000000002</c:v>
                </c:pt>
                <c:pt idx="7">
                  <c:v>1.0760000000000001</c:v>
                </c:pt>
              </c:numCache>
            </c:numRef>
          </c:yVal>
          <c:bubbleSize>
            <c:numRef>
              <c:f>Sheet1!$C$2:$C$9</c:f>
              <c:numCache>
                <c:formatCode>General</c:formatCode>
                <c:ptCount val="8"/>
                <c:pt idx="0">
                  <c:v>763497</c:v>
                </c:pt>
                <c:pt idx="1">
                  <c:v>108419</c:v>
                </c:pt>
                <c:pt idx="2">
                  <c:v>84390</c:v>
                </c:pt>
                <c:pt idx="3">
                  <c:v>56944</c:v>
                </c:pt>
                <c:pt idx="4">
                  <c:v>47935</c:v>
                </c:pt>
                <c:pt idx="5">
                  <c:v>45954</c:v>
                </c:pt>
                <c:pt idx="6">
                  <c:v>30848</c:v>
                </c:pt>
                <c:pt idx="7">
                  <c:v>3001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De Bligny</c:v>
                  </c:pt>
                  <c:pt idx="5">
                    <c:v>Henriot</c:v>
                  </c:pt>
                  <c:pt idx="6">
                    <c:v>Delamott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52ED261-085C-43C0-A80C-119481CFDA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05AF407-5FFC-42D9-9189-A4EAA0BD3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DF4AE137-7DAE-4036-B1B4-9CD36C4D13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5CB21BC-037A-443B-9989-692C832FBA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A338F7F-378C-4D71-9316-2FC91C262D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DD8E06D-2065-49C5-81BB-CF626FE948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644C0A7-1A4A-4A26-9F63-9CA6881BD3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CBF5ABFC-70DE-4DC8-8567-7D3D347D53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313</c:v>
                </c:pt>
                <c:pt idx="1">
                  <c:v>11.426500000000001</c:v>
                </c:pt>
              </c:numCache>
            </c:numRef>
          </c:xVal>
          <c:yVal>
            <c:numRef>
              <c:f>Sheet1!$B$2:$B$3</c:f>
              <c:numCache>
                <c:formatCode>General</c:formatCode>
                <c:ptCount val="2"/>
                <c:pt idx="0">
                  <c:v>1.613</c:v>
                </c:pt>
                <c:pt idx="1">
                  <c:v>0.63400000000000001</c:v>
                </c:pt>
              </c:numCache>
            </c:numRef>
          </c:yVal>
          <c:bubbleSize>
            <c:numRef>
              <c:f>Sheet1!$C$2:$C$3</c:f>
              <c:numCache>
                <c:formatCode>General</c:formatCode>
                <c:ptCount val="2"/>
                <c:pt idx="0">
                  <c:v>33268</c:v>
                </c:pt>
                <c:pt idx="1">
                  <c:v>19288</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B9124E-04C2-4694-AEE9-82C6548564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D204D1-A834-4FF0-AB3A-CC7DAA5482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A260D2-EB3A-4757-9536-693A62D8F6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40EFB9-FAB3-4372-A21F-2E0B2B121B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DB9074-456A-42AB-AFBD-52A2184662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F22BCD-EC5E-4364-81DD-B6DD2EC1BD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DA763E-59CA-400E-BFDB-AA90FC5C13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F0CA45-024A-4B01-8D8C-F4DEEB56BB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85499999999999</c:v>
                </c:pt>
                <c:pt idx="1">
                  <c:v>30.786100000000001</c:v>
                </c:pt>
                <c:pt idx="2">
                  <c:v>18.6905</c:v>
                </c:pt>
                <c:pt idx="3">
                  <c:v>25.835599999999999</c:v>
                </c:pt>
                <c:pt idx="4">
                  <c:v>24.3565</c:v>
                </c:pt>
                <c:pt idx="5">
                  <c:v>40.955100000000002</c:v>
                </c:pt>
                <c:pt idx="6">
                  <c:v>58.941899999999997</c:v>
                </c:pt>
                <c:pt idx="7">
                  <c:v>22.180499999999999</c:v>
                </c:pt>
              </c:numCache>
            </c:numRef>
          </c:xVal>
          <c:yVal>
            <c:numRef>
              <c:f>Sheet1!$B$2:$B$9</c:f>
              <c:numCache>
                <c:formatCode>General</c:formatCode>
                <c:ptCount val="8"/>
                <c:pt idx="0">
                  <c:v>1.042</c:v>
                </c:pt>
                <c:pt idx="1">
                  <c:v>1.4850000000000001</c:v>
                </c:pt>
                <c:pt idx="2">
                  <c:v>0.30399999999999999</c:v>
                </c:pt>
                <c:pt idx="3">
                  <c:v>1.222</c:v>
                </c:pt>
                <c:pt idx="4">
                  <c:v>1.109</c:v>
                </c:pt>
                <c:pt idx="5">
                  <c:v>1.952</c:v>
                </c:pt>
                <c:pt idx="6">
                  <c:v>2.8620000000000001</c:v>
                </c:pt>
                <c:pt idx="7">
                  <c:v>1.1200000000000001</c:v>
                </c:pt>
              </c:numCache>
            </c:numRef>
          </c:yVal>
          <c:bubbleSize>
            <c:numRef>
              <c:f>Sheet1!$C$2:$C$9</c:f>
              <c:numCache>
                <c:formatCode>General</c:formatCode>
                <c:ptCount val="8"/>
                <c:pt idx="0">
                  <c:v>63941275</c:v>
                </c:pt>
                <c:pt idx="1">
                  <c:v>37787787</c:v>
                </c:pt>
                <c:pt idx="2">
                  <c:v>26748672</c:v>
                </c:pt>
                <c:pt idx="3">
                  <c:v>24364022</c:v>
                </c:pt>
                <c:pt idx="4">
                  <c:v>23515927</c:v>
                </c:pt>
                <c:pt idx="5">
                  <c:v>20957933</c:v>
                </c:pt>
                <c:pt idx="6">
                  <c:v>15468822</c:v>
                </c:pt>
                <c:pt idx="7">
                  <c:v>4641984</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harles Lafitte</c:v>
                  </c:pt>
                  <c:pt idx="3">
                    <c:v>Canard Duchêne</c:v>
                  </c:pt>
                  <c:pt idx="4">
                    <c:v>Alfred De Rothschild</c:v>
                  </c:pt>
                  <c:pt idx="5">
                    <c:v>Moët &amp; Chandon</c:v>
                  </c:pt>
                  <c:pt idx="6">
                    <c:v>Ruinart</c:v>
                  </c:pt>
                  <c:pt idx="7">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2EBB38-62CA-4505-9961-294D1E8699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36276C-DD42-4ED9-AF25-1590E70583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3E25E3-9216-4359-A42E-A9DD2136DE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982309-935D-49D9-9503-33C28ED6DF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F4861F-D18F-44BB-83ED-522C306D74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AAAD8E-F039-44D7-BA2B-C59785C4D5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E61EBB-9C43-43E2-BBEF-5986FAAD2D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36771B-61B0-440F-90A5-29C486AA71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5593</c:v>
                </c:pt>
                <c:pt idx="1">
                  <c:v>22.207599999999999</c:v>
                </c:pt>
                <c:pt idx="2">
                  <c:v>48.483199999999997</c:v>
                </c:pt>
                <c:pt idx="3">
                  <c:v>49.057299999999998</c:v>
                </c:pt>
                <c:pt idx="4">
                  <c:v>29.282399999999999</c:v>
                </c:pt>
                <c:pt idx="5">
                  <c:v>37.173099999999998</c:v>
                </c:pt>
                <c:pt idx="6">
                  <c:v>30.305599999999998</c:v>
                </c:pt>
                <c:pt idx="7">
                  <c:v>52.314700000000002</c:v>
                </c:pt>
              </c:numCache>
            </c:numRef>
          </c:xVal>
          <c:yVal>
            <c:numRef>
              <c:f>Sheet1!$B$2:$B$9</c:f>
              <c:numCache>
                <c:formatCode>General</c:formatCode>
                <c:ptCount val="8"/>
                <c:pt idx="0">
                  <c:v>1.4390000000000001</c:v>
                </c:pt>
                <c:pt idx="1">
                  <c:v>0.56299999999999994</c:v>
                </c:pt>
                <c:pt idx="2">
                  <c:v>1.1859999999999999</c:v>
                </c:pt>
                <c:pt idx="3">
                  <c:v>1.0980000000000001</c:v>
                </c:pt>
                <c:pt idx="4">
                  <c:v>0.74399999999999999</c:v>
                </c:pt>
                <c:pt idx="5">
                  <c:v>0.94499999999999995</c:v>
                </c:pt>
                <c:pt idx="6">
                  <c:v>0.79200000000000004</c:v>
                </c:pt>
                <c:pt idx="7">
                  <c:v>1.1599999999999999</c:v>
                </c:pt>
              </c:numCache>
            </c:numRef>
          </c:yVal>
          <c:bubbleSize>
            <c:numRef>
              <c:f>Sheet1!$C$2:$C$9</c:f>
              <c:numCache>
                <c:formatCode>General</c:formatCode>
                <c:ptCount val="8"/>
                <c:pt idx="0">
                  <c:v>8876227</c:v>
                </c:pt>
                <c:pt idx="1">
                  <c:v>4648693</c:v>
                </c:pt>
                <c:pt idx="2">
                  <c:v>4269285</c:v>
                </c:pt>
                <c:pt idx="3">
                  <c:v>2622261</c:v>
                </c:pt>
                <c:pt idx="4">
                  <c:v>2092464</c:v>
                </c:pt>
                <c:pt idx="5">
                  <c:v>1761075</c:v>
                </c:pt>
                <c:pt idx="6">
                  <c:v>1729845</c:v>
                </c:pt>
                <c:pt idx="7">
                  <c:v>163975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Canard Duchên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3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C2935E-CD33-4309-887B-07D59AFB48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FEBCDE-4729-47FD-8FF5-3C3CE94547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C0ECFF-0C6B-4E7F-BF89-EDF722D294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BFC303-39E0-4A41-BA5C-821A818BE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8CB6F6-6776-4383-B70F-152CF4DB55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40B110-8222-4A9E-AEB0-9A8661D723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6F21ADC-8227-4F89-9AFF-D9AFF9A978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778130-DA82-481C-817F-313B71B82E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40400000000001</c:v>
                </c:pt>
                <c:pt idx="1">
                  <c:v>30.786100000000001</c:v>
                </c:pt>
                <c:pt idx="2">
                  <c:v>18.6905</c:v>
                </c:pt>
                <c:pt idx="3">
                  <c:v>24.3565</c:v>
                </c:pt>
                <c:pt idx="4">
                  <c:v>25.5548</c:v>
                </c:pt>
                <c:pt idx="5">
                  <c:v>40.8125</c:v>
                </c:pt>
                <c:pt idx="6">
                  <c:v>28.447700000000001</c:v>
                </c:pt>
                <c:pt idx="7">
                  <c:v>28.562000000000001</c:v>
                </c:pt>
              </c:numCache>
            </c:numRef>
          </c:xVal>
          <c:yVal>
            <c:numRef>
              <c:f>Sheet1!$B$2:$B$9</c:f>
              <c:numCache>
                <c:formatCode>General</c:formatCode>
                <c:ptCount val="8"/>
                <c:pt idx="0">
                  <c:v>1.0900000000000001</c:v>
                </c:pt>
                <c:pt idx="1">
                  <c:v>1.5569999999999999</c:v>
                </c:pt>
                <c:pt idx="2">
                  <c:v>0.318</c:v>
                </c:pt>
                <c:pt idx="3">
                  <c:v>1.163</c:v>
                </c:pt>
                <c:pt idx="4">
                  <c:v>1.2589999999999999</c:v>
                </c:pt>
                <c:pt idx="5">
                  <c:v>2.036</c:v>
                </c:pt>
                <c:pt idx="6">
                  <c:v>1.4910000000000001</c:v>
                </c:pt>
                <c:pt idx="7">
                  <c:v>1.4219999999999999</c:v>
                </c:pt>
              </c:numCache>
            </c:numRef>
          </c:yVal>
          <c:bubbleSize>
            <c:numRef>
              <c:f>Sheet1!$C$2:$C$9</c:f>
              <c:numCache>
                <c:formatCode>General</c:formatCode>
                <c:ptCount val="8"/>
                <c:pt idx="0">
                  <c:v>63676794</c:v>
                </c:pt>
                <c:pt idx="1">
                  <c:v>37787787</c:v>
                </c:pt>
                <c:pt idx="2">
                  <c:v>26748672</c:v>
                </c:pt>
                <c:pt idx="3">
                  <c:v>23515927</c:v>
                </c:pt>
                <c:pt idx="4">
                  <c:v>22638139</c:v>
                </c:pt>
                <c:pt idx="5">
                  <c:v>20372762</c:v>
                </c:pt>
                <c:pt idx="6">
                  <c:v>14686683</c:v>
                </c:pt>
                <c:pt idx="7">
                  <c:v>13593084</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harles Lafitte</c:v>
                  </c:pt>
                  <c:pt idx="3">
                    <c:v>Alfred De Rothschild</c:v>
                  </c:pt>
                  <c:pt idx="4">
                    <c:v>Canard Duchêne</c:v>
                  </c:pt>
                  <c:pt idx="5">
                    <c:v>Moët &amp; Chandon</c:v>
                  </c:pt>
                  <c:pt idx="6">
                    <c:v>Tsarine</c:v>
                  </c:pt>
                  <c:pt idx="7">
                    <c:v>Demoisel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36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9048A4-711E-43DA-A565-7C6F0B8A22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5E14A9-5B39-469A-8E07-9EB6A91FE9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D40914-FDD5-4722-9488-2C37B39F09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CD5F98-4C03-4780-8C22-556D12C97D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E92F79-0095-47AB-9423-2D95FD976E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029987-7B64-46C8-B5B8-3479FA1B04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84C62A1-2E69-49ED-86F0-1A4821238A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E91068-AA1F-4F62-8F91-BF7BD3EB93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943199999999997</c:v>
                </c:pt>
                <c:pt idx="1">
                  <c:v>22.2364</c:v>
                </c:pt>
                <c:pt idx="2">
                  <c:v>47.675199999999997</c:v>
                </c:pt>
                <c:pt idx="3">
                  <c:v>48.289099999999998</c:v>
                </c:pt>
                <c:pt idx="4">
                  <c:v>29.328600000000002</c:v>
                </c:pt>
                <c:pt idx="5">
                  <c:v>37.176900000000003</c:v>
                </c:pt>
                <c:pt idx="6">
                  <c:v>29.502600000000001</c:v>
                </c:pt>
                <c:pt idx="7">
                  <c:v>51.646000000000001</c:v>
                </c:pt>
              </c:numCache>
            </c:numRef>
          </c:xVal>
          <c:yVal>
            <c:numRef>
              <c:f>Sheet1!$B$2:$B$9</c:f>
              <c:numCache>
                <c:formatCode>General</c:formatCode>
                <c:ptCount val="8"/>
                <c:pt idx="0">
                  <c:v>1.4419999999999999</c:v>
                </c:pt>
                <c:pt idx="1">
                  <c:v>0.56899999999999995</c:v>
                </c:pt>
                <c:pt idx="2">
                  <c:v>1.1950000000000001</c:v>
                </c:pt>
                <c:pt idx="3">
                  <c:v>1.101</c:v>
                </c:pt>
                <c:pt idx="4">
                  <c:v>0.751</c:v>
                </c:pt>
                <c:pt idx="5">
                  <c:v>0.95199999999999996</c:v>
                </c:pt>
                <c:pt idx="6">
                  <c:v>0.79200000000000004</c:v>
                </c:pt>
                <c:pt idx="7">
                  <c:v>1.1659999999999999</c:v>
                </c:pt>
              </c:numCache>
            </c:numRef>
          </c:yVal>
          <c:bubbleSize>
            <c:numRef>
              <c:f>Sheet1!$C$2:$C$9</c:f>
              <c:numCache>
                <c:formatCode>General</c:formatCode>
                <c:ptCount val="8"/>
                <c:pt idx="0">
                  <c:v>3709394</c:v>
                </c:pt>
                <c:pt idx="1">
                  <c:v>2057383</c:v>
                </c:pt>
                <c:pt idx="2">
                  <c:v>1951631</c:v>
                </c:pt>
                <c:pt idx="3">
                  <c:v>1194382</c:v>
                </c:pt>
                <c:pt idx="4">
                  <c:v>1029785</c:v>
                </c:pt>
                <c:pt idx="5">
                  <c:v>867115</c:v>
                </c:pt>
                <c:pt idx="6">
                  <c:v>771759</c:v>
                </c:pt>
                <c:pt idx="7">
                  <c:v>72619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Canard Duchên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D51BAB-E2B7-4962-A231-2D206226C3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B9C4C9-D298-4EB8-A182-E8BC1502C2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3B5535-1EF2-4E79-9160-2A4228A976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EAD477-0E27-4FF8-A74F-8CA56CEF41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1D4C2B-D37E-4C0E-9107-9979CDAA29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6E4A92-CFA3-4E4A-AA23-C315D30DF2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39EE84-51CB-4A38-A458-3623F2EE2F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2DAFAC-D84D-4B29-A906-5D9BB87B5B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2087</c:v>
                </c:pt>
                <c:pt idx="1">
                  <c:v>22.116199999999999</c:v>
                </c:pt>
                <c:pt idx="2">
                  <c:v>49.142000000000003</c:v>
                </c:pt>
                <c:pt idx="3">
                  <c:v>30.440999999999999</c:v>
                </c:pt>
                <c:pt idx="4">
                  <c:v>49.253999999999998</c:v>
                </c:pt>
                <c:pt idx="5">
                  <c:v>29.9451</c:v>
                </c:pt>
                <c:pt idx="6">
                  <c:v>29.143899999999999</c:v>
                </c:pt>
                <c:pt idx="7">
                  <c:v>36.717700000000001</c:v>
                </c:pt>
              </c:numCache>
            </c:numRef>
          </c:xVal>
          <c:yVal>
            <c:numRef>
              <c:f>Sheet1!$B$2:$B$9</c:f>
              <c:numCache>
                <c:formatCode>General</c:formatCode>
                <c:ptCount val="8"/>
                <c:pt idx="0">
                  <c:v>1.476</c:v>
                </c:pt>
                <c:pt idx="1">
                  <c:v>0.57899999999999996</c:v>
                </c:pt>
                <c:pt idx="2">
                  <c:v>1.218</c:v>
                </c:pt>
                <c:pt idx="3">
                  <c:v>0.81299999999999994</c:v>
                </c:pt>
                <c:pt idx="4">
                  <c:v>1.1200000000000001</c:v>
                </c:pt>
                <c:pt idx="5">
                  <c:v>0.78600000000000003</c:v>
                </c:pt>
                <c:pt idx="6">
                  <c:v>0.76500000000000001</c:v>
                </c:pt>
                <c:pt idx="7">
                  <c:v>0.96299999999999997</c:v>
                </c:pt>
              </c:numCache>
            </c:numRef>
          </c:yVal>
          <c:bubbleSize>
            <c:numRef>
              <c:f>Sheet1!$C$2:$C$9</c:f>
              <c:numCache>
                <c:formatCode>General</c:formatCode>
                <c:ptCount val="8"/>
                <c:pt idx="0">
                  <c:v>1769295</c:v>
                </c:pt>
                <c:pt idx="1">
                  <c:v>999807</c:v>
                </c:pt>
                <c:pt idx="2">
                  <c:v>720274</c:v>
                </c:pt>
                <c:pt idx="3">
                  <c:v>406966</c:v>
                </c:pt>
                <c:pt idx="4">
                  <c:v>402750</c:v>
                </c:pt>
                <c:pt idx="5">
                  <c:v>375092</c:v>
                </c:pt>
                <c:pt idx="6">
                  <c:v>369078</c:v>
                </c:pt>
                <c:pt idx="7">
                  <c:v>32333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Canard Duchêne</c:v>
                  </c:pt>
                  <c:pt idx="4">
                    <c:v>Laurent Perrier</c:v>
                  </c:pt>
                  <c:pt idx="5">
                    <c:v>De Bligny</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2546EF-5898-4F07-894F-BCA782AC26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C04BB7-30D5-4EF5-ADF3-90D8D0BD79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1615A9-6CD2-492C-9446-85021C7146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CE2C53-6B8C-4377-BB38-A03029F027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9B8AE6-C24F-4796-9469-B551AFFF5D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3FA043-FE00-49B5-AD82-2F291B253F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499CC3-15D1-49C2-9EED-4C25F19B51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CCA050-A41B-4062-80D8-A18E9CDE6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624000000000002</c:v>
                </c:pt>
                <c:pt idx="1">
                  <c:v>22.2852</c:v>
                </c:pt>
                <c:pt idx="2">
                  <c:v>48.426400000000001</c:v>
                </c:pt>
                <c:pt idx="3">
                  <c:v>48.895400000000002</c:v>
                </c:pt>
                <c:pt idx="4">
                  <c:v>51.158700000000003</c:v>
                </c:pt>
                <c:pt idx="5">
                  <c:v>65.263099999999994</c:v>
                </c:pt>
                <c:pt idx="6">
                  <c:v>37.579000000000001</c:v>
                </c:pt>
                <c:pt idx="7">
                  <c:v>29.287099999999999</c:v>
                </c:pt>
              </c:numCache>
            </c:numRef>
          </c:xVal>
          <c:yVal>
            <c:numRef>
              <c:f>Sheet1!$B$2:$B$9</c:f>
              <c:numCache>
                <c:formatCode>General</c:formatCode>
                <c:ptCount val="8"/>
                <c:pt idx="0">
                  <c:v>1.4039999999999999</c:v>
                </c:pt>
                <c:pt idx="1">
                  <c:v>0.54900000000000004</c:v>
                </c:pt>
                <c:pt idx="2">
                  <c:v>1.1619999999999999</c:v>
                </c:pt>
                <c:pt idx="3">
                  <c:v>1.075</c:v>
                </c:pt>
                <c:pt idx="4">
                  <c:v>1.135</c:v>
                </c:pt>
                <c:pt idx="5">
                  <c:v>1.486</c:v>
                </c:pt>
                <c:pt idx="6">
                  <c:v>0.92600000000000005</c:v>
                </c:pt>
                <c:pt idx="7">
                  <c:v>0.72099999999999997</c:v>
                </c:pt>
              </c:numCache>
            </c:numRef>
          </c:yVal>
          <c:bubbleSize>
            <c:numRef>
              <c:f>Sheet1!$C$2:$C$9</c:f>
              <c:numCache>
                <c:formatCode>General</c:formatCode>
                <c:ptCount val="8"/>
                <c:pt idx="0">
                  <c:v>1009342</c:v>
                </c:pt>
                <c:pt idx="1">
                  <c:v>510510</c:v>
                </c:pt>
                <c:pt idx="2">
                  <c:v>492690</c:v>
                </c:pt>
                <c:pt idx="3">
                  <c:v>389207</c:v>
                </c:pt>
                <c:pt idx="4">
                  <c:v>213690</c:v>
                </c:pt>
                <c:pt idx="5">
                  <c:v>205122</c:v>
                </c:pt>
                <c:pt idx="6">
                  <c:v>198718</c:v>
                </c:pt>
                <c:pt idx="7">
                  <c:v>19484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Taittinger</c:v>
                  </c:pt>
                  <c:pt idx="5">
                    <c:v>Bollinger</c:v>
                  </c:pt>
                  <c:pt idx="6">
                    <c:v>Ayala</c:v>
                  </c:pt>
                  <c:pt idx="7">
                    <c:v>Heidsieck &amp; Co Monopo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451426-15C6-4DEA-A0B4-2F96D7CFA3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0488D4-9B93-48C3-9CE5-528FA0AA35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14DB9F-F6D0-4DEB-899C-A9F75A18A0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64031B-0AB0-479D-8E2D-C322C449A2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063CA3-5FBC-469C-9965-3E09F5C7B2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396657-9ACB-452D-9900-D928585F06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C5FBA5-5A0D-49A5-B2F2-ADAAC5F8AA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37E881-6BB1-464A-899A-02A0527EA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607399999999998</c:v>
                </c:pt>
                <c:pt idx="1">
                  <c:v>48.682899999999997</c:v>
                </c:pt>
                <c:pt idx="2">
                  <c:v>49.257599999999996</c:v>
                </c:pt>
                <c:pt idx="3">
                  <c:v>22.162800000000001</c:v>
                </c:pt>
                <c:pt idx="4">
                  <c:v>52.6676</c:v>
                </c:pt>
                <c:pt idx="5">
                  <c:v>37.256599999999999</c:v>
                </c:pt>
                <c:pt idx="6">
                  <c:v>29.456499999999998</c:v>
                </c:pt>
                <c:pt idx="7">
                  <c:v>52.234499999999997</c:v>
                </c:pt>
              </c:numCache>
            </c:numRef>
          </c:xVal>
          <c:yVal>
            <c:numRef>
              <c:f>Sheet1!$B$2:$B$9</c:f>
              <c:numCache>
                <c:formatCode>General</c:formatCode>
                <c:ptCount val="8"/>
                <c:pt idx="0">
                  <c:v>1.3660000000000001</c:v>
                </c:pt>
                <c:pt idx="1">
                  <c:v>1.1140000000000001</c:v>
                </c:pt>
                <c:pt idx="2">
                  <c:v>1.042</c:v>
                </c:pt>
                <c:pt idx="3">
                  <c:v>0.52800000000000002</c:v>
                </c:pt>
                <c:pt idx="4">
                  <c:v>1.2549999999999999</c:v>
                </c:pt>
                <c:pt idx="5">
                  <c:v>0.88700000000000001</c:v>
                </c:pt>
                <c:pt idx="6">
                  <c:v>0.70199999999999996</c:v>
                </c:pt>
                <c:pt idx="7">
                  <c:v>1.089</c:v>
                </c:pt>
              </c:numCache>
            </c:numRef>
          </c:yVal>
          <c:bubbleSize>
            <c:numRef>
              <c:f>Sheet1!$C$2:$C$9</c:f>
              <c:numCache>
                <c:formatCode>General</c:formatCode>
                <c:ptCount val="8"/>
                <c:pt idx="0">
                  <c:v>711670</c:v>
                </c:pt>
                <c:pt idx="1">
                  <c:v>373933</c:v>
                </c:pt>
                <c:pt idx="2">
                  <c:v>288354</c:v>
                </c:pt>
                <c:pt idx="3">
                  <c:v>275838</c:v>
                </c:pt>
                <c:pt idx="4">
                  <c:v>157792</c:v>
                </c:pt>
                <c:pt idx="5">
                  <c:v>136061</c:v>
                </c:pt>
                <c:pt idx="6">
                  <c:v>133821</c:v>
                </c:pt>
                <c:pt idx="7">
                  <c:v>133198</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Veuve Clicquot</c:v>
                  </c:pt>
                  <c:pt idx="5">
                    <c:v>Ayala</c:v>
                  </c:pt>
                  <c:pt idx="6">
                    <c:v>Heidsieck &amp; Co Monopol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6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862E79-B84B-4004-9912-B113A7EAA3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DACCB6-071D-488A-B71B-FDEFF33D20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5E7471-9B08-465E-920D-51325AE054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F721E4-4C5E-4ADA-9E57-16931CE44B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455213-3B89-4497-A55C-8621E45BF2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F6CB0E-2EB8-46C7-8C3E-F35BBCF6B4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1F8BDA-10D9-4BA7-98AE-293D6522A1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1BA6CB-2B1E-4029-A528-B16A86D36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397500000000001</c:v>
                </c:pt>
                <c:pt idx="1">
                  <c:v>22.198699999999999</c:v>
                </c:pt>
                <c:pt idx="2">
                  <c:v>50.509</c:v>
                </c:pt>
                <c:pt idx="3">
                  <c:v>51.907299999999999</c:v>
                </c:pt>
                <c:pt idx="4">
                  <c:v>55.335500000000003</c:v>
                </c:pt>
                <c:pt idx="5">
                  <c:v>33.5107</c:v>
                </c:pt>
                <c:pt idx="6">
                  <c:v>29.222100000000001</c:v>
                </c:pt>
                <c:pt idx="7">
                  <c:v>29.836300000000001</c:v>
                </c:pt>
              </c:numCache>
            </c:numRef>
          </c:xVal>
          <c:yVal>
            <c:numRef>
              <c:f>Sheet1!$B$2:$B$9</c:f>
              <c:numCache>
                <c:formatCode>General</c:formatCode>
                <c:ptCount val="8"/>
                <c:pt idx="0">
                  <c:v>1.4079999999999999</c:v>
                </c:pt>
                <c:pt idx="1">
                  <c:v>0.53800000000000003</c:v>
                </c:pt>
                <c:pt idx="2">
                  <c:v>1.1399999999999999</c:v>
                </c:pt>
                <c:pt idx="3">
                  <c:v>1.056</c:v>
                </c:pt>
                <c:pt idx="4">
                  <c:v>1.1160000000000001</c:v>
                </c:pt>
                <c:pt idx="5">
                  <c:v>0.78300000000000003</c:v>
                </c:pt>
                <c:pt idx="6">
                  <c:v>0.71599999999999997</c:v>
                </c:pt>
                <c:pt idx="7">
                  <c:v>0.73</c:v>
                </c:pt>
              </c:numCache>
            </c:numRef>
          </c:yVal>
          <c:bubbleSize>
            <c:numRef>
              <c:f>Sheet1!$C$2:$C$9</c:f>
              <c:numCache>
                <c:formatCode>General</c:formatCode>
                <c:ptCount val="8"/>
                <c:pt idx="0">
                  <c:v>556970</c:v>
                </c:pt>
                <c:pt idx="1">
                  <c:v>195127</c:v>
                </c:pt>
                <c:pt idx="2">
                  <c:v>188853</c:v>
                </c:pt>
                <c:pt idx="3">
                  <c:v>95146</c:v>
                </c:pt>
                <c:pt idx="4">
                  <c:v>92687</c:v>
                </c:pt>
                <c:pt idx="5">
                  <c:v>91015</c:v>
                </c:pt>
                <c:pt idx="6">
                  <c:v>83429</c:v>
                </c:pt>
                <c:pt idx="7">
                  <c:v>74531</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Taittinger</c:v>
                  </c:pt>
                  <c:pt idx="5">
                    <c:v>Canard Duchêne</c:v>
                  </c:pt>
                  <c:pt idx="6">
                    <c:v>Heidsieck &amp; Co Monopol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50C23C-1263-405D-A39C-31C6CFAB30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20CFD1-1198-415C-95DF-79A22F5942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E3764F-B1B7-4CC5-8A75-E31EA245E9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080A2A-0E9F-4F24-BE6D-830C0E4A97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8C0BFE-8469-4094-8C5A-DF0899E18F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3A6240-5B33-4A8C-ACB6-0939BBC399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8EF09C-F069-4E11-B9B5-1E5C4C261F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95C021B-C01D-43B2-8240-FD38DD0BEB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156300000000002</c:v>
                </c:pt>
                <c:pt idx="1">
                  <c:v>22.1584</c:v>
                </c:pt>
                <c:pt idx="2">
                  <c:v>47.828200000000002</c:v>
                </c:pt>
                <c:pt idx="3">
                  <c:v>48.481099999999998</c:v>
                </c:pt>
                <c:pt idx="4">
                  <c:v>29.301100000000002</c:v>
                </c:pt>
                <c:pt idx="5">
                  <c:v>37.0914</c:v>
                </c:pt>
                <c:pt idx="6">
                  <c:v>51.601100000000002</c:v>
                </c:pt>
                <c:pt idx="7">
                  <c:v>29.787600000000001</c:v>
                </c:pt>
              </c:numCache>
            </c:numRef>
          </c:xVal>
          <c:yVal>
            <c:numRef>
              <c:f>Sheet1!$B$2:$B$9</c:f>
              <c:numCache>
                <c:formatCode>General</c:formatCode>
                <c:ptCount val="8"/>
                <c:pt idx="0">
                  <c:v>1.4279999999999999</c:v>
                </c:pt>
                <c:pt idx="1">
                  <c:v>0.56100000000000005</c:v>
                </c:pt>
                <c:pt idx="2">
                  <c:v>1.179</c:v>
                </c:pt>
                <c:pt idx="3">
                  <c:v>1.0920000000000001</c:v>
                </c:pt>
                <c:pt idx="4">
                  <c:v>0.74</c:v>
                </c:pt>
                <c:pt idx="5">
                  <c:v>0.93700000000000006</c:v>
                </c:pt>
                <c:pt idx="6">
                  <c:v>1.151</c:v>
                </c:pt>
                <c:pt idx="7">
                  <c:v>0.78400000000000003</c:v>
                </c:pt>
              </c:numCache>
            </c:numRef>
          </c:yVal>
          <c:bubbleSize>
            <c:numRef>
              <c:f>Sheet1!$C$2:$C$9</c:f>
              <c:numCache>
                <c:formatCode>General</c:formatCode>
                <c:ptCount val="8"/>
                <c:pt idx="0">
                  <c:v>6106691</c:v>
                </c:pt>
                <c:pt idx="1">
                  <c:v>3088765</c:v>
                </c:pt>
                <c:pt idx="2">
                  <c:v>2973050</c:v>
                </c:pt>
                <c:pt idx="3">
                  <c:v>1954226</c:v>
                </c:pt>
                <c:pt idx="4">
                  <c:v>1391478</c:v>
                </c:pt>
                <c:pt idx="5">
                  <c:v>1230508</c:v>
                </c:pt>
                <c:pt idx="6">
                  <c:v>1142706</c:v>
                </c:pt>
                <c:pt idx="7">
                  <c:v>114122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Taittinger</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598B7D-AF22-4D87-9E48-43F7AE1BD8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9594C1-7B74-4CA6-8D40-9DB84F455C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772536-CBCA-48C2-80EA-6A21C18B6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0A6BAE-938E-4C08-AB3C-BE01924051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3CD2DFD-32A1-4688-8DC2-10860DE860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B04E94-84FF-4DAE-B105-D21D0F77F1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302348-940F-430D-AF5B-072B32849E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E5A1E0-5C70-468B-A8E9-5424A18064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297699999999999</c:v>
                </c:pt>
                <c:pt idx="1">
                  <c:v>22.195399999999999</c:v>
                </c:pt>
                <c:pt idx="2">
                  <c:v>49.484299999999998</c:v>
                </c:pt>
                <c:pt idx="3">
                  <c:v>49.416499999999999</c:v>
                </c:pt>
                <c:pt idx="4">
                  <c:v>29.332599999999999</c:v>
                </c:pt>
                <c:pt idx="5">
                  <c:v>53.543199999999999</c:v>
                </c:pt>
                <c:pt idx="6">
                  <c:v>64.374799999999993</c:v>
                </c:pt>
                <c:pt idx="7">
                  <c:v>30.589300000000001</c:v>
                </c:pt>
              </c:numCache>
            </c:numRef>
          </c:xVal>
          <c:yVal>
            <c:numRef>
              <c:f>Sheet1!$B$2:$B$9</c:f>
              <c:numCache>
                <c:formatCode>General</c:formatCode>
                <c:ptCount val="8"/>
                <c:pt idx="0">
                  <c:v>1.4419999999999999</c:v>
                </c:pt>
                <c:pt idx="1">
                  <c:v>0.55400000000000005</c:v>
                </c:pt>
                <c:pt idx="2">
                  <c:v>1.1679999999999999</c:v>
                </c:pt>
                <c:pt idx="3">
                  <c:v>1.0960000000000001</c:v>
                </c:pt>
                <c:pt idx="4">
                  <c:v>0.73799999999999999</c:v>
                </c:pt>
                <c:pt idx="5">
                  <c:v>1.151</c:v>
                </c:pt>
                <c:pt idx="6">
                  <c:v>1.504</c:v>
                </c:pt>
                <c:pt idx="7">
                  <c:v>0.79700000000000004</c:v>
                </c:pt>
              </c:numCache>
            </c:numRef>
          </c:yVal>
          <c:bubbleSize>
            <c:numRef>
              <c:f>Sheet1!$C$2:$C$9</c:f>
              <c:numCache>
                <c:formatCode>General</c:formatCode>
                <c:ptCount val="8"/>
                <c:pt idx="0">
                  <c:v>1010136</c:v>
                </c:pt>
                <c:pt idx="1">
                  <c:v>516597</c:v>
                </c:pt>
                <c:pt idx="2">
                  <c:v>416905</c:v>
                </c:pt>
                <c:pt idx="3">
                  <c:v>259140</c:v>
                </c:pt>
                <c:pt idx="4">
                  <c:v>217736</c:v>
                </c:pt>
                <c:pt idx="5">
                  <c:v>163039</c:v>
                </c:pt>
                <c:pt idx="6">
                  <c:v>152697</c:v>
                </c:pt>
                <c:pt idx="7">
                  <c:v>141139</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Taittinger</c:v>
                  </c:pt>
                  <c:pt idx="6">
                    <c:v>Roederer</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7D8286-C85B-459D-A202-BDEF80F815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CCB204-C7ED-4372-9E64-BB89E376FD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9DD35E-3D68-4AFC-9E9B-08EA47F941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7CC9ED-74D3-4138-A308-879CF26C4F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877625-C3A7-4CEC-AA60-63BB72F6C4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F45683-83BF-4A50-964C-AE81DBDE30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1290ED-B066-4AAA-B37A-F9684812E7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C7F8C6F-5D9C-42AD-8436-58F9F4D411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06999999999999</c:v>
                </c:pt>
                <c:pt idx="1">
                  <c:v>50.238399999999999</c:v>
                </c:pt>
                <c:pt idx="2">
                  <c:v>52.996000000000002</c:v>
                </c:pt>
                <c:pt idx="3">
                  <c:v>23.661899999999999</c:v>
                </c:pt>
                <c:pt idx="4">
                  <c:v>95.832400000000007</c:v>
                </c:pt>
                <c:pt idx="5">
                  <c:v>31.808399999999999</c:v>
                </c:pt>
                <c:pt idx="6">
                  <c:v>32.778799999999997</c:v>
                </c:pt>
                <c:pt idx="7">
                  <c:v>287.9796</c:v>
                </c:pt>
              </c:numCache>
            </c:numRef>
          </c:xVal>
          <c:yVal>
            <c:numRef>
              <c:f>Sheet1!$B$2:$B$9</c:f>
              <c:numCache>
                <c:formatCode>General</c:formatCode>
                <c:ptCount val="8"/>
                <c:pt idx="0">
                  <c:v>1.5149999999999999</c:v>
                </c:pt>
                <c:pt idx="1">
                  <c:v>1.006</c:v>
                </c:pt>
                <c:pt idx="2">
                  <c:v>0.98</c:v>
                </c:pt>
                <c:pt idx="3">
                  <c:v>0.48899999999999999</c:v>
                </c:pt>
                <c:pt idx="4">
                  <c:v>1.9430000000000001</c:v>
                </c:pt>
                <c:pt idx="5">
                  <c:v>0.65300000000000002</c:v>
                </c:pt>
                <c:pt idx="6">
                  <c:v>0.65900000000000003</c:v>
                </c:pt>
                <c:pt idx="7">
                  <c:v>5.758</c:v>
                </c:pt>
              </c:numCache>
            </c:numRef>
          </c:yVal>
          <c:bubbleSize>
            <c:numRef>
              <c:f>Sheet1!$C$2:$C$9</c:f>
              <c:numCache>
                <c:formatCode>General</c:formatCode>
                <c:ptCount val="8"/>
                <c:pt idx="0">
                  <c:v>1590547</c:v>
                </c:pt>
                <c:pt idx="1">
                  <c:v>430995</c:v>
                </c:pt>
                <c:pt idx="2">
                  <c:v>366626</c:v>
                </c:pt>
                <c:pt idx="3">
                  <c:v>343168</c:v>
                </c:pt>
                <c:pt idx="4">
                  <c:v>228081</c:v>
                </c:pt>
                <c:pt idx="5">
                  <c:v>210031</c:v>
                </c:pt>
                <c:pt idx="6">
                  <c:v>199000</c:v>
                </c:pt>
                <c:pt idx="7">
                  <c:v>18315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Roederer</c:v>
                  </c:pt>
                  <c:pt idx="5">
                    <c:v>Malard</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266EEA-5931-4D16-A972-A5F13C1BD9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B628F8-637E-4311-AD20-59D827CCFB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8D5CE8-8F90-4238-B95E-2C7C3D3E31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EBE1943-024A-4945-BC5D-9401D366C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B5660C-6FF4-4173-B488-8D8C7E1E7F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ECC166-5B70-419D-9C0A-3F72F08B05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4B6828-5FA8-4904-B0F3-508EDDAE9B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EA8D4D-A6ED-4E02-A4BD-EA5F291596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992800000000003</c:v>
                </c:pt>
                <c:pt idx="1">
                  <c:v>50.215800000000002</c:v>
                </c:pt>
                <c:pt idx="2">
                  <c:v>22.9695</c:v>
                </c:pt>
                <c:pt idx="3">
                  <c:v>29.235499999999998</c:v>
                </c:pt>
                <c:pt idx="4">
                  <c:v>51.685499999999998</c:v>
                </c:pt>
                <c:pt idx="5">
                  <c:v>55.038899999999998</c:v>
                </c:pt>
                <c:pt idx="6">
                  <c:v>31.77</c:v>
                </c:pt>
                <c:pt idx="7">
                  <c:v>37.607300000000002</c:v>
                </c:pt>
              </c:numCache>
            </c:numRef>
          </c:xVal>
          <c:yVal>
            <c:numRef>
              <c:f>Sheet1!$B$2:$B$9</c:f>
              <c:numCache>
                <c:formatCode>General</c:formatCode>
                <c:ptCount val="8"/>
                <c:pt idx="0">
                  <c:v>1.411</c:v>
                </c:pt>
                <c:pt idx="1">
                  <c:v>1.163</c:v>
                </c:pt>
                <c:pt idx="2">
                  <c:v>0.56299999999999994</c:v>
                </c:pt>
                <c:pt idx="3">
                  <c:v>0.72599999999999998</c:v>
                </c:pt>
                <c:pt idx="4">
                  <c:v>1.0629999999999999</c:v>
                </c:pt>
                <c:pt idx="5">
                  <c:v>1.145</c:v>
                </c:pt>
                <c:pt idx="6">
                  <c:v>0.78400000000000003</c:v>
                </c:pt>
                <c:pt idx="7">
                  <c:v>0.93400000000000005</c:v>
                </c:pt>
              </c:numCache>
            </c:numRef>
          </c:yVal>
          <c:bubbleSize>
            <c:numRef>
              <c:f>Sheet1!$C$2:$C$9</c:f>
              <c:numCache>
                <c:formatCode>General</c:formatCode>
                <c:ptCount val="8"/>
                <c:pt idx="0">
                  <c:v>496882</c:v>
                </c:pt>
                <c:pt idx="1">
                  <c:v>276940</c:v>
                </c:pt>
                <c:pt idx="2">
                  <c:v>218187</c:v>
                </c:pt>
                <c:pt idx="3">
                  <c:v>125888</c:v>
                </c:pt>
                <c:pt idx="4">
                  <c:v>121616</c:v>
                </c:pt>
                <c:pt idx="5">
                  <c:v>118719</c:v>
                </c:pt>
                <c:pt idx="6">
                  <c:v>117962</c:v>
                </c:pt>
                <c:pt idx="7">
                  <c:v>10563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Heidsieck &amp; Co Monopole</c:v>
                  </c:pt>
                  <c:pt idx="4">
                    <c:v>Laurent Perrier</c:v>
                  </c:pt>
                  <c:pt idx="5">
                    <c:v>Taittinger</c:v>
                  </c:pt>
                  <c:pt idx="6">
                    <c:v>Canard Duchên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5EC898-64DE-4729-AA85-CA25360838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A16F79-C714-4CFF-8F65-9B24F70552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550E9AF-BC1B-4437-9F8F-CC9E0A25AE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7362DB-336C-4BC8-944C-FD1ED018BA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21DC62-F291-4294-8C6E-3924A3928B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84AF27-1036-407A-BBDF-A9209DAD23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0DF6B5-79FA-4D37-8DA3-30158BC644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545B1A-9736-41FF-A972-88FDB3EAF4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182699999999997</c:v>
                </c:pt>
                <c:pt idx="1">
                  <c:v>22.021899999999999</c:v>
                </c:pt>
                <c:pt idx="2">
                  <c:v>49.603200000000001</c:v>
                </c:pt>
                <c:pt idx="3">
                  <c:v>29.059000000000001</c:v>
                </c:pt>
                <c:pt idx="4">
                  <c:v>37.816699999999997</c:v>
                </c:pt>
                <c:pt idx="5">
                  <c:v>30.0596</c:v>
                </c:pt>
                <c:pt idx="6">
                  <c:v>31.234200000000001</c:v>
                </c:pt>
                <c:pt idx="7">
                  <c:v>53.264400000000002</c:v>
                </c:pt>
              </c:numCache>
            </c:numRef>
          </c:xVal>
          <c:yVal>
            <c:numRef>
              <c:f>Sheet1!$B$2:$B$9</c:f>
              <c:numCache>
                <c:formatCode>General</c:formatCode>
                <c:ptCount val="8"/>
                <c:pt idx="0">
                  <c:v>1.5169999999999999</c:v>
                </c:pt>
                <c:pt idx="1">
                  <c:v>0.58699999999999997</c:v>
                </c:pt>
                <c:pt idx="2">
                  <c:v>1.2549999999999999</c:v>
                </c:pt>
                <c:pt idx="3">
                  <c:v>0.78</c:v>
                </c:pt>
                <c:pt idx="4">
                  <c:v>1.012</c:v>
                </c:pt>
                <c:pt idx="5">
                  <c:v>0.80500000000000005</c:v>
                </c:pt>
                <c:pt idx="6">
                  <c:v>0.82099999999999995</c:v>
                </c:pt>
                <c:pt idx="7">
                  <c:v>1.173</c:v>
                </c:pt>
              </c:numCache>
            </c:numRef>
          </c:yVal>
          <c:bubbleSize>
            <c:numRef>
              <c:f>Sheet1!$C$2:$C$9</c:f>
              <c:numCache>
                <c:formatCode>General</c:formatCode>
                <c:ptCount val="8"/>
                <c:pt idx="0">
                  <c:v>235698</c:v>
                </c:pt>
                <c:pt idx="1">
                  <c:v>185733</c:v>
                </c:pt>
                <c:pt idx="2">
                  <c:v>144147</c:v>
                </c:pt>
                <c:pt idx="3">
                  <c:v>91042</c:v>
                </c:pt>
                <c:pt idx="4">
                  <c:v>66217</c:v>
                </c:pt>
                <c:pt idx="5">
                  <c:v>65109</c:v>
                </c:pt>
                <c:pt idx="6">
                  <c:v>54691</c:v>
                </c:pt>
                <c:pt idx="7">
                  <c:v>5097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Heidsieck &amp; Co Monopole</c:v>
                  </c:pt>
                  <c:pt idx="4">
                    <c:v>Ayala</c:v>
                  </c:pt>
                  <c:pt idx="5">
                    <c:v>De Bligny</c:v>
                  </c:pt>
                  <c:pt idx="6">
                    <c:v>Canard Duchêne</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2364D8-06BC-486E-87D4-4BAEB542CF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D0E7B1-8EE4-4D1F-808A-35FB6AC43D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5EBDA4-B72C-4B28-AA54-76B27443F9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9ED76D-AF4A-4D61-AE48-E2A77F1393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E1C5C7-7F56-4CAC-9865-10FE9B4CA5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0F34E9-D2E2-442C-9B76-B7109FFD8E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604DEA-94FF-4CB1-86F4-FA474CC888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7618FE-C516-478C-9D94-6DAEA334C5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734200000000001</c:v>
                </c:pt>
                <c:pt idx="1">
                  <c:v>21.622299999999999</c:v>
                </c:pt>
                <c:pt idx="2">
                  <c:v>48.889699999999998</c:v>
                </c:pt>
                <c:pt idx="3">
                  <c:v>51.144300000000001</c:v>
                </c:pt>
                <c:pt idx="4">
                  <c:v>33.765999999999998</c:v>
                </c:pt>
                <c:pt idx="5">
                  <c:v>63.582700000000003</c:v>
                </c:pt>
                <c:pt idx="6">
                  <c:v>37.339100000000002</c:v>
                </c:pt>
                <c:pt idx="7">
                  <c:v>54.231400000000001</c:v>
                </c:pt>
              </c:numCache>
            </c:numRef>
          </c:xVal>
          <c:yVal>
            <c:numRef>
              <c:f>Sheet1!$B$2:$B$9</c:f>
              <c:numCache>
                <c:formatCode>General</c:formatCode>
                <c:ptCount val="8"/>
                <c:pt idx="0">
                  <c:v>1.528</c:v>
                </c:pt>
                <c:pt idx="1">
                  <c:v>0.57299999999999995</c:v>
                </c:pt>
                <c:pt idx="2">
                  <c:v>1.2290000000000001</c:v>
                </c:pt>
                <c:pt idx="3">
                  <c:v>1.153</c:v>
                </c:pt>
                <c:pt idx="4">
                  <c:v>0.90600000000000003</c:v>
                </c:pt>
                <c:pt idx="5">
                  <c:v>1.5640000000000001</c:v>
                </c:pt>
                <c:pt idx="6">
                  <c:v>0.997</c:v>
                </c:pt>
                <c:pt idx="7">
                  <c:v>1.2030000000000001</c:v>
                </c:pt>
              </c:numCache>
            </c:numRef>
          </c:yVal>
          <c:bubbleSize>
            <c:numRef>
              <c:f>Sheet1!$C$2:$C$9</c:f>
              <c:numCache>
                <c:formatCode>General</c:formatCode>
                <c:ptCount val="8"/>
                <c:pt idx="0">
                  <c:v>184954</c:v>
                </c:pt>
                <c:pt idx="1">
                  <c:v>116501</c:v>
                </c:pt>
                <c:pt idx="2">
                  <c:v>77588</c:v>
                </c:pt>
                <c:pt idx="3">
                  <c:v>49252</c:v>
                </c:pt>
                <c:pt idx="4">
                  <c:v>47610</c:v>
                </c:pt>
                <c:pt idx="5">
                  <c:v>41901</c:v>
                </c:pt>
                <c:pt idx="6">
                  <c:v>41185</c:v>
                </c:pt>
                <c:pt idx="7">
                  <c:v>34220</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Canard Duchêne</c:v>
                  </c:pt>
                  <c:pt idx="5">
                    <c:v>Bollinger</c:v>
                  </c:pt>
                  <c:pt idx="6">
                    <c:v>Ayala</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
          <c:min val="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F90D65-F2A2-42B1-827E-D45DC5D66A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D776C6-8C07-45EC-BFB0-AB0CE38798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F5E20F-53DA-4956-8329-306F67D9E9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BAD877-D9FA-40E3-9481-6848A93952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5A13A65-2983-4168-8AB9-DE004D8252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8DCA37-E786-4C8F-BAEC-C1C490BF7C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136F7D-031E-4CF1-92D4-A3314B8664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D6607F-D66C-449E-B065-8B783662F3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299700000000001</c:v>
                </c:pt>
                <c:pt idx="1">
                  <c:v>22.172899999999998</c:v>
                </c:pt>
                <c:pt idx="2">
                  <c:v>48.503</c:v>
                </c:pt>
                <c:pt idx="3">
                  <c:v>49.451500000000003</c:v>
                </c:pt>
                <c:pt idx="4">
                  <c:v>29.2928</c:v>
                </c:pt>
                <c:pt idx="5">
                  <c:v>52.2971</c:v>
                </c:pt>
                <c:pt idx="6">
                  <c:v>36.934699999999999</c:v>
                </c:pt>
                <c:pt idx="7">
                  <c:v>63.779800000000002</c:v>
                </c:pt>
              </c:numCache>
            </c:numRef>
          </c:xVal>
          <c:yVal>
            <c:numRef>
              <c:f>Sheet1!$B$2:$B$9</c:f>
              <c:numCache>
                <c:formatCode>General</c:formatCode>
                <c:ptCount val="8"/>
                <c:pt idx="0">
                  <c:v>1.4139999999999999</c:v>
                </c:pt>
                <c:pt idx="1">
                  <c:v>0.54800000000000004</c:v>
                </c:pt>
                <c:pt idx="2">
                  <c:v>1.1579999999999999</c:v>
                </c:pt>
                <c:pt idx="3">
                  <c:v>1.0820000000000001</c:v>
                </c:pt>
                <c:pt idx="4">
                  <c:v>0.72599999999999998</c:v>
                </c:pt>
                <c:pt idx="5">
                  <c:v>1.1299999999999999</c:v>
                </c:pt>
                <c:pt idx="6">
                  <c:v>0.91600000000000004</c:v>
                </c:pt>
                <c:pt idx="7">
                  <c:v>1.468</c:v>
                </c:pt>
              </c:numCache>
            </c:numRef>
          </c:yVal>
          <c:bubbleSize>
            <c:numRef>
              <c:f>Sheet1!$C$2:$C$9</c:f>
              <c:numCache>
                <c:formatCode>General</c:formatCode>
                <c:ptCount val="8"/>
                <c:pt idx="0">
                  <c:v>2563614</c:v>
                </c:pt>
                <c:pt idx="1">
                  <c:v>1187314</c:v>
                </c:pt>
                <c:pt idx="2">
                  <c:v>1173967</c:v>
                </c:pt>
                <c:pt idx="3">
                  <c:v>855759</c:v>
                </c:pt>
                <c:pt idx="4">
                  <c:v>546545</c:v>
                </c:pt>
                <c:pt idx="5">
                  <c:v>490285</c:v>
                </c:pt>
                <c:pt idx="6">
                  <c:v>464971</c:v>
                </c:pt>
                <c:pt idx="7">
                  <c:v>4344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Taittinger</c:v>
                  </c:pt>
                  <c:pt idx="6">
                    <c:v>Ayala</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6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10379F-6506-4BFC-B49A-23DDCBE670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DF8F11-3C98-4F1D-B001-94D98A6D95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A49329-1860-496C-86E0-438AF82C49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E57571-05A6-478F-9C36-4884B1D788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C806EF-5B1E-4DDE-901F-3D0C84A32C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4B0721-C612-42B2-9B8E-56FF23810A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179965-9C25-40F1-9142-F5E0949AB7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32108D-13DD-48B8-A216-1F60D8A302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3232</c:v>
                </c:pt>
                <c:pt idx="1">
                  <c:v>22.019500000000001</c:v>
                </c:pt>
                <c:pt idx="2">
                  <c:v>47.583399999999997</c:v>
                </c:pt>
                <c:pt idx="3">
                  <c:v>47.922400000000003</c:v>
                </c:pt>
                <c:pt idx="4">
                  <c:v>29.2836</c:v>
                </c:pt>
                <c:pt idx="5">
                  <c:v>29.9375</c:v>
                </c:pt>
                <c:pt idx="6">
                  <c:v>36.992400000000004</c:v>
                </c:pt>
                <c:pt idx="7">
                  <c:v>52.214700000000001</c:v>
                </c:pt>
              </c:numCache>
            </c:numRef>
          </c:xVal>
          <c:yVal>
            <c:numRef>
              <c:f>Sheet1!$B$2:$B$9</c:f>
              <c:numCache>
                <c:formatCode>General</c:formatCode>
                <c:ptCount val="8"/>
                <c:pt idx="0">
                  <c:v>1.4430000000000001</c:v>
                </c:pt>
                <c:pt idx="1">
                  <c:v>0.56299999999999994</c:v>
                </c:pt>
                <c:pt idx="2">
                  <c:v>1.181</c:v>
                </c:pt>
                <c:pt idx="3">
                  <c:v>1.0880000000000001</c:v>
                </c:pt>
                <c:pt idx="4">
                  <c:v>0.747</c:v>
                </c:pt>
                <c:pt idx="5">
                  <c:v>0.79200000000000004</c:v>
                </c:pt>
                <c:pt idx="6">
                  <c:v>0.94399999999999995</c:v>
                </c:pt>
                <c:pt idx="7">
                  <c:v>1.167</c:v>
                </c:pt>
              </c:numCache>
            </c:numRef>
          </c:yVal>
          <c:bubbleSize>
            <c:numRef>
              <c:f>Sheet1!$C$2:$C$9</c:f>
              <c:numCache>
                <c:formatCode>General</c:formatCode>
                <c:ptCount val="8"/>
                <c:pt idx="0">
                  <c:v>1311612</c:v>
                </c:pt>
                <c:pt idx="1">
                  <c:v>702400</c:v>
                </c:pt>
                <c:pt idx="2">
                  <c:v>658792</c:v>
                </c:pt>
                <c:pt idx="3">
                  <c:v>424928</c:v>
                </c:pt>
                <c:pt idx="4">
                  <c:v>304491</c:v>
                </c:pt>
                <c:pt idx="5">
                  <c:v>254439</c:v>
                </c:pt>
                <c:pt idx="6">
                  <c:v>251881</c:v>
                </c:pt>
                <c:pt idx="7">
                  <c:v>22274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Canard Duchêne</c:v>
                  </c:pt>
                  <c:pt idx="6">
                    <c:v>Ayala</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9E947B-E9EF-40F3-9197-54D70A587F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746709-CB63-46F2-A84E-C02D56488A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AE399C-B0B9-4F9C-8968-79BBB20345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8723EF-40BF-40E5-B246-1046E9CE96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F8EB3B-2885-4D5D-9843-7E6EB63D74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62E15A-5EBE-4007-8A15-EEDCA10183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CE1752-F782-4AC4-8699-44BCEC7AFA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CFD4DF-A926-42C7-8753-0C1A1403DD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5045</c:v>
                </c:pt>
                <c:pt idx="1">
                  <c:v>22.205500000000001</c:v>
                </c:pt>
                <c:pt idx="2">
                  <c:v>48.715699999999998</c:v>
                </c:pt>
                <c:pt idx="3">
                  <c:v>48.909500000000001</c:v>
                </c:pt>
                <c:pt idx="4">
                  <c:v>29.253399999999999</c:v>
                </c:pt>
                <c:pt idx="5">
                  <c:v>37.168799999999997</c:v>
                </c:pt>
                <c:pt idx="6">
                  <c:v>30.1663</c:v>
                </c:pt>
                <c:pt idx="7">
                  <c:v>30.159199999999998</c:v>
                </c:pt>
              </c:numCache>
            </c:numRef>
          </c:xVal>
          <c:yVal>
            <c:numRef>
              <c:f>Sheet1!$B$2:$B$9</c:f>
              <c:numCache>
                <c:formatCode>General</c:formatCode>
                <c:ptCount val="8"/>
                <c:pt idx="0">
                  <c:v>1.452</c:v>
                </c:pt>
                <c:pt idx="1">
                  <c:v>0.56899999999999995</c:v>
                </c:pt>
                <c:pt idx="2">
                  <c:v>1.202</c:v>
                </c:pt>
                <c:pt idx="3">
                  <c:v>1.1060000000000001</c:v>
                </c:pt>
                <c:pt idx="4">
                  <c:v>0.751</c:v>
                </c:pt>
                <c:pt idx="5">
                  <c:v>0.95499999999999996</c:v>
                </c:pt>
                <c:pt idx="6">
                  <c:v>0.79700000000000004</c:v>
                </c:pt>
                <c:pt idx="7">
                  <c:v>0.77400000000000002</c:v>
                </c:pt>
              </c:numCache>
            </c:numRef>
          </c:yVal>
          <c:bubbleSize>
            <c:numRef>
              <c:f>Sheet1!$C$2:$C$9</c:f>
              <c:numCache>
                <c:formatCode>General</c:formatCode>
                <c:ptCount val="8"/>
                <c:pt idx="0">
                  <c:v>2006389</c:v>
                </c:pt>
                <c:pt idx="1">
                  <c:v>1080677</c:v>
                </c:pt>
                <c:pt idx="2">
                  <c:v>937826</c:v>
                </c:pt>
                <c:pt idx="3">
                  <c:v>550525</c:v>
                </c:pt>
                <c:pt idx="4">
                  <c:v>468611</c:v>
                </c:pt>
                <c:pt idx="5">
                  <c:v>431232</c:v>
                </c:pt>
                <c:pt idx="6">
                  <c:v>414756</c:v>
                </c:pt>
                <c:pt idx="7">
                  <c:v>40229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Canard Duchên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D96E2A-41A4-42D6-A981-4955632C29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300D79-D419-41D8-AF2B-005917A5CA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F896AB-6419-4665-9A3E-93243A5B52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DBC73E-71A7-4C1D-9096-6BAA311612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ED69EA-298F-4B45-925F-2B1D410A5F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564B33-CAE6-43B3-89FC-555B91B33F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3DD40B-1220-4F7B-A90F-466BC67BF5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C83E343-5D15-41C0-B4AE-592B75C0C5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110700000000001</c:v>
                </c:pt>
                <c:pt idx="1">
                  <c:v>22.341100000000001</c:v>
                </c:pt>
                <c:pt idx="2">
                  <c:v>48.279400000000003</c:v>
                </c:pt>
                <c:pt idx="3">
                  <c:v>49.332900000000002</c:v>
                </c:pt>
                <c:pt idx="4">
                  <c:v>29.312200000000001</c:v>
                </c:pt>
                <c:pt idx="5">
                  <c:v>30.2136</c:v>
                </c:pt>
                <c:pt idx="6">
                  <c:v>30.749199999999998</c:v>
                </c:pt>
                <c:pt idx="7">
                  <c:v>37.334899999999998</c:v>
                </c:pt>
              </c:numCache>
            </c:numRef>
          </c:xVal>
          <c:yVal>
            <c:numRef>
              <c:f>Sheet1!$B$2:$B$9</c:f>
              <c:numCache>
                <c:formatCode>General</c:formatCode>
                <c:ptCount val="8"/>
                <c:pt idx="0">
                  <c:v>1.4410000000000001</c:v>
                </c:pt>
                <c:pt idx="1">
                  <c:v>0.57099999999999995</c:v>
                </c:pt>
                <c:pt idx="2">
                  <c:v>1.1919999999999999</c:v>
                </c:pt>
                <c:pt idx="3">
                  <c:v>1.099</c:v>
                </c:pt>
                <c:pt idx="4">
                  <c:v>0.75</c:v>
                </c:pt>
                <c:pt idx="5">
                  <c:v>0.77400000000000002</c:v>
                </c:pt>
                <c:pt idx="6">
                  <c:v>0.81</c:v>
                </c:pt>
                <c:pt idx="7">
                  <c:v>0.95499999999999996</c:v>
                </c:pt>
              </c:numCache>
            </c:numRef>
          </c:yVal>
          <c:bubbleSize>
            <c:numRef>
              <c:f>Sheet1!$C$2:$C$9</c:f>
              <c:numCache>
                <c:formatCode>General</c:formatCode>
                <c:ptCount val="8"/>
                <c:pt idx="0">
                  <c:v>1553868</c:v>
                </c:pt>
                <c:pt idx="1">
                  <c:v>834864</c:v>
                </c:pt>
                <c:pt idx="2">
                  <c:v>799265</c:v>
                </c:pt>
                <c:pt idx="3">
                  <c:v>423079</c:v>
                </c:pt>
                <c:pt idx="4">
                  <c:v>405270</c:v>
                </c:pt>
                <c:pt idx="5">
                  <c:v>333890</c:v>
                </c:pt>
                <c:pt idx="6">
                  <c:v>316901</c:v>
                </c:pt>
                <c:pt idx="7">
                  <c:v>30599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De Bligny</c:v>
                  </c:pt>
                  <c:pt idx="6">
                    <c:v>Canard Duchên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DEFA5C-F0AD-481F-BF7E-206BD98E95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6AC1C2-AF11-4E95-9DCD-027A8B6B05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DB8D25-DFCF-444C-B5BD-1241E74755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0D38BD-F009-46B7-AC71-E238527E71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8FC477-0190-459B-975F-CB2DEE9914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8FFFD8-3DE6-42D1-A6B5-63CF2F8594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35AB1F-F5C0-4D00-AD10-038446386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FE9C74-1FA2-4F14-A7F0-7F1E7197DD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8733</c:v>
                </c:pt>
                <c:pt idx="1">
                  <c:v>22.2439</c:v>
                </c:pt>
                <c:pt idx="2">
                  <c:v>49.049300000000002</c:v>
                </c:pt>
                <c:pt idx="3">
                  <c:v>49.148099999999999</c:v>
                </c:pt>
                <c:pt idx="4">
                  <c:v>29.232500000000002</c:v>
                </c:pt>
                <c:pt idx="5">
                  <c:v>30.978899999999999</c:v>
                </c:pt>
                <c:pt idx="6">
                  <c:v>37.4146</c:v>
                </c:pt>
                <c:pt idx="7">
                  <c:v>30.294499999999999</c:v>
                </c:pt>
              </c:numCache>
            </c:numRef>
          </c:xVal>
          <c:yVal>
            <c:numRef>
              <c:f>Sheet1!$B$2:$B$9</c:f>
              <c:numCache>
                <c:formatCode>General</c:formatCode>
                <c:ptCount val="8"/>
                <c:pt idx="0">
                  <c:v>1.4530000000000001</c:v>
                </c:pt>
                <c:pt idx="1">
                  <c:v>0.57399999999999995</c:v>
                </c:pt>
                <c:pt idx="2">
                  <c:v>1.208</c:v>
                </c:pt>
                <c:pt idx="3">
                  <c:v>1.115</c:v>
                </c:pt>
                <c:pt idx="4">
                  <c:v>0.75600000000000001</c:v>
                </c:pt>
                <c:pt idx="5">
                  <c:v>0.82499999999999996</c:v>
                </c:pt>
                <c:pt idx="6">
                  <c:v>0.96799999999999997</c:v>
                </c:pt>
                <c:pt idx="7">
                  <c:v>0.78300000000000003</c:v>
                </c:pt>
              </c:numCache>
            </c:numRef>
          </c:yVal>
          <c:bubbleSize>
            <c:numRef>
              <c:f>Sheet1!$C$2:$C$9</c:f>
              <c:numCache>
                <c:formatCode>General</c:formatCode>
                <c:ptCount val="8"/>
                <c:pt idx="0">
                  <c:v>1440828</c:v>
                </c:pt>
                <c:pt idx="1">
                  <c:v>843512</c:v>
                </c:pt>
                <c:pt idx="2">
                  <c:v>699492</c:v>
                </c:pt>
                <c:pt idx="3">
                  <c:v>368021</c:v>
                </c:pt>
                <c:pt idx="4">
                  <c:v>367569</c:v>
                </c:pt>
                <c:pt idx="5">
                  <c:v>320291</c:v>
                </c:pt>
                <c:pt idx="6">
                  <c:v>307024</c:v>
                </c:pt>
                <c:pt idx="7">
                  <c:v>30279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Canard Duchêne</c:v>
                  </c:pt>
                  <c:pt idx="6">
                    <c:v>Ayala</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9D0D4D-92C2-4B55-AC0B-43391DCF2F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D4CAC8-E4F2-4C8D-B0AC-083CF584B3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12D7F3-C3C9-4EA3-B851-9C2E673B11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AF490A-4925-4595-8FCD-A4E407BDB8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FFA4A6A-5DC4-4750-8B01-2A760235FB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6826707-7AC9-44B5-8874-B1A8E77AEC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CE71886-B1CE-4DCB-9F87-CA55964034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8A63950-7BA5-4B6E-B008-56CE913BB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609</c:v>
                </c:pt>
                <c:pt idx="1">
                  <c:v>30.4114</c:v>
                </c:pt>
                <c:pt idx="2">
                  <c:v>31.256699999999999</c:v>
                </c:pt>
                <c:pt idx="3">
                  <c:v>34.277999999999999</c:v>
                </c:pt>
              </c:numCache>
            </c:numRef>
          </c:xVal>
          <c:yVal>
            <c:numRef>
              <c:f>Sheet1!$B$2:$B$5</c:f>
              <c:numCache>
                <c:formatCode>General</c:formatCode>
                <c:ptCount val="4"/>
                <c:pt idx="0">
                  <c:v>0.98699999999999999</c:v>
                </c:pt>
                <c:pt idx="1">
                  <c:v>1.016</c:v>
                </c:pt>
                <c:pt idx="2">
                  <c:v>1.0429999999999999</c:v>
                </c:pt>
                <c:pt idx="3">
                  <c:v>1.0940000000000001</c:v>
                </c:pt>
              </c:numCache>
            </c:numRef>
          </c:yVal>
          <c:bubbleSize>
            <c:numRef>
              <c:f>Sheet1!$C$2:$C$5</c:f>
              <c:numCache>
                <c:formatCode>General</c:formatCode>
                <c:ptCount val="4"/>
                <c:pt idx="0">
                  <c:v>2004646</c:v>
                </c:pt>
                <c:pt idx="1">
                  <c:v>529675</c:v>
                </c:pt>
                <c:pt idx="2">
                  <c:v>278560</c:v>
                </c:pt>
                <c:pt idx="3">
                  <c:v>67699</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1A7080-28CF-44D8-895C-AB28411376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27A95A-B888-4485-A935-DE6A6656ED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FAC739-A0D5-4A12-B0DA-664632CC20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886628-C088-49D6-8B4C-23E54B49D9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E2D9731-B774-4A95-B42E-AAEB9145B3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90C7F05-78E0-4E05-A090-BA58DD510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31927E7-8EF8-4674-BEEE-735A382E49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13DEE3D-2C4A-4A01-BA81-E3C657E347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005</c:v>
                </c:pt>
                <c:pt idx="1">
                  <c:v>30.4802</c:v>
                </c:pt>
                <c:pt idx="2">
                  <c:v>31.5137</c:v>
                </c:pt>
                <c:pt idx="3">
                  <c:v>35.524299999999997</c:v>
                </c:pt>
              </c:numCache>
            </c:numRef>
          </c:xVal>
          <c:yVal>
            <c:numRef>
              <c:f>Sheet1!$B$2:$B$5</c:f>
              <c:numCache>
                <c:formatCode>General</c:formatCode>
                <c:ptCount val="4"/>
                <c:pt idx="0">
                  <c:v>0.98699999999999999</c:v>
                </c:pt>
                <c:pt idx="1">
                  <c:v>1.0149999999999999</c:v>
                </c:pt>
                <c:pt idx="2">
                  <c:v>1.0469999999999999</c:v>
                </c:pt>
                <c:pt idx="3">
                  <c:v>1.077</c:v>
                </c:pt>
              </c:numCache>
            </c:numRef>
          </c:yVal>
          <c:bubbleSize>
            <c:numRef>
              <c:f>Sheet1!$C$2:$C$5</c:f>
              <c:numCache>
                <c:formatCode>General</c:formatCode>
                <c:ptCount val="4"/>
                <c:pt idx="0">
                  <c:v>2007386</c:v>
                </c:pt>
                <c:pt idx="1">
                  <c:v>530203</c:v>
                </c:pt>
                <c:pt idx="2">
                  <c:v>279022</c:v>
                </c:pt>
                <c:pt idx="3">
                  <c:v>70054</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E541488-0252-4F99-9DA9-F7C9D1A911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5B14123-62C2-4660-BD21-38E3000CB8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342E5AF-439B-40C2-B932-0058CF19BE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B6B6D40-0973-426F-AD93-D33F11500B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1CBBC47-B740-4C0F-B3C0-C880FD6C6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B18C520-14F2-4293-AD84-0F55EB5A69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1101E15-3EEA-4737-B747-559DDF8496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58E0F2A-7601-4845-A5CE-9FAAEFFD19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524699999999999</c:v>
                </c:pt>
                <c:pt idx="1">
                  <c:v>12.857200000000001</c:v>
                </c:pt>
                <c:pt idx="2">
                  <c:v>11.817299999999999</c:v>
                </c:pt>
                <c:pt idx="3">
                  <c:v>9.1434999999999995</c:v>
                </c:pt>
                <c:pt idx="4">
                  <c:v>17.4514</c:v>
                </c:pt>
                <c:pt idx="5">
                  <c:v>11.5405</c:v>
                </c:pt>
                <c:pt idx="6">
                  <c:v>13.3918</c:v>
                </c:pt>
                <c:pt idx="7">
                  <c:v>11.5547</c:v>
                </c:pt>
              </c:numCache>
            </c:numRef>
          </c:xVal>
          <c:yVal>
            <c:numRef>
              <c:f>Sheet1!$B$2:$B$9</c:f>
              <c:numCache>
                <c:formatCode>General</c:formatCode>
                <c:ptCount val="8"/>
                <c:pt idx="0">
                  <c:v>1.0760000000000001</c:v>
                </c:pt>
                <c:pt idx="1">
                  <c:v>1.206</c:v>
                </c:pt>
                <c:pt idx="2">
                  <c:v>1.0589999999999999</c:v>
                </c:pt>
                <c:pt idx="3">
                  <c:v>0.85699999999999998</c:v>
                </c:pt>
                <c:pt idx="4">
                  <c:v>1.63</c:v>
                </c:pt>
                <c:pt idx="5">
                  <c:v>1.0820000000000001</c:v>
                </c:pt>
                <c:pt idx="6">
                  <c:v>1.2450000000000001</c:v>
                </c:pt>
                <c:pt idx="7">
                  <c:v>0.90700000000000003</c:v>
                </c:pt>
              </c:numCache>
            </c:numRef>
          </c:yVal>
          <c:bubbleSize>
            <c:numRef>
              <c:f>Sheet1!$C$2:$C$9</c:f>
              <c:numCache>
                <c:formatCode>General</c:formatCode>
                <c:ptCount val="8"/>
                <c:pt idx="0">
                  <c:v>34574</c:v>
                </c:pt>
                <c:pt idx="1">
                  <c:v>24043</c:v>
                </c:pt>
                <c:pt idx="2">
                  <c:v>20314</c:v>
                </c:pt>
                <c:pt idx="3">
                  <c:v>19558</c:v>
                </c:pt>
                <c:pt idx="4">
                  <c:v>16893</c:v>
                </c:pt>
                <c:pt idx="5">
                  <c:v>16376</c:v>
                </c:pt>
                <c:pt idx="6">
                  <c:v>5571</c:v>
                </c:pt>
                <c:pt idx="7">
                  <c:v>4437</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Bouvet-Ladubay</c:v>
                  </c:pt>
                  <c:pt idx="3">
                    <c:v>Savian</c:v>
                  </c:pt>
                  <c:pt idx="4">
                    <c:v>Mure</c:v>
                  </c:pt>
                  <c:pt idx="5">
                    <c:v>Chateau Moncontour</c:v>
                  </c:pt>
                  <c:pt idx="6">
                    <c:v>De Chanceny</c:v>
                  </c:pt>
                  <c:pt idx="7">
                    <c:v>Contarin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469C5C-D5BB-4615-9D2A-93F7FEFF39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0678AE-81F3-451D-A2EE-6FA2940843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ABCBD9-1B24-4F67-A81E-C571A253B8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AFD3A9-4ACD-4E99-8610-511C5BB74A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990FC33-2F92-4612-8961-46EEDD5E89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41858B-84D9-4021-9B9C-A95BA4008B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F6C9C14-057D-42BE-81CF-3F28C6F6E0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22C24A2-3D2C-45AF-8B8B-07BDDDAF2E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553</c:v>
                </c:pt>
                <c:pt idx="1">
                  <c:v>30.398399999999999</c:v>
                </c:pt>
                <c:pt idx="2">
                  <c:v>31.399699999999999</c:v>
                </c:pt>
                <c:pt idx="3">
                  <c:v>35.377000000000002</c:v>
                </c:pt>
              </c:numCache>
            </c:numRef>
          </c:xVal>
          <c:yVal>
            <c:numRef>
              <c:f>Sheet1!$B$2:$B$5</c:f>
              <c:numCache>
                <c:formatCode>General</c:formatCode>
                <c:ptCount val="4"/>
                <c:pt idx="0">
                  <c:v>0.98799999999999999</c:v>
                </c:pt>
                <c:pt idx="1">
                  <c:v>1.012</c:v>
                </c:pt>
                <c:pt idx="2">
                  <c:v>1.0469999999999999</c:v>
                </c:pt>
                <c:pt idx="3">
                  <c:v>1.0880000000000001</c:v>
                </c:pt>
              </c:numCache>
            </c:numRef>
          </c:yVal>
          <c:bubbleSize>
            <c:numRef>
              <c:f>Sheet1!$C$2:$C$5</c:f>
              <c:numCache>
                <c:formatCode>General</c:formatCode>
                <c:ptCount val="4"/>
                <c:pt idx="0">
                  <c:v>1002232</c:v>
                </c:pt>
                <c:pt idx="1">
                  <c:v>253340</c:v>
                </c:pt>
                <c:pt idx="2">
                  <c:v>140074</c:v>
                </c:pt>
                <c:pt idx="3">
                  <c:v>28903</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8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FF77D1-CC1B-4E4A-B3B9-054B0CE1E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64C6F3-5F6F-468C-A26A-A7C3F87437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CAF5B6-2AE2-4E23-8B33-D8FD2A188E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190F3F-9A5A-4D71-80CE-79E00797C8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F73A57F-9688-42AA-AC4A-A7CCE25F2C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8C5443-8521-4EF5-924A-B5BE7870F1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82679A9-FA78-4A1E-BECB-F09BB08CE8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481EC30-5676-487F-A3B8-32C544798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084</c:v>
                </c:pt>
                <c:pt idx="1">
                  <c:v>30.382000000000001</c:v>
                </c:pt>
                <c:pt idx="2">
                  <c:v>31.254200000000001</c:v>
                </c:pt>
                <c:pt idx="3">
                  <c:v>34.145899999999997</c:v>
                </c:pt>
              </c:numCache>
            </c:numRef>
          </c:xVal>
          <c:yVal>
            <c:numRef>
              <c:f>Sheet1!$B$2:$B$5</c:f>
              <c:numCache>
                <c:formatCode>General</c:formatCode>
                <c:ptCount val="4"/>
                <c:pt idx="0">
                  <c:v>0.98699999999999999</c:v>
                </c:pt>
                <c:pt idx="1">
                  <c:v>1.02</c:v>
                </c:pt>
                <c:pt idx="2">
                  <c:v>1.044</c:v>
                </c:pt>
                <c:pt idx="3">
                  <c:v>1.0760000000000001</c:v>
                </c:pt>
              </c:numCache>
            </c:numRef>
          </c:yVal>
          <c:bubbleSize>
            <c:numRef>
              <c:f>Sheet1!$C$2:$C$5</c:f>
              <c:numCache>
                <c:formatCode>General</c:formatCode>
                <c:ptCount val="4"/>
                <c:pt idx="0">
                  <c:v>383838</c:v>
                </c:pt>
                <c:pt idx="1">
                  <c:v>108160</c:v>
                </c:pt>
                <c:pt idx="2">
                  <c:v>42412</c:v>
                </c:pt>
                <c:pt idx="3">
                  <c:v>1779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CB86E7-903E-4E25-B97E-BEAC925E19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79B047-AB34-4199-821D-F8872CEDE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E62CAB-8979-47FE-8960-F572EE2804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BCE40D-7F9A-4C81-9EF5-A82CD10EB3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B54ADD-1490-45A7-8876-8993F7EC4D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E696CB1-B5E1-4A51-AE81-2C17DFC46B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6906F92-A570-4114-A347-B79E8E9D4C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E5EE62-413A-425D-890D-56ECB597E9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729199999999999</c:v>
                </c:pt>
                <c:pt idx="1">
                  <c:v>30.648199999999999</c:v>
                </c:pt>
                <c:pt idx="2">
                  <c:v>31.512</c:v>
                </c:pt>
                <c:pt idx="3">
                  <c:v>35.926099999999998</c:v>
                </c:pt>
              </c:numCache>
            </c:numRef>
          </c:xVal>
          <c:yVal>
            <c:numRef>
              <c:f>Sheet1!$B$2:$B$5</c:f>
              <c:numCache>
                <c:formatCode>General</c:formatCode>
                <c:ptCount val="4"/>
                <c:pt idx="0">
                  <c:v>0.98499999999999999</c:v>
                </c:pt>
                <c:pt idx="1">
                  <c:v>1.0129999999999999</c:v>
                </c:pt>
                <c:pt idx="2">
                  <c:v>1.044</c:v>
                </c:pt>
                <c:pt idx="3">
                  <c:v>1.0720000000000001</c:v>
                </c:pt>
              </c:numCache>
            </c:numRef>
          </c:yVal>
          <c:bubbleSize>
            <c:numRef>
              <c:f>Sheet1!$C$2:$C$5</c:f>
              <c:numCache>
                <c:formatCode>General</c:formatCode>
                <c:ptCount val="4"/>
                <c:pt idx="0">
                  <c:v>224277</c:v>
                </c:pt>
                <c:pt idx="1">
                  <c:v>77540</c:v>
                </c:pt>
                <c:pt idx="2">
                  <c:v>41974</c:v>
                </c:pt>
                <c:pt idx="3">
                  <c:v>7293</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38481C-5B17-4574-92A9-2F93C7D58C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52C252-4057-484A-8F7C-0CFD95EF2E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70C59B-66A3-43C9-891D-F8F81A2F95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A733A5-1195-48D2-A00D-883896B5B7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DA58583-30E8-499A-B6BD-96276003EF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295DC93-1447-44C0-9775-2D148DBFAF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FA02BBC-CF1A-4481-ADE2-327C6DDC5E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0CF1FB-DF34-4D35-ADDE-5F227A7F4D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914100000000001</c:v>
                </c:pt>
                <c:pt idx="1">
                  <c:v>30.693300000000001</c:v>
                </c:pt>
                <c:pt idx="2">
                  <c:v>31.7714</c:v>
                </c:pt>
                <c:pt idx="3">
                  <c:v>36.119399999999999</c:v>
                </c:pt>
              </c:numCache>
            </c:numRef>
          </c:xVal>
          <c:yVal>
            <c:numRef>
              <c:f>Sheet1!$B$2:$B$5</c:f>
              <c:numCache>
                <c:formatCode>General</c:formatCode>
                <c:ptCount val="4"/>
                <c:pt idx="0">
                  <c:v>0.99</c:v>
                </c:pt>
                <c:pt idx="1">
                  <c:v>1.012</c:v>
                </c:pt>
                <c:pt idx="2">
                  <c:v>1.048</c:v>
                </c:pt>
                <c:pt idx="3">
                  <c:v>1.0640000000000001</c:v>
                </c:pt>
              </c:numCache>
            </c:numRef>
          </c:yVal>
          <c:bubbleSize>
            <c:numRef>
              <c:f>Sheet1!$C$2:$C$5</c:f>
              <c:numCache>
                <c:formatCode>General</c:formatCode>
                <c:ptCount val="4"/>
                <c:pt idx="0">
                  <c:v>133357</c:v>
                </c:pt>
                <c:pt idx="1">
                  <c:v>22314</c:v>
                </c:pt>
                <c:pt idx="2">
                  <c:v>15981</c:v>
                </c:pt>
                <c:pt idx="3">
                  <c:v>48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EDF364-6C21-42A5-8B4A-C8F46DDFED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DD0A61-606D-4BBD-B094-67AADE8D65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F373F1-67A6-4835-A106-BDC53B62A1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8D4B96-F2CF-45C5-9497-3D0F79CC6B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6909029-5EF9-4FB6-9A4E-6322854BA7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3DB0C5F-233A-4491-ADA1-C98F2DA02A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E09C307-28E4-4439-AEEA-1271C9802C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3340713-C133-4BA6-AFA4-39F6C0344E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651</c:v>
                </c:pt>
                <c:pt idx="1">
                  <c:v>30.619399999999999</c:v>
                </c:pt>
                <c:pt idx="2">
                  <c:v>32.537999999999997</c:v>
                </c:pt>
                <c:pt idx="3">
                  <c:v>38.537300000000002</c:v>
                </c:pt>
              </c:numCache>
            </c:numRef>
          </c:xVal>
          <c:yVal>
            <c:numRef>
              <c:f>Sheet1!$B$2:$B$5</c:f>
              <c:numCache>
                <c:formatCode>General</c:formatCode>
                <c:ptCount val="4"/>
                <c:pt idx="0">
                  <c:v>0.98799999999999999</c:v>
                </c:pt>
                <c:pt idx="1">
                  <c:v>1.028</c:v>
                </c:pt>
                <c:pt idx="2">
                  <c:v>1.044</c:v>
                </c:pt>
                <c:pt idx="3">
                  <c:v>1.03</c:v>
                </c:pt>
              </c:numCache>
            </c:numRef>
          </c:yVal>
          <c:bubbleSize>
            <c:numRef>
              <c:f>Sheet1!$C$2:$C$5</c:f>
              <c:numCache>
                <c:formatCode>General</c:formatCode>
                <c:ptCount val="4"/>
                <c:pt idx="0">
                  <c:v>74193</c:v>
                </c:pt>
                <c:pt idx="1">
                  <c:v>21158</c:v>
                </c:pt>
                <c:pt idx="2">
                  <c:v>5564</c:v>
                </c:pt>
                <c:pt idx="3">
                  <c:v>2582</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CCB1C8-47F2-4E23-B87F-E077338A54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EA54F2-0088-4DDE-AA0C-B2D347F90C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764E82-A76A-4D82-B30A-E92FDB6857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CD5D22-CA08-4396-99E8-F3B7821970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D71BB89-F776-4FBB-B316-35221F664D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49E933D-3CD3-4279-9428-611BD34806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D497CE-56BB-40CD-B46E-322AFB0B06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A20B206-C621-494D-B267-454F14E6F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662</c:v>
                </c:pt>
                <c:pt idx="1">
                  <c:v>30.448499999999999</c:v>
                </c:pt>
                <c:pt idx="2">
                  <c:v>31.352499999999999</c:v>
                </c:pt>
                <c:pt idx="3">
                  <c:v>34.601999999999997</c:v>
                </c:pt>
              </c:numCache>
            </c:numRef>
          </c:xVal>
          <c:yVal>
            <c:numRef>
              <c:f>Sheet1!$B$2:$B$5</c:f>
              <c:numCache>
                <c:formatCode>General</c:formatCode>
                <c:ptCount val="4"/>
                <c:pt idx="0">
                  <c:v>0.98799999999999999</c:v>
                </c:pt>
                <c:pt idx="1">
                  <c:v>1.014</c:v>
                </c:pt>
                <c:pt idx="2">
                  <c:v>1.044</c:v>
                </c:pt>
                <c:pt idx="3">
                  <c:v>1.097</c:v>
                </c:pt>
              </c:numCache>
            </c:numRef>
          </c:yVal>
          <c:bubbleSize>
            <c:numRef>
              <c:f>Sheet1!$C$2:$C$5</c:f>
              <c:numCache>
                <c:formatCode>General</c:formatCode>
                <c:ptCount val="4"/>
                <c:pt idx="0">
                  <c:v>1479719</c:v>
                </c:pt>
                <c:pt idx="1">
                  <c:v>386635</c:v>
                </c:pt>
                <c:pt idx="2">
                  <c:v>205547</c:v>
                </c:pt>
                <c:pt idx="3">
                  <c:v>456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5F1FE5-58D2-4A3C-8E34-890C6F87B4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389830-4FD0-48A9-8434-7A4ABFB457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1EDE41-D4E7-491F-BD2E-9A0EFEDF60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986F50-4EBB-4084-B5C7-1ECF125302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DA18906-9E99-4E59-8F7B-E1148720F6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4981243-7B78-4D0B-BE03-62E48A8124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808A3EB-1534-4FD3-8BCA-B0843983F6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FF3EB67-F1FC-46AA-B827-4008BECEB7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3569</c:v>
                </c:pt>
                <c:pt idx="1">
                  <c:v>30.4191</c:v>
                </c:pt>
                <c:pt idx="2">
                  <c:v>31.601700000000001</c:v>
                </c:pt>
                <c:pt idx="3">
                  <c:v>35.307699999999997</c:v>
                </c:pt>
              </c:numCache>
            </c:numRef>
          </c:xVal>
          <c:yVal>
            <c:numRef>
              <c:f>Sheet1!$B$2:$B$5</c:f>
              <c:numCache>
                <c:formatCode>General</c:formatCode>
                <c:ptCount val="4"/>
                <c:pt idx="0">
                  <c:v>0.98099999999999998</c:v>
                </c:pt>
                <c:pt idx="1">
                  <c:v>1.0189999999999999</c:v>
                </c:pt>
                <c:pt idx="2">
                  <c:v>1.048</c:v>
                </c:pt>
                <c:pt idx="3">
                  <c:v>1.0780000000000001</c:v>
                </c:pt>
              </c:numCache>
            </c:numRef>
          </c:yVal>
          <c:bubbleSize>
            <c:numRef>
              <c:f>Sheet1!$C$2:$C$5</c:f>
              <c:numCache>
                <c:formatCode>General</c:formatCode>
                <c:ptCount val="4"/>
                <c:pt idx="0">
                  <c:v>130785</c:v>
                </c:pt>
                <c:pt idx="1">
                  <c:v>29324</c:v>
                </c:pt>
                <c:pt idx="2">
                  <c:v>14600</c:v>
                </c:pt>
                <c:pt idx="3">
                  <c:v>6885</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6CB3FC-51CB-4213-8696-E44C60A7AA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4D1108-FF6C-41ED-83E5-3D40EBC1FA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A8B3C5-C048-4788-88C3-5F20E123BF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ACF337-D1C0-4DD1-88B1-A02203C072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02326D8-FBB6-486B-B3A0-9440B3CBD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FB962A8-E65F-4AD7-A36B-13B702FE11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E205B8-7279-4B6E-8E3A-DC1EEF0C9F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F2BDE0E-DB8C-4D90-A26C-37649F0ED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57700000000001</c:v>
                </c:pt>
                <c:pt idx="1">
                  <c:v>30.572399999999998</c:v>
                </c:pt>
                <c:pt idx="2">
                  <c:v>32.226799999999997</c:v>
                </c:pt>
                <c:pt idx="3">
                  <c:v>37.310899999999997</c:v>
                </c:pt>
              </c:numCache>
            </c:numRef>
          </c:xVal>
          <c:yVal>
            <c:numRef>
              <c:f>Sheet1!$B$2:$B$5</c:f>
              <c:numCache>
                <c:formatCode>General</c:formatCode>
                <c:ptCount val="4"/>
                <c:pt idx="0">
                  <c:v>0.98599999999999999</c:v>
                </c:pt>
                <c:pt idx="1">
                  <c:v>1.022</c:v>
                </c:pt>
                <c:pt idx="2">
                  <c:v>1.0620000000000001</c:v>
                </c:pt>
                <c:pt idx="3">
                  <c:v>1.1220000000000001</c:v>
                </c:pt>
              </c:numCache>
            </c:numRef>
          </c:yVal>
          <c:bubbleSize>
            <c:numRef>
              <c:f>Sheet1!$C$2:$C$5</c:f>
              <c:numCache>
                <c:formatCode>General</c:formatCode>
                <c:ptCount val="4"/>
                <c:pt idx="0">
                  <c:v>105787</c:v>
                </c:pt>
                <c:pt idx="1">
                  <c:v>23663</c:v>
                </c:pt>
                <c:pt idx="2">
                  <c:v>9378</c:v>
                </c:pt>
                <c:pt idx="3">
                  <c:v>44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5"/>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2F895F-7696-425D-B1DC-061E4E9449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C8BF4C-AE0E-4C9E-9190-6336376220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A2EB6A-E6AB-41C9-BB30-BFA8D3A5C5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2F5F09-E8DB-45AB-8DD5-69857466B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BBAF970-E81C-4C4F-B280-997900FA0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2D5FEF-8834-45EA-BCF5-E08B16D82C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2BD5F68-EC4C-4E44-BAA3-A5334E5380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7902AA-4CFA-4947-9240-30BE640A73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36900000000001</c:v>
                </c:pt>
                <c:pt idx="1">
                  <c:v>31.312200000000001</c:v>
                </c:pt>
                <c:pt idx="2">
                  <c:v>30.658899999999999</c:v>
                </c:pt>
                <c:pt idx="3">
                  <c:v>40.5139</c:v>
                </c:pt>
              </c:numCache>
            </c:numRef>
          </c:xVal>
          <c:yVal>
            <c:numRef>
              <c:f>Sheet1!$B$2:$B$5</c:f>
              <c:numCache>
                <c:formatCode>General</c:formatCode>
                <c:ptCount val="4"/>
                <c:pt idx="0">
                  <c:v>0.98</c:v>
                </c:pt>
                <c:pt idx="1">
                  <c:v>1.0369999999999999</c:v>
                </c:pt>
                <c:pt idx="2">
                  <c:v>1.0249999999999999</c:v>
                </c:pt>
                <c:pt idx="3">
                  <c:v>1.085</c:v>
                </c:pt>
              </c:numCache>
            </c:numRef>
          </c:yVal>
          <c:bubbleSize>
            <c:numRef>
              <c:f>Sheet1!$C$2:$C$5</c:f>
              <c:numCache>
                <c:formatCode>General</c:formatCode>
                <c:ptCount val="4"/>
                <c:pt idx="0">
                  <c:v>59698</c:v>
                </c:pt>
                <c:pt idx="1">
                  <c:v>19257</c:v>
                </c:pt>
                <c:pt idx="2">
                  <c:v>13122</c:v>
                </c:pt>
                <c:pt idx="3">
                  <c:v>2917</c:v>
                </c:pt>
              </c:numCache>
            </c:numRef>
          </c:bubbleSize>
          <c:bubble3D val="0"/>
          <c:extLst>
            <c:ext xmlns:c15="http://schemas.microsoft.com/office/drawing/2012/chart" uri="{02D57815-91ED-43cb-92C2-25804820EDAC}">
              <c15:datalabelsRange>
                <c15:f>Sheet1!$E$2:$E$10</c15:f>
                <c15:dlblRangeCache>
                  <c:ptCount val="9"/>
                  <c:pt idx="0">
                    <c:v>Malard</c:v>
                  </c:pt>
                  <c:pt idx="1">
                    <c:v>Louis Martin</c:v>
                  </c:pt>
                  <c:pt idx="2">
                    <c:v>Vesselle</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8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B738CB-0594-4002-84FA-480B22A29F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F48056-456A-4DF9-97A2-17E0314269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938BC0-99AF-42C2-9877-881C347B44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EEBB34-5752-4AED-96D6-0EEA47DE0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0DCA146-2971-482F-967D-C5017FD9AA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1F73C63-1D26-4055-8674-B2437AF869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6CB7C6-B35D-430E-B6B5-BE24C04308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C055C1-3CD3-427F-8588-28C0C88799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215199999999999</c:v>
                </c:pt>
                <c:pt idx="1">
                  <c:v>30.151700000000002</c:v>
                </c:pt>
                <c:pt idx="2">
                  <c:v>31.995200000000001</c:v>
                </c:pt>
                <c:pt idx="3">
                  <c:v>39.242400000000004</c:v>
                </c:pt>
              </c:numCache>
            </c:numRef>
          </c:xVal>
          <c:yVal>
            <c:numRef>
              <c:f>Sheet1!$B$2:$B$5</c:f>
              <c:numCache>
                <c:formatCode>General</c:formatCode>
                <c:ptCount val="4"/>
                <c:pt idx="0">
                  <c:v>0.98599999999999999</c:v>
                </c:pt>
                <c:pt idx="1">
                  <c:v>1.0049999999999999</c:v>
                </c:pt>
                <c:pt idx="2">
                  <c:v>1.0469999999999999</c:v>
                </c:pt>
                <c:pt idx="3">
                  <c:v>1.0920000000000001</c:v>
                </c:pt>
              </c:numCache>
            </c:numRef>
          </c:yVal>
          <c:bubbleSize>
            <c:numRef>
              <c:f>Sheet1!$C$2:$C$5</c:f>
              <c:numCache>
                <c:formatCode>General</c:formatCode>
                <c:ptCount val="4"/>
                <c:pt idx="0">
                  <c:v>32984</c:v>
                </c:pt>
                <c:pt idx="1">
                  <c:v>11729</c:v>
                </c:pt>
                <c:pt idx="2">
                  <c:v>6623</c:v>
                </c:pt>
                <c:pt idx="3">
                  <c:v>1295</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
          <c:min val="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25D8C1C-F00D-4600-BCEC-0D878875C0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D5AF737-33AB-4CA2-A0BB-5983E309CB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21349965-5EAB-4DB6-998A-291F638642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FE285274-68A8-4406-8D41-10BB543BCA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8659AB35-3727-49FD-BA13-7F828FE52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24339381-28BC-4B28-BEC8-E306D7D91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826A47C-4704-453A-9DF6-9D30A28981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D9ED701-1E51-444B-ABE8-0C5333DB11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10499999999998</c:v>
                </c:pt>
                <c:pt idx="1">
                  <c:v>11.432700000000001</c:v>
                </c:pt>
              </c:numCache>
            </c:numRef>
          </c:xVal>
          <c:yVal>
            <c:numRef>
              <c:f>Sheet1!$B$2:$B$3</c:f>
              <c:numCache>
                <c:formatCode>General</c:formatCode>
                <c:ptCount val="2"/>
                <c:pt idx="0">
                  <c:v>1.42</c:v>
                </c:pt>
                <c:pt idx="1">
                  <c:v>0.55900000000000005</c:v>
                </c:pt>
              </c:numCache>
            </c:numRef>
          </c:yVal>
          <c:bubbleSize>
            <c:numRef>
              <c:f>Sheet1!$C$2:$C$3</c:f>
              <c:numCache>
                <c:formatCode>General</c:formatCode>
                <c:ptCount val="2"/>
                <c:pt idx="0">
                  <c:v>30304</c:v>
                </c:pt>
                <c:pt idx="1">
                  <c:v>11387</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3D4B17-CD2B-493C-99B2-AB83533AE3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129C3D-1925-43D3-9122-E5EBFF5CEA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651E2B-B02E-4221-9DDA-4A3D9E716B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9E3A1D-C071-4D44-8E7C-616DFA8B33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38266C9-A700-42C5-933A-42FDB4993C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8D8EF32-04B2-4CD7-BE3D-A7A68BD422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FD476F0-92CA-4955-B8CB-B25ECA9527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2E9A61E-7013-4539-89B0-15E5F73C2F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31199999999998</c:v>
                </c:pt>
                <c:pt idx="1">
                  <c:v>30.371099999999998</c:v>
                </c:pt>
                <c:pt idx="2">
                  <c:v>31.214400000000001</c:v>
                </c:pt>
                <c:pt idx="3">
                  <c:v>36.494700000000002</c:v>
                </c:pt>
              </c:numCache>
            </c:numRef>
          </c:xVal>
          <c:yVal>
            <c:numRef>
              <c:f>Sheet1!$B$2:$B$5</c:f>
              <c:numCache>
                <c:formatCode>General</c:formatCode>
                <c:ptCount val="4"/>
                <c:pt idx="0">
                  <c:v>0.98599999999999999</c:v>
                </c:pt>
                <c:pt idx="1">
                  <c:v>1.014</c:v>
                </c:pt>
                <c:pt idx="2">
                  <c:v>1.0409999999999999</c:v>
                </c:pt>
                <c:pt idx="3">
                  <c:v>1.101</c:v>
                </c:pt>
              </c:numCache>
            </c:numRef>
          </c:yVal>
          <c:bubbleSize>
            <c:numRef>
              <c:f>Sheet1!$C$2:$C$5</c:f>
              <c:numCache>
                <c:formatCode>General</c:formatCode>
                <c:ptCount val="4"/>
                <c:pt idx="0">
                  <c:v>508084</c:v>
                </c:pt>
                <c:pt idx="1">
                  <c:v>137581</c:v>
                </c:pt>
                <c:pt idx="2">
                  <c:v>98575</c:v>
                </c:pt>
                <c:pt idx="3">
                  <c:v>10328</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0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3CC988-2422-4617-80F9-76A17F6264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945F53-4AF6-4941-BA21-DA9AF6A42F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BD92FA-B9B4-4831-888B-45376BD77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8FE228-C540-4E74-9C78-AFF2D95700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8607CC5-BD36-429D-B223-DF9B82DCE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E8CAE73-85A9-4BD0-8A33-B6CF41D237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67271E-0911-48C3-8A7A-C2D9112E9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7316252-E15D-4B50-8BC8-56F6F1A1EA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7699999999999</c:v>
                </c:pt>
                <c:pt idx="1">
                  <c:v>30.427199999999999</c:v>
                </c:pt>
                <c:pt idx="2">
                  <c:v>31.374600000000001</c:v>
                </c:pt>
                <c:pt idx="3">
                  <c:v>35.311599999999999</c:v>
                </c:pt>
              </c:numCache>
            </c:numRef>
          </c:xVal>
          <c:yVal>
            <c:numRef>
              <c:f>Sheet1!$B$2:$B$5</c:f>
              <c:numCache>
                <c:formatCode>General</c:formatCode>
                <c:ptCount val="4"/>
                <c:pt idx="0">
                  <c:v>0.98699999999999999</c:v>
                </c:pt>
                <c:pt idx="1">
                  <c:v>1.016</c:v>
                </c:pt>
                <c:pt idx="2">
                  <c:v>1.042</c:v>
                </c:pt>
                <c:pt idx="3">
                  <c:v>1.0920000000000001</c:v>
                </c:pt>
              </c:numCache>
            </c:numRef>
          </c:yVal>
          <c:bubbleSize>
            <c:numRef>
              <c:f>Sheet1!$C$2:$C$5</c:f>
              <c:numCache>
                <c:formatCode>General</c:formatCode>
                <c:ptCount val="4"/>
                <c:pt idx="0">
                  <c:v>294104</c:v>
                </c:pt>
                <c:pt idx="1">
                  <c:v>80845</c:v>
                </c:pt>
                <c:pt idx="2">
                  <c:v>39281</c:v>
                </c:pt>
                <c:pt idx="3">
                  <c:v>10311</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682962-B215-4356-B75C-F463769860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968C90-5F19-42E6-91B0-D1BD27813B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8A9F6E-91DE-416D-B9DF-D95363953F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37097B-539B-4237-8531-CE31D04CEE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7B6B30A-0A0F-4E44-A919-F938B7F17F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3261F04-900D-4E0C-A4EE-FDB332C9E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364ABC8-D1D3-43C0-9168-78CA097FB0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5A80A0B-4D50-4BF5-BEDC-94BFE91CDE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88699999999999</c:v>
                </c:pt>
                <c:pt idx="1">
                  <c:v>30.354199999999999</c:v>
                </c:pt>
                <c:pt idx="2">
                  <c:v>31.344000000000001</c:v>
                </c:pt>
                <c:pt idx="3">
                  <c:v>35.375900000000001</c:v>
                </c:pt>
              </c:numCache>
            </c:numRef>
          </c:xVal>
          <c:yVal>
            <c:numRef>
              <c:f>Sheet1!$B$2:$B$5</c:f>
              <c:numCache>
                <c:formatCode>General</c:formatCode>
                <c:ptCount val="4"/>
                <c:pt idx="0">
                  <c:v>0.98799999999999999</c:v>
                </c:pt>
                <c:pt idx="1">
                  <c:v>1.014</c:v>
                </c:pt>
                <c:pt idx="2">
                  <c:v>1.044</c:v>
                </c:pt>
                <c:pt idx="3">
                  <c:v>1.095</c:v>
                </c:pt>
              </c:numCache>
            </c:numRef>
          </c:yVal>
          <c:bubbleSize>
            <c:numRef>
              <c:f>Sheet1!$C$2:$C$5</c:f>
              <c:numCache>
                <c:formatCode>General</c:formatCode>
                <c:ptCount val="4"/>
                <c:pt idx="0">
                  <c:v>452589</c:v>
                </c:pt>
                <c:pt idx="1">
                  <c:v>112098</c:v>
                </c:pt>
                <c:pt idx="2">
                  <c:v>59585</c:v>
                </c:pt>
                <c:pt idx="3">
                  <c:v>14398</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0551A3-A832-4D14-A6BC-42E4F920AA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D758A1-3B46-4911-9D5F-41354CDC20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1C6AAF-9739-4F49-891F-23C56726B8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5C56B6-62D9-4756-9807-7D99D08C04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82FBBDA-C4E0-4C32-8764-E1F9510718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6265658-BD8C-4AAC-B8A6-A2CC087A0A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153235A-549C-4B6B-83B6-5E3F2B4C98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E3B697-CEBA-4691-B973-5484EF7E0C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44600000000001</c:v>
                </c:pt>
                <c:pt idx="1">
                  <c:v>30.648399999999999</c:v>
                </c:pt>
                <c:pt idx="2">
                  <c:v>31.499199999999998</c:v>
                </c:pt>
                <c:pt idx="3">
                  <c:v>35.204099999999997</c:v>
                </c:pt>
              </c:numCache>
            </c:numRef>
          </c:xVal>
          <c:yVal>
            <c:numRef>
              <c:f>Sheet1!$B$2:$B$5</c:f>
              <c:numCache>
                <c:formatCode>General</c:formatCode>
                <c:ptCount val="4"/>
                <c:pt idx="0">
                  <c:v>0.98699999999999999</c:v>
                </c:pt>
                <c:pt idx="1">
                  <c:v>1.02</c:v>
                </c:pt>
                <c:pt idx="2">
                  <c:v>1.0489999999999999</c:v>
                </c:pt>
                <c:pt idx="3">
                  <c:v>1.0669999999999999</c:v>
                </c:pt>
              </c:numCache>
            </c:numRef>
          </c:yVal>
          <c:bubbleSize>
            <c:numRef>
              <c:f>Sheet1!$C$2:$C$5</c:f>
              <c:numCache>
                <c:formatCode>General</c:formatCode>
                <c:ptCount val="4"/>
                <c:pt idx="0">
                  <c:v>397653</c:v>
                </c:pt>
                <c:pt idx="1">
                  <c:v>109231</c:v>
                </c:pt>
                <c:pt idx="2">
                  <c:v>41012</c:v>
                </c:pt>
                <c:pt idx="3">
                  <c:v>15349</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7449BC-D9CA-4A13-A51D-C2B303CB6F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4086A7-DE24-45DB-8BB0-9AEACB942D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DCE553-4967-4EB2-83BF-4650C7618D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0AF1CA-8B95-4BB9-AB27-89D9ECA5CB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7AD9ED9-2D68-4D04-80F5-038F71A8FF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3D41391-C964-4C25-8AB4-E087AAD5C6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741D373-AF81-4B94-9201-64251A7450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D92DAD7-9B11-4BD9-B4C5-BEDA591F3A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89</c:v>
                </c:pt>
                <c:pt idx="1">
                  <c:v>30.450399999999998</c:v>
                </c:pt>
                <c:pt idx="2">
                  <c:v>31.941800000000001</c:v>
                </c:pt>
                <c:pt idx="3">
                  <c:v>34.472900000000003</c:v>
                </c:pt>
              </c:numCache>
            </c:numRef>
          </c:xVal>
          <c:yVal>
            <c:numRef>
              <c:f>Sheet1!$B$2:$B$5</c:f>
              <c:numCache>
                <c:formatCode>General</c:formatCode>
                <c:ptCount val="4"/>
                <c:pt idx="0">
                  <c:v>0.98599999999999999</c:v>
                </c:pt>
                <c:pt idx="1">
                  <c:v>1.016</c:v>
                </c:pt>
                <c:pt idx="2">
                  <c:v>1.0640000000000001</c:v>
                </c:pt>
                <c:pt idx="3">
                  <c:v>1.06</c:v>
                </c:pt>
              </c:numCache>
            </c:numRef>
          </c:yVal>
          <c:bubbleSize>
            <c:numRef>
              <c:f>Sheet1!$C$2:$C$5</c:f>
              <c:numCache>
                <c:formatCode>General</c:formatCode>
                <c:ptCount val="4"/>
                <c:pt idx="0">
                  <c:v>354983</c:v>
                </c:pt>
                <c:pt idx="1">
                  <c:v>90468</c:v>
                </c:pt>
                <c:pt idx="2">
                  <c:v>40598</c:v>
                </c:pt>
                <c:pt idx="3">
                  <c:v>19684</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5665F6-5CB4-408F-9FC2-739904BB39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445A57-26EA-49F7-9D16-1F48FBECF5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2BEC56-7811-4A54-9215-E0315EFEB3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F6E5976-8DA2-4EEC-91D9-3A09B63D2F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7735CE3-3620-4EE8-BBD1-72074CF07C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A491E1F-31AB-4B7A-8E97-4DBAC2136F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95EE64-5553-449E-8303-DA4D055092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206556E-0366-49FB-B55C-D8A1978BE5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64100000000001</c:v>
                </c:pt>
                <c:pt idx="1">
                  <c:v>31.168800000000001</c:v>
                </c:pt>
                <c:pt idx="2">
                  <c:v>43.229799999999997</c:v>
                </c:pt>
              </c:numCache>
            </c:numRef>
          </c:xVal>
          <c:yVal>
            <c:numRef>
              <c:f>Sheet1!$B$2:$B$4</c:f>
              <c:numCache>
                <c:formatCode>General</c:formatCode>
                <c:ptCount val="3"/>
                <c:pt idx="0">
                  <c:v>0.95399999999999996</c:v>
                </c:pt>
                <c:pt idx="1">
                  <c:v>0.98599999999999999</c:v>
                </c:pt>
                <c:pt idx="2">
                  <c:v>1.369</c:v>
                </c:pt>
              </c:numCache>
            </c:numRef>
          </c:yVal>
          <c:bubbleSize>
            <c:numRef>
              <c:f>Sheet1!$C$2:$C$4</c:f>
              <c:numCache>
                <c:formatCode>General</c:formatCode>
                <c:ptCount val="3"/>
                <c:pt idx="0">
                  <c:v>2201675</c:v>
                </c:pt>
                <c:pt idx="1">
                  <c:v>1768174</c:v>
                </c:pt>
                <c:pt idx="2">
                  <c:v>478122</c:v>
                </c:pt>
              </c:numCache>
            </c:numRef>
          </c:bubbleSize>
          <c:bubble3D val="0"/>
          <c:extLst>
            <c:ext xmlns:c15="http://schemas.microsoft.com/office/drawing/2012/chart" uri="{02D57815-91ED-43cb-92C2-25804820EDAC}">
              <c15:datalabelsRange>
                <c15:f>Sheet1!$E$2:$E$10</c15:f>
                <c15:dlblRangeCache>
                  <c:ptCount val="9"/>
                  <c:pt idx="0">
                    <c:v>Canard Duchêne</c:v>
                  </c:pt>
                  <c:pt idx="1">
                    <c:v>Nicolas Feuillatte</c:v>
                  </c:pt>
                  <c:pt idx="2">
                    <c:v>Moët &amp; Chand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164674-3C79-4D91-AC34-E1A45E8812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D7D7A5-A2F9-441B-A17C-1732B2496C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25870D-9972-4FEF-BD06-A918DA3C50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FD5A9B1-ACD6-4DCC-A77A-78AACB109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E576B60-626F-4D83-BF1E-AD93D91CBC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D982C98-EC38-4DBD-AA31-CB69E4CA12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DE8A758-3C29-41B9-901A-33E7EE7172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F38FC3-186A-491B-B715-BC87C6E85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06</c:v>
                </c:pt>
                <c:pt idx="1">
                  <c:v>43.504300000000001</c:v>
                </c:pt>
                <c:pt idx="2">
                  <c:v>39.130899999999997</c:v>
                </c:pt>
              </c:numCache>
            </c:numRef>
          </c:xVal>
          <c:yVal>
            <c:numRef>
              <c:f>Sheet1!$B$2:$B$4</c:f>
              <c:numCache>
                <c:formatCode>General</c:formatCode>
                <c:ptCount val="3"/>
                <c:pt idx="0">
                  <c:v>0.93700000000000006</c:v>
                </c:pt>
                <c:pt idx="1">
                  <c:v>1.3069999999999999</c:v>
                </c:pt>
                <c:pt idx="2">
                  <c:v>1.1140000000000001</c:v>
                </c:pt>
              </c:numCache>
            </c:numRef>
          </c:yVal>
          <c:bubbleSize>
            <c:numRef>
              <c:f>Sheet1!$C$2:$C$4</c:f>
              <c:numCache>
                <c:formatCode>General</c:formatCode>
                <c:ptCount val="3"/>
                <c:pt idx="0">
                  <c:v>1767506</c:v>
                </c:pt>
                <c:pt idx="1">
                  <c:v>484768</c:v>
                </c:pt>
                <c:pt idx="2">
                  <c:v>30796</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361478-FDF3-440C-B630-6610CF7561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63E3180-969C-4910-9313-F9829C50E2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326AE8B-25A7-47DC-9DA9-303DCCCC19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4FEFDAA-C34E-4023-83F4-04D3464BC5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861F159-7FE3-4E32-9A65-30F20028B3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61E73A8-149B-498A-95DC-968EFA4619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C8AE77-4AD0-42F2-A2BA-0A1C0EE32B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4FB1916-2C59-4871-BCB0-19A14073AA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0.0794</c:v>
                </c:pt>
              </c:numCache>
            </c:numRef>
          </c:xVal>
          <c:yVal>
            <c:numRef>
              <c:f>Sheet1!$B$2:$B$2</c:f>
              <c:numCache>
                <c:formatCode>General</c:formatCode>
                <c:ptCount val="1"/>
                <c:pt idx="0">
                  <c:v>1</c:v>
                </c:pt>
              </c:numCache>
            </c:numRef>
          </c:yVal>
          <c:bubbleSize>
            <c:numRef>
              <c:f>Sheet1!$C$2:$C$2</c:f>
              <c:numCache>
                <c:formatCode>General</c:formatCode>
                <c:ptCount val="1"/>
                <c:pt idx="0">
                  <c:v>2170979</c:v>
                </c:pt>
              </c:numCache>
            </c:numRef>
          </c:bubbleSize>
          <c:bubble3D val="0"/>
          <c:extLst>
            <c:ext xmlns:c15="http://schemas.microsoft.com/office/drawing/2012/chart" uri="{02D57815-91ED-43cb-92C2-25804820EDAC}">
              <c15:datalabelsRange>
                <c15:f>Sheet1!$E$2:$E$10</c15:f>
                <c15:dlblRangeCache>
                  <c:ptCount val="9"/>
                  <c:pt idx="0">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371CBF-3060-4438-871F-2AF37D1851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1D1950-4674-4D23-8340-F04FEB2982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BDFE29-3C7E-4EFF-B6A6-262EEB78BF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7A094D6-A17D-4614-A17D-130B6FD265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E4D10A2-B7DC-4DD0-9D39-928E02BA07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8C6788-3EBF-4995-B2A8-ADB7ECEFF4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F63B22-2B39-4675-9C62-5D48A3B93A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EB8E8A-CAC2-46D4-8E71-B332F58E1E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83</c:v>
                </c:pt>
                <c:pt idx="1">
                  <c:v>43.559199999999997</c:v>
                </c:pt>
                <c:pt idx="2">
                  <c:v>38.469000000000001</c:v>
                </c:pt>
              </c:numCache>
            </c:numRef>
          </c:xVal>
          <c:yVal>
            <c:numRef>
              <c:f>Sheet1!$B$2:$B$4</c:f>
              <c:numCache>
                <c:formatCode>General</c:formatCode>
                <c:ptCount val="3"/>
                <c:pt idx="0">
                  <c:v>0.94</c:v>
                </c:pt>
                <c:pt idx="1">
                  <c:v>1.3120000000000001</c:v>
                </c:pt>
                <c:pt idx="2">
                  <c:v>1.1519999999999999</c:v>
                </c:pt>
              </c:numCache>
            </c:numRef>
          </c:yVal>
          <c:bubbleSize>
            <c:numRef>
              <c:f>Sheet1!$C$2:$C$4</c:f>
              <c:numCache>
                <c:formatCode>General</c:formatCode>
                <c:ptCount val="3"/>
                <c:pt idx="0">
                  <c:v>827128</c:v>
                </c:pt>
                <c:pt idx="1">
                  <c:v>211001</c:v>
                </c:pt>
                <c:pt idx="2">
                  <c:v>17388</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D7AE63-4F8E-4771-81D5-539660205C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EE2812-CA22-42C0-8550-AB5FA05F24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DC66B8-5D47-45E9-87A7-8D8D210DCB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0B483F9-58E1-4638-868B-9D55487B8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8BE8951-D7CB-4482-BD86-5E120897C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5381981-AA7F-4370-97DF-049E7295F4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042076E-94CA-4596-81E5-EB49FE4A49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1CBE1D-9021-4687-AA6B-B6D04EDCC3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7600000000001</c:v>
                </c:pt>
                <c:pt idx="1">
                  <c:v>43.201500000000003</c:v>
                </c:pt>
                <c:pt idx="2">
                  <c:v>39.285699999999999</c:v>
                </c:pt>
              </c:numCache>
            </c:numRef>
          </c:xVal>
          <c:yVal>
            <c:numRef>
              <c:f>Sheet1!$B$2:$B$4</c:f>
              <c:numCache>
                <c:formatCode>General</c:formatCode>
                <c:ptCount val="3"/>
                <c:pt idx="0">
                  <c:v>0.94499999999999995</c:v>
                </c:pt>
                <c:pt idx="1">
                  <c:v>1.3169999999999999</c:v>
                </c:pt>
                <c:pt idx="2">
                  <c:v>1.1459999999999999</c:v>
                </c:pt>
              </c:numCache>
            </c:numRef>
          </c:yVal>
          <c:bubbleSize>
            <c:numRef>
              <c:f>Sheet1!$C$2:$C$4</c:f>
              <c:numCache>
                <c:formatCode>General</c:formatCode>
                <c:ptCount val="3"/>
                <c:pt idx="0">
                  <c:v>331167</c:v>
                </c:pt>
                <c:pt idx="1">
                  <c:v>75689</c:v>
                </c:pt>
                <c:pt idx="2">
                  <c:v>5225</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C7F833-123E-4CBD-A890-E2770D9483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CF050F-FA51-4E98-8C2E-01DBE641CC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47E59A-391B-47C0-942B-293AC43923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5CCFAD-E545-4284-B51D-60324959FA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9D0C95-EBFE-4D6A-AC52-CC66ADEAB4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1526925-3CBF-425B-884A-990E90E440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27B669-D49A-4430-ABFA-B092C6B1B7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C993BE-E955-4110-8DC5-64E8EDC31E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4298</c:v>
                </c:pt>
                <c:pt idx="1">
                  <c:v>23.6297</c:v>
                </c:pt>
                <c:pt idx="2">
                  <c:v>48.656399999999998</c:v>
                </c:pt>
                <c:pt idx="3">
                  <c:v>31.455500000000001</c:v>
                </c:pt>
                <c:pt idx="4">
                  <c:v>51.262500000000003</c:v>
                </c:pt>
                <c:pt idx="5">
                  <c:v>32.673000000000002</c:v>
                </c:pt>
                <c:pt idx="6">
                  <c:v>29.328600000000002</c:v>
                </c:pt>
                <c:pt idx="7">
                  <c:v>38.494</c:v>
                </c:pt>
              </c:numCache>
            </c:numRef>
          </c:xVal>
          <c:yVal>
            <c:numRef>
              <c:f>Sheet1!$B$2:$B$9</c:f>
              <c:numCache>
                <c:formatCode>General</c:formatCode>
                <c:ptCount val="8"/>
                <c:pt idx="0">
                  <c:v>1.958</c:v>
                </c:pt>
                <c:pt idx="1">
                  <c:v>0.69499999999999995</c:v>
                </c:pt>
                <c:pt idx="2">
                  <c:v>1.415</c:v>
                </c:pt>
                <c:pt idx="3">
                  <c:v>0.92</c:v>
                </c:pt>
                <c:pt idx="4">
                  <c:v>1.3520000000000001</c:v>
                </c:pt>
                <c:pt idx="5">
                  <c:v>0.94</c:v>
                </c:pt>
                <c:pt idx="6">
                  <c:v>0.85799999999999998</c:v>
                </c:pt>
                <c:pt idx="7">
                  <c:v>1.1259999999999999</c:v>
                </c:pt>
              </c:numCache>
            </c:numRef>
          </c:yVal>
          <c:bubbleSize>
            <c:numRef>
              <c:f>Sheet1!$C$2:$C$9</c:f>
              <c:numCache>
                <c:formatCode>General</c:formatCode>
                <c:ptCount val="8"/>
                <c:pt idx="0">
                  <c:v>5979133</c:v>
                </c:pt>
                <c:pt idx="1">
                  <c:v>2515244</c:v>
                </c:pt>
                <c:pt idx="2">
                  <c:v>2235322</c:v>
                </c:pt>
                <c:pt idx="3">
                  <c:v>1556133</c:v>
                </c:pt>
                <c:pt idx="4">
                  <c:v>1441809</c:v>
                </c:pt>
                <c:pt idx="5">
                  <c:v>1050176</c:v>
                </c:pt>
                <c:pt idx="6">
                  <c:v>1029785</c:v>
                </c:pt>
                <c:pt idx="7">
                  <c:v>929977</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FC79C2-AD5B-4001-BC15-4E9BA39932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A1C603-6C87-4D90-8D48-F7A1C4B507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D9FC09-FC71-4E67-A4AD-7AFD37E53E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B4D1F8-4AF3-48C4-86ED-FC830784C2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E351BF3-48CA-45AD-A2D2-2DD418E8B3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D6EAA5-9D9C-47B0-AAF1-4CF53DA76A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B275BF-0413-4BDC-AFE9-DD7AE96A41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F1071E-A778-4C49-B232-C2F0D7F95B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245000000000005</c:v>
                </c:pt>
                <c:pt idx="1">
                  <c:v>23.982600000000001</c:v>
                </c:pt>
                <c:pt idx="2">
                  <c:v>53.209800000000001</c:v>
                </c:pt>
                <c:pt idx="3">
                  <c:v>31.915800000000001</c:v>
                </c:pt>
                <c:pt idx="4">
                  <c:v>56.263100000000001</c:v>
                </c:pt>
                <c:pt idx="5">
                  <c:v>33.282400000000003</c:v>
                </c:pt>
                <c:pt idx="6">
                  <c:v>58.168599999999998</c:v>
                </c:pt>
                <c:pt idx="7">
                  <c:v>74.187700000000007</c:v>
                </c:pt>
              </c:numCache>
            </c:numRef>
          </c:xVal>
          <c:yVal>
            <c:numRef>
              <c:f>Sheet1!$B$2:$B$9</c:f>
              <c:numCache>
                <c:formatCode>General</c:formatCode>
                <c:ptCount val="8"/>
                <c:pt idx="0">
                  <c:v>1.5389999999999999</c:v>
                </c:pt>
                <c:pt idx="1">
                  <c:v>0.50800000000000001</c:v>
                </c:pt>
                <c:pt idx="2">
                  <c:v>1.0760000000000001</c:v>
                </c:pt>
                <c:pt idx="3">
                  <c:v>0.67700000000000005</c:v>
                </c:pt>
                <c:pt idx="4">
                  <c:v>1.022</c:v>
                </c:pt>
                <c:pt idx="5">
                  <c:v>0.68799999999999994</c:v>
                </c:pt>
                <c:pt idx="6">
                  <c:v>1.0229999999999999</c:v>
                </c:pt>
                <c:pt idx="7">
                  <c:v>1.524</c:v>
                </c:pt>
              </c:numCache>
            </c:numRef>
          </c:yVal>
          <c:bubbleSize>
            <c:numRef>
              <c:f>Sheet1!$C$2:$C$9</c:f>
              <c:numCache>
                <c:formatCode>General</c:formatCode>
                <c:ptCount val="8"/>
                <c:pt idx="0">
                  <c:v>1098847</c:v>
                </c:pt>
                <c:pt idx="1">
                  <c:v>246085</c:v>
                </c:pt>
                <c:pt idx="2">
                  <c:v>239125</c:v>
                </c:pt>
                <c:pt idx="3">
                  <c:v>135355</c:v>
                </c:pt>
                <c:pt idx="4">
                  <c:v>127436</c:v>
                </c:pt>
                <c:pt idx="5">
                  <c:v>107702</c:v>
                </c:pt>
                <c:pt idx="6">
                  <c:v>98654</c:v>
                </c:pt>
                <c:pt idx="7">
                  <c:v>9800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Taittinger</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6964B4-B596-4638-97EA-E0B5287E90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7BA18E-6839-4B09-BD95-7A7C12F98C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18CDEA-C902-4AF3-94B7-2DCA921835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3A9A169-8EAA-4C8E-803D-492C321983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B7EA7EA-1EDD-4E7C-83BD-6866CD0CC3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5972791-9007-40FC-826C-AAEE15ADE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D2D945F-462D-43D2-9C0A-AFE7F4D30E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350320B-D40C-4DF1-8176-D381019F4F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551100000000002</c:v>
                </c:pt>
                <c:pt idx="1">
                  <c:v>43.418399999999998</c:v>
                </c:pt>
                <c:pt idx="2">
                  <c:v>39.845399999999998</c:v>
                </c:pt>
              </c:numCache>
            </c:numRef>
          </c:xVal>
          <c:yVal>
            <c:numRef>
              <c:f>Sheet1!$B$2:$B$4</c:f>
              <c:numCache>
                <c:formatCode>General</c:formatCode>
                <c:ptCount val="3"/>
                <c:pt idx="0">
                  <c:v>0.93600000000000005</c:v>
                </c:pt>
                <c:pt idx="1">
                  <c:v>1.2929999999999999</c:v>
                </c:pt>
                <c:pt idx="2">
                  <c:v>1.0620000000000001</c:v>
                </c:pt>
              </c:numCache>
            </c:numRef>
          </c:yVal>
          <c:bubbleSize>
            <c:numRef>
              <c:f>Sheet1!$C$2:$C$4</c:f>
              <c:numCache>
                <c:formatCode>General</c:formatCode>
                <c:ptCount val="3"/>
                <c:pt idx="0">
                  <c:v>218807</c:v>
                </c:pt>
                <c:pt idx="1">
                  <c:v>63304</c:v>
                </c:pt>
                <c:pt idx="2">
                  <c:v>3865</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37E38D-222F-4C23-9AA9-F1915F3D08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6C44A0-F9EB-4B33-AC4A-C7A5593C3D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6131CAD-4A9C-429F-B5F3-1B8A20982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00CD7A6-CCC7-419C-BC1D-253AE7AB95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81DAD2E-F7C5-4824-9803-96C438376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DE1A39D-16C2-42EA-B38E-71964C8F96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BCA6114-8078-4A0E-A138-8494621E1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A6E0929-C275-437A-B9D6-DE3FD831C1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42999999999999</c:v>
                </c:pt>
                <c:pt idx="1">
                  <c:v>42.777900000000002</c:v>
                </c:pt>
              </c:numCache>
            </c:numRef>
          </c:xVal>
          <c:yVal>
            <c:numRef>
              <c:f>Sheet1!$B$2:$B$3</c:f>
              <c:numCache>
                <c:formatCode>General</c:formatCode>
                <c:ptCount val="2"/>
                <c:pt idx="0">
                  <c:v>0.92200000000000004</c:v>
                </c:pt>
                <c:pt idx="1">
                  <c:v>1.2669999999999999</c:v>
                </c:pt>
              </c:numCache>
            </c:numRef>
          </c:yVal>
          <c:bubbleSize>
            <c:numRef>
              <c:f>Sheet1!$C$2:$C$3</c:f>
              <c:numCache>
                <c:formatCode>General</c:formatCode>
                <c:ptCount val="2"/>
                <c:pt idx="0">
                  <c:v>161589</c:v>
                </c:pt>
                <c:pt idx="1">
                  <c:v>64894</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A6E89F-DA40-4AB5-815E-DE980B0B23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DCA82C-DF53-4BAB-BA30-A1449264C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1D2A6B0-F628-4380-8D23-4C4FDB2018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FC4B87F-D271-4573-9BFE-D1C464F7C7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D899BCA-37AD-49B7-AB94-BA3B4C71F0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06CC3D-1540-400F-A65F-4DC254D616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A6BBCC1-A6D2-407F-893F-5888FE7882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A4EEB67-9BCC-41A9-8ABC-D702AAD7EE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0.879000000000001</c:v>
                </c:pt>
                <c:pt idx="1">
                  <c:v>44.436199999999999</c:v>
                </c:pt>
              </c:numCache>
            </c:numRef>
          </c:xVal>
          <c:yVal>
            <c:numRef>
              <c:f>Sheet1!$B$2:$B$3</c:f>
              <c:numCache>
                <c:formatCode>General</c:formatCode>
                <c:ptCount val="2"/>
                <c:pt idx="0">
                  <c:v>0.92900000000000005</c:v>
                </c:pt>
                <c:pt idx="1">
                  <c:v>1.3420000000000001</c:v>
                </c:pt>
              </c:numCache>
            </c:numRef>
          </c:yVal>
          <c:bubbleSize>
            <c:numRef>
              <c:f>Sheet1!$C$2:$C$3</c:f>
              <c:numCache>
                <c:formatCode>General</c:formatCode>
                <c:ptCount val="2"/>
                <c:pt idx="0">
                  <c:v>79359</c:v>
                </c:pt>
                <c:pt idx="1">
                  <c:v>23329</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3DC373-C9A1-4DC0-9A91-87B2D4E5E3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FE00CB-7201-47FA-BDE4-9E8343E8AC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A1C0BA-DB50-4C1F-AF96-0FFF432E4B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ED13234-EB1A-419E-9F02-A39B4DA95C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CD20C9E-AA5C-4C62-8E9A-ADC3E6C4DA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FCBBD1-12DA-4733-B2A9-05AF9B6DC5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C690386-681D-4300-B120-135D4AF62E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3EEAC79-9E4F-4013-91AA-BB273A8568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982</c:v>
                </c:pt>
                <c:pt idx="1">
                  <c:v>43.2714</c:v>
                </c:pt>
                <c:pt idx="2">
                  <c:v>38.2958</c:v>
                </c:pt>
              </c:numCache>
            </c:numRef>
          </c:xVal>
          <c:yVal>
            <c:numRef>
              <c:f>Sheet1!$B$2:$B$4</c:f>
              <c:numCache>
                <c:formatCode>General</c:formatCode>
                <c:ptCount val="3"/>
                <c:pt idx="0">
                  <c:v>0.93600000000000005</c:v>
                </c:pt>
                <c:pt idx="1">
                  <c:v>1.298</c:v>
                </c:pt>
                <c:pt idx="2">
                  <c:v>1.1539999999999999</c:v>
                </c:pt>
              </c:numCache>
            </c:numRef>
          </c:yVal>
          <c:bubbleSize>
            <c:numRef>
              <c:f>Sheet1!$C$2:$C$4</c:f>
              <c:numCache>
                <c:formatCode>General</c:formatCode>
                <c:ptCount val="3"/>
                <c:pt idx="0">
                  <c:v>1328637</c:v>
                </c:pt>
                <c:pt idx="1">
                  <c:v>380745</c:v>
                </c:pt>
                <c:pt idx="2">
                  <c:v>21752</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E29D61-96D4-4D8F-A3CF-33393A9906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BC2B79-0B54-4D76-8280-C73B6F2428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AB74888-AACB-4051-963E-E0DD8A4178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22450D2-9833-4106-ADD2-6E30703B03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DA3F8EA-62EE-46E4-ADFB-9B47D24424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17D0D01-7FF4-4C59-9633-DEDD9C6485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E788A98-D000-411B-8D75-DA64A8901F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C6D2EC4-890D-44C8-A0D5-46DD779E0B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59499999999999</c:v>
                </c:pt>
                <c:pt idx="1">
                  <c:v>43.661499999999997</c:v>
                </c:pt>
              </c:numCache>
            </c:numRef>
          </c:xVal>
          <c:yVal>
            <c:numRef>
              <c:f>Sheet1!$B$2:$B$3</c:f>
              <c:numCache>
                <c:formatCode>General</c:formatCode>
                <c:ptCount val="2"/>
                <c:pt idx="0">
                  <c:v>0.93300000000000005</c:v>
                </c:pt>
                <c:pt idx="1">
                  <c:v>1.304</c:v>
                </c:pt>
              </c:numCache>
            </c:numRef>
          </c:yVal>
          <c:bubbleSize>
            <c:numRef>
              <c:f>Sheet1!$C$2:$C$3</c:f>
              <c:numCache>
                <c:formatCode>General</c:formatCode>
                <c:ptCount val="2"/>
                <c:pt idx="0">
                  <c:v>132884</c:v>
                </c:pt>
                <c:pt idx="1">
                  <c:v>39732</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EB0F32-C6E9-4ADC-B5D6-ABB972E90F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31E521-45B9-4F45-B2F2-B434E2F856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79CF4D-33AC-4A62-B7C6-BA5C7797D0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3D7F48F-D642-4936-8129-A3A43A9BC1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6DF8E58-8BD9-490B-A91F-A3C0E504AD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3AB8529-32FC-4C11-943B-60B8445B2E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FA94197-ED69-4B5B-8776-7E2C5689E3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E977E43-23E8-452A-A4A6-F2F18CE306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12800000000001</c:v>
                </c:pt>
                <c:pt idx="1">
                  <c:v>44.533299999999997</c:v>
                </c:pt>
                <c:pt idx="2">
                  <c:v>40.75</c:v>
                </c:pt>
              </c:numCache>
            </c:numRef>
          </c:xVal>
          <c:yVal>
            <c:numRef>
              <c:f>Sheet1!$B$2:$B$4</c:f>
              <c:numCache>
                <c:formatCode>General</c:formatCode>
                <c:ptCount val="3"/>
                <c:pt idx="0">
                  <c:v>0.94399999999999995</c:v>
                </c:pt>
                <c:pt idx="1">
                  <c:v>1.333</c:v>
                </c:pt>
                <c:pt idx="2">
                  <c:v>1.022</c:v>
                </c:pt>
              </c:numCache>
            </c:numRef>
          </c:yVal>
          <c:bubbleSize>
            <c:numRef>
              <c:f>Sheet1!$C$2:$C$4</c:f>
              <c:numCache>
                <c:formatCode>General</c:formatCode>
                <c:ptCount val="3"/>
                <c:pt idx="0">
                  <c:v>83558</c:v>
                </c:pt>
                <c:pt idx="1">
                  <c:v>19372</c:v>
                </c:pt>
                <c:pt idx="2">
                  <c:v>1630</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43E19A-EB4C-41F1-9A8D-73D6A55D26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74AD07-E4B4-43BF-A568-F85C1C7754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397222-8DAB-458C-92D7-F516C6A7B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527C450-6F07-4DB2-B472-2DBB11BA0A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95E39AF-E7A1-4BAB-8D5E-5E19AE43A8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99204CA-EF67-4CC9-8A99-CD7E5AC1AE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D837162-6676-41C9-93ED-1F5DADB5A0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F5EE0D8-F209-4AA5-88BE-C4A0706755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644300000000001</c:v>
                </c:pt>
                <c:pt idx="1">
                  <c:v>45.026499999999999</c:v>
                </c:pt>
                <c:pt idx="2">
                  <c:v>41.7</c:v>
                </c:pt>
              </c:numCache>
            </c:numRef>
          </c:xVal>
          <c:yVal>
            <c:numRef>
              <c:f>Sheet1!$B$2:$B$4</c:f>
              <c:numCache>
                <c:formatCode>General</c:formatCode>
                <c:ptCount val="3"/>
                <c:pt idx="0">
                  <c:v>0.96199999999999997</c:v>
                </c:pt>
                <c:pt idx="1">
                  <c:v>1.2869999999999999</c:v>
                </c:pt>
                <c:pt idx="2">
                  <c:v>1.1859999999999999</c:v>
                </c:pt>
              </c:numCache>
            </c:numRef>
          </c:yVal>
          <c:bubbleSize>
            <c:numRef>
              <c:f>Sheet1!$C$2:$C$4</c:f>
              <c:numCache>
                <c:formatCode>General</c:formatCode>
                <c:ptCount val="3"/>
                <c:pt idx="0">
                  <c:v>32562</c:v>
                </c:pt>
                <c:pt idx="1">
                  <c:v>5088</c:v>
                </c:pt>
                <c:pt idx="2">
                  <c:v>417</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4768D3-99CE-4D28-BC49-2E6F7980E1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A38E5A-D5DC-42E9-A3B1-2F75111C7B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9AB472-F306-43CB-9063-2B95A5FE98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49B41F-BB9E-4BDD-8C15-DED03344A1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1C00F22-9BA0-427E-B86F-AFA7A81EF8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3DAF27F-C5A3-4DF8-858B-2F28CFF833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C6E28D2-DC47-4F8D-B4C1-83AF15A6D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2C8F592-F8A8-4914-954A-1A711813BC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1.212</c:v>
                </c:pt>
                <c:pt idx="1">
                  <c:v>43.988500000000002</c:v>
                </c:pt>
                <c:pt idx="2">
                  <c:v>39.526299999999999</c:v>
                </c:pt>
                <c:pt idx="3">
                  <c:v>40.066699999999997</c:v>
                </c:pt>
              </c:numCache>
            </c:numRef>
          </c:xVal>
          <c:yVal>
            <c:numRef>
              <c:f>Sheet1!$B$2:$B$5</c:f>
              <c:numCache>
                <c:formatCode>General</c:formatCode>
                <c:ptCount val="4"/>
                <c:pt idx="0">
                  <c:v>0.94599999999999995</c:v>
                </c:pt>
                <c:pt idx="1">
                  <c:v>1.335</c:v>
                </c:pt>
                <c:pt idx="2">
                  <c:v>0.98099999999999998</c:v>
                </c:pt>
                <c:pt idx="3">
                  <c:v>1.145</c:v>
                </c:pt>
              </c:numCache>
            </c:numRef>
          </c:yVal>
          <c:bubbleSize>
            <c:numRef>
              <c:f>Sheet1!$C$2:$C$5</c:f>
              <c:numCache>
                <c:formatCode>General</c:formatCode>
                <c:ptCount val="4"/>
                <c:pt idx="0">
                  <c:v>34739</c:v>
                </c:pt>
                <c:pt idx="1">
                  <c:v>7654</c:v>
                </c:pt>
                <c:pt idx="2">
                  <c:v>1502</c:v>
                </c:pt>
                <c:pt idx="3">
                  <c:v>601</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pt idx="3">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C25D61-DDFA-4D89-9F1A-6F0B44F4DD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7838AE-644A-480E-A008-FE60C7660E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F0E6C4-3686-4027-8A3F-A7C285AD5D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BB00FDD-FBAD-4E57-B329-3235E323E8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F3155D-EE9B-4203-BAB6-F1769139FF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F17A230-DE04-4874-83CC-474F9E7185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217D2C2-B8D6-44B4-B82C-C5646A66B7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AB05C96-A1D1-43B4-9AFB-8AED5858A4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17700000000001</c:v>
                </c:pt>
                <c:pt idx="1">
                  <c:v>43.048900000000003</c:v>
                </c:pt>
                <c:pt idx="2">
                  <c:v>38.2864</c:v>
                </c:pt>
              </c:numCache>
            </c:numRef>
          </c:xVal>
          <c:yVal>
            <c:numRef>
              <c:f>Sheet1!$B$2:$B$4</c:f>
              <c:numCache>
                <c:formatCode>General</c:formatCode>
                <c:ptCount val="3"/>
                <c:pt idx="0">
                  <c:v>0.93100000000000005</c:v>
                </c:pt>
                <c:pt idx="1">
                  <c:v>1.2849999999999999</c:v>
                </c:pt>
                <c:pt idx="2">
                  <c:v>1.149</c:v>
                </c:pt>
              </c:numCache>
            </c:numRef>
          </c:yVal>
          <c:bubbleSize>
            <c:numRef>
              <c:f>Sheet1!$C$2:$C$4</c:f>
              <c:numCache>
                <c:formatCode>General</c:formatCode>
                <c:ptCount val="3"/>
                <c:pt idx="0">
                  <c:v>484873</c:v>
                </c:pt>
                <c:pt idx="1">
                  <c:v>156612</c:v>
                </c:pt>
                <c:pt idx="2">
                  <c:v>8423</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78BDF2-0937-4290-931C-331FF266B8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FA4DB8-D1C9-428A-B770-E13824F27C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425AFE7-D859-4E80-BBE2-7325DE4331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14E87A6-7C27-45F2-BF42-C1D0D03134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C73A2EB-7BAB-4085-9498-FE3D3B2E92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868D195-0351-470B-A5CD-4F7239EE7B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39A3309-6068-4EEA-95EE-475FE3A69A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F7676A-1E59-4B1A-AF16-7F4FA3CD6B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130199999999999</c:v>
                </c:pt>
                <c:pt idx="1">
                  <c:v>43.843800000000002</c:v>
                </c:pt>
              </c:numCache>
            </c:numRef>
          </c:xVal>
          <c:yVal>
            <c:numRef>
              <c:f>Sheet1!$B$2:$B$3</c:f>
              <c:numCache>
                <c:formatCode>General</c:formatCode>
                <c:ptCount val="2"/>
                <c:pt idx="0">
                  <c:v>0.92900000000000005</c:v>
                </c:pt>
                <c:pt idx="1">
                  <c:v>1.3089999999999999</c:v>
                </c:pt>
              </c:numCache>
            </c:numRef>
          </c:yVal>
          <c:bubbleSize>
            <c:numRef>
              <c:f>Sheet1!$C$2:$C$3</c:f>
              <c:numCache>
                <c:formatCode>General</c:formatCode>
                <c:ptCount val="2"/>
                <c:pt idx="0">
                  <c:v>254707</c:v>
                </c:pt>
                <c:pt idx="1">
                  <c:v>81944</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A1FE1F2-82A5-45C8-8CC8-365D5CCA5C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C1EA05F-0F89-403C-8B45-8F3008951F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2F8334A-A1A8-4382-AECF-8292A65535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747FD7A-0541-4683-B2EA-4C398D48C9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8218378-0729-4FEF-A7D1-A03E0D6207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0EAB1EE-51BD-4F07-B47E-1160CC2529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427B2F0-8FDB-4BF8-865E-BE8778CEE5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B8EF898-3861-4590-92C7-D5B1666731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154</c:v>
                </c:pt>
                <c:pt idx="1">
                  <c:v>17.843299999999999</c:v>
                </c:pt>
                <c:pt idx="2">
                  <c:v>12.435700000000001</c:v>
                </c:pt>
                <c:pt idx="3">
                  <c:v>11.672000000000001</c:v>
                </c:pt>
                <c:pt idx="4">
                  <c:v>9.2040000000000006</c:v>
                </c:pt>
                <c:pt idx="5">
                  <c:v>11.5655</c:v>
                </c:pt>
                <c:pt idx="6">
                  <c:v>12.408200000000001</c:v>
                </c:pt>
                <c:pt idx="7">
                  <c:v>13.4473</c:v>
                </c:pt>
              </c:numCache>
            </c:numRef>
          </c:xVal>
          <c:yVal>
            <c:numRef>
              <c:f>Sheet1!$B$2:$B$9</c:f>
              <c:numCache>
                <c:formatCode>General</c:formatCode>
                <c:ptCount val="8"/>
                <c:pt idx="0">
                  <c:v>1.1100000000000001</c:v>
                </c:pt>
                <c:pt idx="1">
                  <c:v>1.7410000000000001</c:v>
                </c:pt>
                <c:pt idx="2">
                  <c:v>1.2</c:v>
                </c:pt>
                <c:pt idx="3">
                  <c:v>1.0820000000000001</c:v>
                </c:pt>
                <c:pt idx="4">
                  <c:v>0.88800000000000001</c:v>
                </c:pt>
                <c:pt idx="5">
                  <c:v>1.125</c:v>
                </c:pt>
                <c:pt idx="6">
                  <c:v>0.93</c:v>
                </c:pt>
                <c:pt idx="7">
                  <c:v>1.2949999999999999</c:v>
                </c:pt>
              </c:numCache>
            </c:numRef>
          </c:yVal>
          <c:bubbleSize>
            <c:numRef>
              <c:f>Sheet1!$C$2:$C$9</c:f>
              <c:numCache>
                <c:formatCode>General</c:formatCode>
                <c:ptCount val="8"/>
                <c:pt idx="0">
                  <c:v>29406</c:v>
                </c:pt>
                <c:pt idx="1">
                  <c:v>21519</c:v>
                </c:pt>
                <c:pt idx="2">
                  <c:v>20606</c:v>
                </c:pt>
                <c:pt idx="3">
                  <c:v>15337</c:v>
                </c:pt>
                <c:pt idx="4">
                  <c:v>12361</c:v>
                </c:pt>
                <c:pt idx="5">
                  <c:v>8304</c:v>
                </c:pt>
                <c:pt idx="6">
                  <c:v>5472</c:v>
                </c:pt>
                <c:pt idx="7">
                  <c:v>4720</c:v>
                </c:pt>
              </c:numCache>
            </c:numRef>
          </c:bubbleSize>
          <c:bubble3D val="0"/>
          <c:extLst>
            <c:ext xmlns:c15="http://schemas.microsoft.com/office/drawing/2012/chart" uri="{02D57815-91ED-43cb-92C2-25804820EDAC}">
              <c15:datalabelsRange>
                <c15:f>Sheet1!$E$2:$E$10</c15:f>
                <c15:dlblRangeCache>
                  <c:ptCount val="9"/>
                  <c:pt idx="0">
                    <c:v>Bottega</c:v>
                  </c:pt>
                  <c:pt idx="1">
                    <c:v>Mure</c:v>
                  </c:pt>
                  <c:pt idx="2">
                    <c:v>Patriarche</c:v>
                  </c:pt>
                  <c:pt idx="3">
                    <c:v>Bouvet-Ladubay</c:v>
                  </c:pt>
                  <c:pt idx="4">
                    <c:v>Savian</c:v>
                  </c:pt>
                  <c:pt idx="5">
                    <c:v>Chateau Moncontour</c:v>
                  </c:pt>
                  <c:pt idx="6">
                    <c:v>Contarini</c:v>
                  </c:pt>
                  <c:pt idx="7">
                    <c:v>De Chancen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66847B-5CF5-4C01-82BD-5271C52CA4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D3B3C7-5105-4FE9-823E-4765C27FFC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673B1F-5DC9-478A-B545-A0F1887D3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301E303-D8EB-440C-9A83-CB9F6B439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709E1E0-13CF-4603-85C3-ABBE139B28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20D71F-50A2-47AD-828E-083888DA8C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4CFA0F8-2204-4B83-AFAB-A37945E6DA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6409C48-3DF7-4053-A9AD-3B5BA5A627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94999999999999</c:v>
                </c:pt>
                <c:pt idx="1">
                  <c:v>43.808300000000003</c:v>
                </c:pt>
                <c:pt idx="2">
                  <c:v>38.920200000000001</c:v>
                </c:pt>
              </c:numCache>
            </c:numRef>
          </c:xVal>
          <c:yVal>
            <c:numRef>
              <c:f>Sheet1!$B$2:$B$4</c:f>
              <c:numCache>
                <c:formatCode>General</c:formatCode>
                <c:ptCount val="3"/>
                <c:pt idx="0">
                  <c:v>0.94099999999999995</c:v>
                </c:pt>
                <c:pt idx="1">
                  <c:v>1.325</c:v>
                </c:pt>
                <c:pt idx="2">
                  <c:v>1.161</c:v>
                </c:pt>
              </c:numCache>
            </c:numRef>
          </c:yVal>
          <c:bubbleSize>
            <c:numRef>
              <c:f>Sheet1!$C$2:$C$4</c:f>
              <c:numCache>
                <c:formatCode>General</c:formatCode>
                <c:ptCount val="3"/>
                <c:pt idx="0">
                  <c:v>410703</c:v>
                </c:pt>
                <c:pt idx="1">
                  <c:v>99620</c:v>
                </c:pt>
                <c:pt idx="2">
                  <c:v>7317</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74E187-1083-4839-890A-59B3B98AF5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D3B3CC-80DD-4AC1-AAA1-92ABACA185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892B9F-9CEE-4D13-86DA-306656C80B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95304D5-18ED-49AF-BB4F-68F5BA6D3D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4388E99-34ED-4C2E-9CA4-AADF2EA531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6AD1CCE-C9DA-4915-A96C-B3F040B0A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8CB1200-CCC6-4C39-8235-916D78F04D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12D1B5E-9AD0-42F6-A86B-9D50AD740A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3699999999999</c:v>
                </c:pt>
                <c:pt idx="1">
                  <c:v>43.280700000000003</c:v>
                </c:pt>
                <c:pt idx="2">
                  <c:v>39.226999999999997</c:v>
                </c:pt>
              </c:numCache>
            </c:numRef>
          </c:xVal>
          <c:yVal>
            <c:numRef>
              <c:f>Sheet1!$B$2:$B$4</c:f>
              <c:numCache>
                <c:formatCode>General</c:formatCode>
                <c:ptCount val="3"/>
                <c:pt idx="0">
                  <c:v>0.94099999999999995</c:v>
                </c:pt>
                <c:pt idx="1">
                  <c:v>1.3109999999999999</c:v>
                </c:pt>
                <c:pt idx="2">
                  <c:v>1.153</c:v>
                </c:pt>
              </c:numCache>
            </c:numRef>
          </c:yVal>
          <c:bubbleSize>
            <c:numRef>
              <c:f>Sheet1!$C$2:$C$4</c:f>
              <c:numCache>
                <c:formatCode>General</c:formatCode>
                <c:ptCount val="3"/>
                <c:pt idx="0">
                  <c:v>343050</c:v>
                </c:pt>
                <c:pt idx="1">
                  <c:v>84657</c:v>
                </c:pt>
                <c:pt idx="2">
                  <c:v>7257</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10A29A-D2E0-479E-B3F7-9E96C609F5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246481-F592-4B96-B0D0-1C45F351D9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18E027-5CE4-4BBC-87A8-DFA402D0D1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588DFEE-D878-4D1E-8EA2-9BBAE4B7E5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CC36E50-B7F8-4B2E-A6F5-615495308C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3BBA091-1B4F-46E4-8C51-206F1565EF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B871E77-EE24-403B-A95D-46579ECB45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276552-57CD-4184-B767-DCBFED1A81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998</c:v>
                </c:pt>
                <c:pt idx="1">
                  <c:v>43.330100000000002</c:v>
                </c:pt>
                <c:pt idx="2">
                  <c:v>39.1479</c:v>
                </c:pt>
              </c:numCache>
            </c:numRef>
          </c:xVal>
          <c:yVal>
            <c:numRef>
              <c:f>Sheet1!$B$2:$B$4</c:f>
              <c:numCache>
                <c:formatCode>General</c:formatCode>
                <c:ptCount val="3"/>
                <c:pt idx="0">
                  <c:v>0.94699999999999995</c:v>
                </c:pt>
                <c:pt idx="1">
                  <c:v>1.302</c:v>
                </c:pt>
                <c:pt idx="2">
                  <c:v>1.1080000000000001</c:v>
                </c:pt>
              </c:numCache>
            </c:numRef>
          </c:yVal>
          <c:bubbleSize>
            <c:numRef>
              <c:f>Sheet1!$C$2:$C$4</c:f>
              <c:numCache>
                <c:formatCode>General</c:formatCode>
                <c:ptCount val="3"/>
                <c:pt idx="0">
                  <c:v>274206</c:v>
                </c:pt>
                <c:pt idx="1">
                  <c:v>61962</c:v>
                </c:pt>
                <c:pt idx="2">
                  <c:v>5559</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6912DA-B73E-4443-A292-BDF8D184B7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944B45-EE46-4B04-8D1C-7027B5EC71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67E9B0-6DC6-43AF-AFB6-9C6F67104F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DE034D-33A4-42C8-B143-7366D123FE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537738-B689-46F7-A6D5-669122B4CF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87F399-751F-46E3-BAE5-EF16C74BEA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D00947-9090-4C08-A5E7-FA92ECED94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DBE26E-CA72-4DC3-99E9-96D2590628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01900000000001</c:v>
                </c:pt>
                <c:pt idx="1">
                  <c:v>167.18049999999999</c:v>
                </c:pt>
                <c:pt idx="2">
                  <c:v>91.93</c:v>
                </c:pt>
                <c:pt idx="3">
                  <c:v>37.241900000000001</c:v>
                </c:pt>
                <c:pt idx="4">
                  <c:v>65.030100000000004</c:v>
                </c:pt>
                <c:pt idx="5">
                  <c:v>232.976</c:v>
                </c:pt>
                <c:pt idx="6">
                  <c:v>63.533799999999999</c:v>
                </c:pt>
                <c:pt idx="7">
                  <c:v>264.97140000000002</c:v>
                </c:pt>
              </c:numCache>
            </c:numRef>
          </c:xVal>
          <c:yVal>
            <c:numRef>
              <c:f>Sheet1!$B$2:$B$9</c:f>
              <c:numCache>
                <c:formatCode>General</c:formatCode>
                <c:ptCount val="8"/>
                <c:pt idx="0">
                  <c:v>1.954</c:v>
                </c:pt>
                <c:pt idx="1">
                  <c:v>1.238</c:v>
                </c:pt>
                <c:pt idx="2">
                  <c:v>0.69099999999999995</c:v>
                </c:pt>
                <c:pt idx="3">
                  <c:v>0.28100000000000003</c:v>
                </c:pt>
                <c:pt idx="4">
                  <c:v>0.46800000000000003</c:v>
                </c:pt>
                <c:pt idx="5">
                  <c:v>1.7110000000000001</c:v>
                </c:pt>
                <c:pt idx="6">
                  <c:v>0.48199999999999998</c:v>
                </c:pt>
                <c:pt idx="7">
                  <c:v>1.7989999999999999</c:v>
                </c:pt>
              </c:numCache>
            </c:numRef>
          </c:yVal>
          <c:bubbleSize>
            <c:numRef>
              <c:f>Sheet1!$C$2:$C$9</c:f>
              <c:numCache>
                <c:formatCode>General</c:formatCode>
                <c:ptCount val="8"/>
                <c:pt idx="0">
                  <c:v>1119642</c:v>
                </c:pt>
                <c:pt idx="1">
                  <c:v>625088</c:v>
                </c:pt>
                <c:pt idx="2">
                  <c:v>247016</c:v>
                </c:pt>
                <c:pt idx="3">
                  <c:v>189077</c:v>
                </c:pt>
                <c:pt idx="4">
                  <c:v>101707</c:v>
                </c:pt>
                <c:pt idx="5">
                  <c:v>77814</c:v>
                </c:pt>
                <c:pt idx="6">
                  <c:v>41297</c:v>
                </c:pt>
                <c:pt idx="7">
                  <c:v>37096</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Bollinger</c:v>
                  </c:pt>
                  <c:pt idx="6">
                    <c:v>Moët &amp; Chandon</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2E42D2-EC4D-4B0C-96C9-75D2028C35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3521FA-C603-45E3-8C10-1AA9765BBB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99FB9A-BA82-4C60-A3DD-856E78BFF7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58EFF6-C188-40DF-9DE5-3F3628B26E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52A70B-2BEA-46CC-8C87-93CE6DDE24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7DBF4B-E4B4-424C-8D47-9A62829995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6103E3-85DE-410D-9648-0116734CD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A1CD4F-2113-4B2B-8F9E-F6CA408919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4.93470000000002</c:v>
                </c:pt>
                <c:pt idx="1">
                  <c:v>172.66370000000001</c:v>
                </c:pt>
                <c:pt idx="2">
                  <c:v>94.635300000000001</c:v>
                </c:pt>
                <c:pt idx="3">
                  <c:v>37.6342</c:v>
                </c:pt>
                <c:pt idx="4">
                  <c:v>243.43379999999999</c:v>
                </c:pt>
                <c:pt idx="5">
                  <c:v>64.109499999999997</c:v>
                </c:pt>
                <c:pt idx="6">
                  <c:v>270.57780000000002</c:v>
                </c:pt>
                <c:pt idx="7">
                  <c:v>271.76560000000001</c:v>
                </c:pt>
              </c:numCache>
            </c:numRef>
          </c:xVal>
          <c:yVal>
            <c:numRef>
              <c:f>Sheet1!$B$2:$B$9</c:f>
              <c:numCache>
                <c:formatCode>General</c:formatCode>
                <c:ptCount val="8"/>
                <c:pt idx="0">
                  <c:v>1.9019999999999999</c:v>
                </c:pt>
                <c:pt idx="1">
                  <c:v>1.1839999999999999</c:v>
                </c:pt>
                <c:pt idx="2">
                  <c:v>0.66300000000000003</c:v>
                </c:pt>
                <c:pt idx="3">
                  <c:v>0.27600000000000002</c:v>
                </c:pt>
                <c:pt idx="4">
                  <c:v>1.5860000000000001</c:v>
                </c:pt>
                <c:pt idx="5">
                  <c:v>0.45400000000000001</c:v>
                </c:pt>
                <c:pt idx="6">
                  <c:v>1.663</c:v>
                </c:pt>
                <c:pt idx="7">
                  <c:v>1.597</c:v>
                </c:pt>
              </c:numCache>
            </c:numRef>
          </c:yVal>
          <c:bubbleSize>
            <c:numRef>
              <c:f>Sheet1!$C$2:$C$9</c:f>
              <c:numCache>
                <c:formatCode>General</c:formatCode>
                <c:ptCount val="8"/>
                <c:pt idx="0">
                  <c:v>1127827</c:v>
                </c:pt>
                <c:pt idx="1">
                  <c:v>629014</c:v>
                </c:pt>
                <c:pt idx="2">
                  <c:v>247282</c:v>
                </c:pt>
                <c:pt idx="3">
                  <c:v>189300</c:v>
                </c:pt>
                <c:pt idx="4">
                  <c:v>79116</c:v>
                </c:pt>
                <c:pt idx="5">
                  <c:v>72572</c:v>
                </c:pt>
                <c:pt idx="6">
                  <c:v>36528</c:v>
                </c:pt>
                <c:pt idx="7">
                  <c:v>34786</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iper Heidsieck</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6"/>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0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7BC9D0-FD60-4854-A71E-163882E766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EBDB1E-DC4B-4C0D-9783-C93DB954C1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07D2F6-7B2C-44B8-86D0-E62608784B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D2950E3-C93F-498A-A1E3-E74E71F76E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6179FC1-6C08-4528-B04F-E89F749548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BB43D1C-F517-4A57-8AF5-3E357202A3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BB4BCF8-74AC-497D-88A0-474613C24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6A06294-AB84-49CB-9114-A230153C87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3.172699999999999</c:v>
                </c:pt>
                <c:pt idx="1">
                  <c:v>72</c:v>
                </c:pt>
                <c:pt idx="2">
                  <c:v>173.15629999999999</c:v>
                </c:pt>
              </c:numCache>
            </c:numRef>
          </c:xVal>
          <c:yVal>
            <c:numRef>
              <c:f>Sheet1!$B$2:$B$4</c:f>
              <c:numCache>
                <c:formatCode>General</c:formatCode>
                <c:ptCount val="3"/>
                <c:pt idx="0">
                  <c:v>0.91500000000000004</c:v>
                </c:pt>
                <c:pt idx="1">
                  <c:v>0.874</c:v>
                </c:pt>
                <c:pt idx="2">
                  <c:v>1.8620000000000001</c:v>
                </c:pt>
              </c:numCache>
            </c:numRef>
          </c:yVal>
          <c:bubbleSize>
            <c:numRef>
              <c:f>Sheet1!$C$2:$C$4</c:f>
              <c:numCache>
                <c:formatCode>General</c:formatCode>
                <c:ptCount val="3"/>
                <c:pt idx="0">
                  <c:v>40241</c:v>
                </c:pt>
                <c:pt idx="1">
                  <c:v>29160</c:v>
                </c:pt>
                <c:pt idx="2">
                  <c:v>16623</c:v>
                </c:pt>
              </c:numCache>
            </c:numRef>
          </c:bubbleSize>
          <c:bubble3D val="0"/>
          <c:extLst>
            <c:ext xmlns:c15="http://schemas.microsoft.com/office/drawing/2012/chart" uri="{02D57815-91ED-43cb-92C2-25804820EDAC}">
              <c15:datalabelsRange>
                <c15:f>Sheet1!$E$2:$E$10</c15:f>
                <c15:dlblRangeCache>
                  <c:ptCount val="9"/>
                  <c:pt idx="0">
                    <c:v>Moët &amp; Chandon</c:v>
                  </c:pt>
                  <c:pt idx="1">
                    <c:v>Laurent Perrier</c:v>
                  </c:pt>
                  <c:pt idx="2">
                    <c:v>Deu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8"/>
          <c:min val="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06DBD6-6BA5-4B78-B1C6-68137196DC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1088C0-9C44-44B1-8273-F64E62D6C7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3098F7-E0CF-42B9-86C3-0DE961AFBE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58CF5B-FE31-486C-97C8-1B43EEAF8A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9B2C40-9C0C-4560-8D5B-833C05AAC8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782575-CFB7-45B1-84CC-A88311E178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0ACFE26-51C3-404B-9A6B-CDFA567535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1C98F4-1AE8-46B8-8AD4-EC0C2EE51C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9.1438</c:v>
                </c:pt>
                <c:pt idx="1">
                  <c:v>155.31</c:v>
                </c:pt>
                <c:pt idx="2">
                  <c:v>37.252499999999998</c:v>
                </c:pt>
                <c:pt idx="3">
                  <c:v>93.597999999999999</c:v>
                </c:pt>
                <c:pt idx="4">
                  <c:v>62.747599999999998</c:v>
                </c:pt>
                <c:pt idx="5">
                  <c:v>254.06059999999999</c:v>
                </c:pt>
                <c:pt idx="6">
                  <c:v>268.13209999999998</c:v>
                </c:pt>
                <c:pt idx="7">
                  <c:v>204.03389999999999</c:v>
                </c:pt>
              </c:numCache>
            </c:numRef>
          </c:xVal>
          <c:yVal>
            <c:numRef>
              <c:f>Sheet1!$B$2:$B$9</c:f>
              <c:numCache>
                <c:formatCode>General</c:formatCode>
                <c:ptCount val="8"/>
                <c:pt idx="0">
                  <c:v>2.1040000000000001</c:v>
                </c:pt>
                <c:pt idx="1">
                  <c:v>1.24</c:v>
                </c:pt>
                <c:pt idx="2">
                  <c:v>0.30299999999999999</c:v>
                </c:pt>
                <c:pt idx="3">
                  <c:v>0.75600000000000001</c:v>
                </c:pt>
                <c:pt idx="4">
                  <c:v>0.50800000000000001</c:v>
                </c:pt>
                <c:pt idx="5">
                  <c:v>1.905</c:v>
                </c:pt>
                <c:pt idx="6">
                  <c:v>1.855</c:v>
                </c:pt>
                <c:pt idx="7">
                  <c:v>1.5720000000000001</c:v>
                </c:pt>
              </c:numCache>
            </c:numRef>
          </c:yVal>
          <c:bubbleSize>
            <c:numRef>
              <c:f>Sheet1!$C$2:$C$9</c:f>
              <c:numCache>
                <c:formatCode>General</c:formatCode>
                <c:ptCount val="8"/>
                <c:pt idx="0">
                  <c:v>358655</c:v>
                </c:pt>
                <c:pt idx="1">
                  <c:v>255019</c:v>
                </c:pt>
                <c:pt idx="2">
                  <c:v>92796</c:v>
                </c:pt>
                <c:pt idx="3">
                  <c:v>83583</c:v>
                </c:pt>
                <c:pt idx="4">
                  <c:v>32315</c:v>
                </c:pt>
                <c:pt idx="5">
                  <c:v>25152</c:v>
                </c:pt>
                <c:pt idx="6">
                  <c:v>14211</c:v>
                </c:pt>
                <c:pt idx="7">
                  <c:v>1203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Malard</c:v>
                  </c:pt>
                  <c:pt idx="3">
                    <c:v>Ruinart</c:v>
                  </c:pt>
                  <c:pt idx="4">
                    <c:v>Laurent Perrier</c:v>
                  </c:pt>
                  <c:pt idx="5">
                    <c:v>Bollinger</c:v>
                  </c:pt>
                  <c:pt idx="6">
                    <c:v>Piper Heidsieck</c:v>
                  </c:pt>
                  <c:pt idx="7">
                    <c:v>Veuve Clicquo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04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2997C7-1D73-4D7A-A7AF-E6700CBE3A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7E7012-212D-4185-89BC-33B1A27CA5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C9D158-BA9F-440B-83AD-9208B08DC5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E1E120-05B8-4F67-92E8-A233CC3BCD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B5E442-6ECA-48A8-A2F4-037FB00178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A3DE3A-3C71-48ED-A849-4B8FCC5975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45585E8-CC27-4159-B03C-D17F6BEDDD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2F3851-439A-48A8-9A44-E6347A3A09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15519999999998</c:v>
                </c:pt>
                <c:pt idx="1">
                  <c:v>162.75129999999999</c:v>
                </c:pt>
                <c:pt idx="2">
                  <c:v>91.686599999999999</c:v>
                </c:pt>
                <c:pt idx="3">
                  <c:v>37.590299999999999</c:v>
                </c:pt>
                <c:pt idx="4">
                  <c:v>219.04169999999999</c:v>
                </c:pt>
                <c:pt idx="5">
                  <c:v>64.075400000000002</c:v>
                </c:pt>
                <c:pt idx="6">
                  <c:v>270.6207</c:v>
                </c:pt>
                <c:pt idx="7">
                  <c:v>258.72730000000001</c:v>
                </c:pt>
              </c:numCache>
            </c:numRef>
          </c:xVal>
          <c:yVal>
            <c:numRef>
              <c:f>Sheet1!$B$2:$B$9</c:f>
              <c:numCache>
                <c:formatCode>General</c:formatCode>
                <c:ptCount val="8"/>
                <c:pt idx="0">
                  <c:v>2.0579999999999998</c:v>
                </c:pt>
                <c:pt idx="1">
                  <c:v>1.212</c:v>
                </c:pt>
                <c:pt idx="2">
                  <c:v>0.72299999999999998</c:v>
                </c:pt>
                <c:pt idx="3">
                  <c:v>0.30299999999999999</c:v>
                </c:pt>
                <c:pt idx="4">
                  <c:v>1.633</c:v>
                </c:pt>
                <c:pt idx="5">
                  <c:v>0.49199999999999999</c:v>
                </c:pt>
                <c:pt idx="6">
                  <c:v>1.901</c:v>
                </c:pt>
                <c:pt idx="7">
                  <c:v>1.5669999999999999</c:v>
                </c:pt>
              </c:numCache>
            </c:numRef>
          </c:yVal>
          <c:bubbleSize>
            <c:numRef>
              <c:f>Sheet1!$C$2:$C$9</c:f>
              <c:numCache>
                <c:formatCode>General</c:formatCode>
                <c:ptCount val="8"/>
                <c:pt idx="0">
                  <c:v>182460</c:v>
                </c:pt>
                <c:pt idx="1">
                  <c:v>94233</c:v>
                </c:pt>
                <c:pt idx="2">
                  <c:v>67298</c:v>
                </c:pt>
                <c:pt idx="3">
                  <c:v>37064</c:v>
                </c:pt>
                <c:pt idx="4">
                  <c:v>21028</c:v>
                </c:pt>
                <c:pt idx="5">
                  <c:v>12751</c:v>
                </c:pt>
                <c:pt idx="6">
                  <c:v>7848</c:v>
                </c:pt>
                <c:pt idx="7">
                  <c:v>5692</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iper Heidsieck</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5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192582-70FE-4B90-8D9B-2E4A57684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77105C-A77F-4BD8-A859-5AF4966D3D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2022D6-C6B4-47B4-92E0-73643EB601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7EED30-18F4-4A42-A1AE-6FA3AD935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28EB76-61ED-40E9-9BCE-DE631A92A4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344938-3B75-48B5-B29C-4F649C4BF7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173FE1-B49C-48B5-B0BE-D140C3EC37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0629D3-7432-4DC9-9AC0-13FB568EAC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8.45940000000002</c:v>
                </c:pt>
                <c:pt idx="1">
                  <c:v>197.8586</c:v>
                </c:pt>
                <c:pt idx="2">
                  <c:v>95.672200000000004</c:v>
                </c:pt>
                <c:pt idx="3">
                  <c:v>37.631700000000002</c:v>
                </c:pt>
                <c:pt idx="4">
                  <c:v>242.32650000000001</c:v>
                </c:pt>
                <c:pt idx="5">
                  <c:v>269.16219999999998</c:v>
                </c:pt>
                <c:pt idx="6">
                  <c:v>65.087000000000003</c:v>
                </c:pt>
                <c:pt idx="7">
                  <c:v>423.70589999999999</c:v>
                </c:pt>
              </c:numCache>
            </c:numRef>
          </c:xVal>
          <c:yVal>
            <c:numRef>
              <c:f>Sheet1!$B$2:$B$9</c:f>
              <c:numCache>
                <c:formatCode>General</c:formatCode>
                <c:ptCount val="8"/>
                <c:pt idx="0">
                  <c:v>1.72</c:v>
                </c:pt>
                <c:pt idx="1">
                  <c:v>1.2070000000000001</c:v>
                </c:pt>
                <c:pt idx="2">
                  <c:v>0.58399999999999996</c:v>
                </c:pt>
                <c:pt idx="3">
                  <c:v>0.25</c:v>
                </c:pt>
                <c:pt idx="4">
                  <c:v>1.381</c:v>
                </c:pt>
                <c:pt idx="5">
                  <c:v>1.51</c:v>
                </c:pt>
                <c:pt idx="6">
                  <c:v>0.40699999999999997</c:v>
                </c:pt>
                <c:pt idx="7">
                  <c:v>1.5009999999999999</c:v>
                </c:pt>
              </c:numCache>
            </c:numRef>
          </c:yVal>
          <c:bubbleSize>
            <c:numRef>
              <c:f>Sheet1!$C$2:$C$9</c:f>
              <c:numCache>
                <c:formatCode>General</c:formatCode>
                <c:ptCount val="8"/>
                <c:pt idx="0">
                  <c:v>175304</c:v>
                </c:pt>
                <c:pt idx="1">
                  <c:v>113373</c:v>
                </c:pt>
                <c:pt idx="2">
                  <c:v>28606</c:v>
                </c:pt>
                <c:pt idx="3">
                  <c:v>23294</c:v>
                </c:pt>
                <c:pt idx="4">
                  <c:v>11874</c:v>
                </c:pt>
                <c:pt idx="5">
                  <c:v>9959</c:v>
                </c:pt>
                <c:pt idx="6">
                  <c:v>7485</c:v>
                </c:pt>
                <c:pt idx="7">
                  <c:v>7203</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Perrier Jouet</c:v>
                  </c:pt>
                  <c:pt idx="6">
                    <c:v>Laurent Perrier</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8"/>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5407DC-BFFC-4400-8902-86B23DD36F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480527-2A3C-48E7-B9A4-87A3038BAE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FB4B74-41DF-455D-B358-F9404861C8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D4FEF5-E83A-4D38-8BB1-E00BAB9A5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EDF79D-D4C2-4994-8C66-D6E11BDF41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C82FB2-E7DF-482A-840C-52184748E1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DB2AB8-EA93-473A-9618-BDBD0B9199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F5F5EE-4FA5-42CC-B78B-B758B0CADE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822</c:v>
                </c:pt>
                <c:pt idx="1">
                  <c:v>198.53919999999999</c:v>
                </c:pt>
                <c:pt idx="2">
                  <c:v>97.008700000000005</c:v>
                </c:pt>
                <c:pt idx="3">
                  <c:v>196.3896</c:v>
                </c:pt>
                <c:pt idx="4">
                  <c:v>37.771700000000003</c:v>
                </c:pt>
                <c:pt idx="5">
                  <c:v>285.23329999999999</c:v>
                </c:pt>
                <c:pt idx="6">
                  <c:v>66.152000000000001</c:v>
                </c:pt>
                <c:pt idx="7">
                  <c:v>259.58330000000001</c:v>
                </c:pt>
              </c:numCache>
            </c:numRef>
          </c:xVal>
          <c:yVal>
            <c:numRef>
              <c:f>Sheet1!$B$2:$B$9</c:f>
              <c:numCache>
                <c:formatCode>General</c:formatCode>
                <c:ptCount val="8"/>
                <c:pt idx="0">
                  <c:v>1.6060000000000001</c:v>
                </c:pt>
                <c:pt idx="1">
                  <c:v>1.056</c:v>
                </c:pt>
                <c:pt idx="2">
                  <c:v>0.55400000000000005</c:v>
                </c:pt>
                <c:pt idx="3">
                  <c:v>1.1890000000000001</c:v>
                </c:pt>
                <c:pt idx="4">
                  <c:v>0.23100000000000001</c:v>
                </c:pt>
                <c:pt idx="5">
                  <c:v>1.47</c:v>
                </c:pt>
                <c:pt idx="6">
                  <c:v>0.38400000000000001</c:v>
                </c:pt>
                <c:pt idx="7">
                  <c:v>1.3140000000000001</c:v>
                </c:pt>
              </c:numCache>
            </c:numRef>
          </c:yVal>
          <c:bubbleSize>
            <c:numRef>
              <c:f>Sheet1!$C$2:$C$9</c:f>
              <c:numCache>
                <c:formatCode>General</c:formatCode>
                <c:ptCount val="8"/>
                <c:pt idx="0">
                  <c:v>160961</c:v>
                </c:pt>
                <c:pt idx="1">
                  <c:v>60753</c:v>
                </c:pt>
                <c:pt idx="2">
                  <c:v>22215</c:v>
                </c:pt>
                <c:pt idx="3">
                  <c:v>15122</c:v>
                </c:pt>
                <c:pt idx="4">
                  <c:v>11747</c:v>
                </c:pt>
                <c:pt idx="5">
                  <c:v>8557</c:v>
                </c:pt>
                <c:pt idx="6">
                  <c:v>8269</c:v>
                </c:pt>
                <c:pt idx="7">
                  <c:v>311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Veuve Clicquot</c:v>
                  </c:pt>
                  <c:pt idx="4">
                    <c:v>Malard</c:v>
                  </c:pt>
                  <c:pt idx="5">
                    <c:v>Bollinger</c:v>
                  </c:pt>
                  <c:pt idx="6">
                    <c:v>Laurent Perrier</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2"/>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63691E9-555F-4C91-AF25-D9B3457441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7D111A3-128F-40B5-9730-69295F6D01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FB7AABA4-DE5D-4983-9A77-EC705012BF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B9F6079F-D2E0-4B45-B066-0D116DD671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51CDF0F-3BC6-4569-AA85-6D99D74A03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A12A53D-5D07-40FF-A538-D66EB5A683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8C664B4E-2933-4F03-A95D-CD90DB8D4C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4592045-680C-4BBD-A489-39FB2C1145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91199999999998</c:v>
                </c:pt>
                <c:pt idx="1">
                  <c:v>11.3607</c:v>
                </c:pt>
              </c:numCache>
            </c:numRef>
          </c:xVal>
          <c:yVal>
            <c:numRef>
              <c:f>Sheet1!$B$2:$B$3</c:f>
              <c:numCache>
                <c:formatCode>General</c:formatCode>
                <c:ptCount val="2"/>
                <c:pt idx="0">
                  <c:v>1.6819999999999999</c:v>
                </c:pt>
                <c:pt idx="1">
                  <c:v>0.64600000000000002</c:v>
                </c:pt>
              </c:numCache>
            </c:numRef>
          </c:yVal>
          <c:bubbleSize>
            <c:numRef>
              <c:f>Sheet1!$C$2:$C$3</c:f>
              <c:numCache>
                <c:formatCode>General</c:formatCode>
                <c:ptCount val="2"/>
                <c:pt idx="0">
                  <c:v>16493</c:v>
                </c:pt>
                <c:pt idx="1">
                  <c:v>995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4F3B7B-043A-49C4-96BF-2B9CACE3DA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09DF0C-59B6-4091-BF2A-18C05DA081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34FF9B-ED48-4F64-B061-3A7B24976E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877983-66E6-4324-8A27-99700550E3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2C6AFD-5DF9-4FC3-AD59-3F5830ECDF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AED68B-8A3E-4031-AA53-18F04FDFB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14D779-1E16-4106-A580-D0DABEA939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C179F2-28B9-4222-828B-54C79F3F69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61360000000002</c:v>
                </c:pt>
                <c:pt idx="1">
                  <c:v>157.7688</c:v>
                </c:pt>
                <c:pt idx="2">
                  <c:v>97.39</c:v>
                </c:pt>
                <c:pt idx="3">
                  <c:v>39.217599999999997</c:v>
                </c:pt>
                <c:pt idx="4">
                  <c:v>241.33330000000001</c:v>
                </c:pt>
                <c:pt idx="5">
                  <c:v>65.263900000000007</c:v>
                </c:pt>
                <c:pt idx="6">
                  <c:v>300.57139999999998</c:v>
                </c:pt>
                <c:pt idx="7">
                  <c:v>253.21430000000001</c:v>
                </c:pt>
              </c:numCache>
            </c:numRef>
          </c:xVal>
          <c:yVal>
            <c:numRef>
              <c:f>Sheet1!$B$2:$B$9</c:f>
              <c:numCache>
                <c:formatCode>General</c:formatCode>
                <c:ptCount val="8"/>
                <c:pt idx="0">
                  <c:v>1.825</c:v>
                </c:pt>
                <c:pt idx="1">
                  <c:v>0.94199999999999995</c:v>
                </c:pt>
                <c:pt idx="2">
                  <c:v>0.63200000000000001</c:v>
                </c:pt>
                <c:pt idx="3">
                  <c:v>0.26800000000000002</c:v>
                </c:pt>
                <c:pt idx="4">
                  <c:v>1.3640000000000001</c:v>
                </c:pt>
                <c:pt idx="5">
                  <c:v>0.432</c:v>
                </c:pt>
                <c:pt idx="6">
                  <c:v>1.754</c:v>
                </c:pt>
                <c:pt idx="7">
                  <c:v>1.4770000000000001</c:v>
                </c:pt>
              </c:numCache>
            </c:numRef>
          </c:yVal>
          <c:bubbleSize>
            <c:numRef>
              <c:f>Sheet1!$C$2:$C$9</c:f>
              <c:numCache>
                <c:formatCode>General</c:formatCode>
                <c:ptCount val="8"/>
                <c:pt idx="0">
                  <c:v>77471</c:v>
                </c:pt>
                <c:pt idx="1">
                  <c:v>27294</c:v>
                </c:pt>
                <c:pt idx="2">
                  <c:v>19478</c:v>
                </c:pt>
                <c:pt idx="3">
                  <c:v>7569</c:v>
                </c:pt>
                <c:pt idx="4">
                  <c:v>5792</c:v>
                </c:pt>
                <c:pt idx="5">
                  <c:v>4699</c:v>
                </c:pt>
                <c:pt idx="6">
                  <c:v>4208</c:v>
                </c:pt>
                <c:pt idx="7">
                  <c:v>354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iper Heidsieck</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1"/>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9A08CF-6BB5-4DC1-B1BA-CB6068A113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BF0608-BE39-43B6-BA0A-E889C9FBE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647C8F-3F59-452B-8468-1D26E8B6F0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19B3A7-5748-4AF9-AD00-47D1DAD46E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BE926D-2C81-45AE-8B4A-7698DAA377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CA1905-9D89-4090-A73F-33C9EED990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65B053-474E-4CD8-8AFC-03C6DEAE22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1C1D3C-B5FA-410E-AC36-DC63597003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2851</c:v>
                </c:pt>
                <c:pt idx="1">
                  <c:v>167.43950000000001</c:v>
                </c:pt>
                <c:pt idx="2">
                  <c:v>92.243399999999994</c:v>
                </c:pt>
                <c:pt idx="3">
                  <c:v>37.205300000000001</c:v>
                </c:pt>
                <c:pt idx="4">
                  <c:v>236.89070000000001</c:v>
                </c:pt>
                <c:pt idx="5">
                  <c:v>62.492800000000003</c:v>
                </c:pt>
                <c:pt idx="6">
                  <c:v>199.75</c:v>
                </c:pt>
                <c:pt idx="7">
                  <c:v>262.91759999999999</c:v>
                </c:pt>
              </c:numCache>
            </c:numRef>
          </c:xVal>
          <c:yVal>
            <c:numRef>
              <c:f>Sheet1!$B$2:$B$9</c:f>
              <c:numCache>
                <c:formatCode>General</c:formatCode>
                <c:ptCount val="8"/>
                <c:pt idx="0">
                  <c:v>1.927</c:v>
                </c:pt>
                <c:pt idx="1">
                  <c:v>1.2230000000000001</c:v>
                </c:pt>
                <c:pt idx="2">
                  <c:v>0.68899999999999995</c:v>
                </c:pt>
                <c:pt idx="3">
                  <c:v>0.27700000000000002</c:v>
                </c:pt>
                <c:pt idx="4">
                  <c:v>1.69</c:v>
                </c:pt>
                <c:pt idx="5">
                  <c:v>0.46300000000000002</c:v>
                </c:pt>
                <c:pt idx="6">
                  <c:v>1.421</c:v>
                </c:pt>
                <c:pt idx="7">
                  <c:v>1.605</c:v>
                </c:pt>
              </c:numCache>
            </c:numRef>
          </c:yVal>
          <c:bubbleSize>
            <c:numRef>
              <c:f>Sheet1!$C$2:$C$9</c:f>
              <c:numCache>
                <c:formatCode>General</c:formatCode>
                <c:ptCount val="8"/>
                <c:pt idx="0">
                  <c:v>723853</c:v>
                </c:pt>
                <c:pt idx="1">
                  <c:v>455603</c:v>
                </c:pt>
                <c:pt idx="2">
                  <c:v>160319</c:v>
                </c:pt>
                <c:pt idx="3">
                  <c:v>138478</c:v>
                </c:pt>
                <c:pt idx="4">
                  <c:v>58512</c:v>
                </c:pt>
                <c:pt idx="5">
                  <c:v>51869</c:v>
                </c:pt>
                <c:pt idx="6">
                  <c:v>31960</c:v>
                </c:pt>
                <c:pt idx="7">
                  <c:v>2234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Veuve Clicquot</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6"/>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27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6F2D8E-1D56-44C2-8A3B-832DD6B044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6C2B64-2FF5-4753-A69E-A74EB7D304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AECF4E-485F-4A5F-A582-CE26DCFEDF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194A1D-B1D2-44C0-8E20-7111CDF378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08DB4C-5047-43F3-8D0C-5FCC03820D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6B8160-BD13-4500-8394-62BCC2BF8B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668DC7-2ABB-4098-ABC2-2AE0623734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E6B0F5-0012-4E57-BF40-8624ED0EFE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8048</c:v>
                </c:pt>
                <c:pt idx="1">
                  <c:v>204.5564</c:v>
                </c:pt>
                <c:pt idx="2">
                  <c:v>96.085800000000006</c:v>
                </c:pt>
                <c:pt idx="3">
                  <c:v>37.682400000000001</c:v>
                </c:pt>
                <c:pt idx="4">
                  <c:v>264.74290000000002</c:v>
                </c:pt>
                <c:pt idx="5">
                  <c:v>245.7576</c:v>
                </c:pt>
                <c:pt idx="6">
                  <c:v>274.2593</c:v>
                </c:pt>
                <c:pt idx="7">
                  <c:v>65.481899999999996</c:v>
                </c:pt>
              </c:numCache>
            </c:numRef>
          </c:xVal>
          <c:yVal>
            <c:numRef>
              <c:f>Sheet1!$B$2:$B$9</c:f>
              <c:numCache>
                <c:formatCode>General</c:formatCode>
                <c:ptCount val="8"/>
                <c:pt idx="0">
                  <c:v>1.5309999999999999</c:v>
                </c:pt>
                <c:pt idx="1">
                  <c:v>1.1220000000000001</c:v>
                </c:pt>
                <c:pt idx="2">
                  <c:v>0.52200000000000002</c:v>
                </c:pt>
                <c:pt idx="3">
                  <c:v>0.219</c:v>
                </c:pt>
                <c:pt idx="4">
                  <c:v>1.327</c:v>
                </c:pt>
                <c:pt idx="5">
                  <c:v>1.2</c:v>
                </c:pt>
                <c:pt idx="6">
                  <c:v>1.3149999999999999</c:v>
                </c:pt>
                <c:pt idx="7">
                  <c:v>0.35</c:v>
                </c:pt>
              </c:numCache>
            </c:numRef>
          </c:yVal>
          <c:bubbleSize>
            <c:numRef>
              <c:f>Sheet1!$C$2:$C$9</c:f>
              <c:numCache>
                <c:formatCode>General</c:formatCode>
                <c:ptCount val="8"/>
                <c:pt idx="0">
                  <c:v>179697</c:v>
                </c:pt>
                <c:pt idx="1">
                  <c:v>81618</c:v>
                </c:pt>
                <c:pt idx="2">
                  <c:v>25751</c:v>
                </c:pt>
                <c:pt idx="3">
                  <c:v>11983</c:v>
                </c:pt>
                <c:pt idx="4">
                  <c:v>9266</c:v>
                </c:pt>
                <c:pt idx="5">
                  <c:v>8110</c:v>
                </c:pt>
                <c:pt idx="6">
                  <c:v>7405</c:v>
                </c:pt>
                <c:pt idx="7">
                  <c:v>543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Perrier Jouet</c:v>
                  </c:pt>
                  <c:pt idx="5">
                    <c:v>Bollinger</c:v>
                  </c:pt>
                  <c:pt idx="6">
                    <c:v>Piper Heidsieck</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3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1A895A-0A1B-4C2B-8024-640E2F2F0D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EE05D6-6FC7-4E94-8D87-0AF69A5027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5E0F3F-7E21-42C6-8106-ADB2E0596C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99D4CD-C0BD-4AAF-8539-E2FE15AAD7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08E1F3-A164-4A03-94D2-1545BD8A48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B6AE51-A297-4739-B13F-5F8B689750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014386-8A1B-417C-B71D-98FDB54DFE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975A25-2C87-4F82-B476-8E9AE08228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70.98680000000002</c:v>
                </c:pt>
                <c:pt idx="1">
                  <c:v>161.57050000000001</c:v>
                </c:pt>
                <c:pt idx="2">
                  <c:v>98.010900000000007</c:v>
                </c:pt>
                <c:pt idx="3">
                  <c:v>38.633200000000002</c:v>
                </c:pt>
                <c:pt idx="4">
                  <c:v>65.814800000000005</c:v>
                </c:pt>
                <c:pt idx="5">
                  <c:v>307.44439999999997</c:v>
                </c:pt>
                <c:pt idx="6">
                  <c:v>272.39999999999998</c:v>
                </c:pt>
                <c:pt idx="7">
                  <c:v>235.4545</c:v>
                </c:pt>
              </c:numCache>
            </c:numRef>
          </c:xVal>
          <c:yVal>
            <c:numRef>
              <c:f>Sheet1!$B$2:$B$9</c:f>
              <c:numCache>
                <c:formatCode>General</c:formatCode>
                <c:ptCount val="8"/>
                <c:pt idx="0">
                  <c:v>1.8819999999999999</c:v>
                </c:pt>
                <c:pt idx="1">
                  <c:v>0.99099999999999999</c:v>
                </c:pt>
                <c:pt idx="2">
                  <c:v>0.61799999999999999</c:v>
                </c:pt>
                <c:pt idx="3">
                  <c:v>0.27</c:v>
                </c:pt>
                <c:pt idx="4">
                  <c:v>0.41899999999999998</c:v>
                </c:pt>
                <c:pt idx="5">
                  <c:v>1.849</c:v>
                </c:pt>
                <c:pt idx="6">
                  <c:v>1.456</c:v>
                </c:pt>
                <c:pt idx="7">
                  <c:v>1.3839999999999999</c:v>
                </c:pt>
              </c:numCache>
            </c:numRef>
          </c:yVal>
          <c:bubbleSize>
            <c:numRef>
              <c:f>Sheet1!$C$2:$C$9</c:f>
              <c:numCache>
                <c:formatCode>General</c:formatCode>
                <c:ptCount val="8"/>
                <c:pt idx="0">
                  <c:v>82380</c:v>
                </c:pt>
                <c:pt idx="1">
                  <c:v>25205</c:v>
                </c:pt>
                <c:pt idx="2">
                  <c:v>17936</c:v>
                </c:pt>
                <c:pt idx="3">
                  <c:v>8847</c:v>
                </c:pt>
                <c:pt idx="4">
                  <c:v>5331</c:v>
                </c:pt>
                <c:pt idx="5">
                  <c:v>2767</c:v>
                </c:pt>
                <c:pt idx="6">
                  <c:v>2724</c:v>
                </c:pt>
                <c:pt idx="7">
                  <c:v>2590</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Pommery</c:v>
                  </c:pt>
                  <c:pt idx="6">
                    <c:v>Piper Heidsieck</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9"/>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9F0B85-8BBD-4320-9148-A7E0B94520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F0CC50-A908-445E-8C6D-2DF06F4DCB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727326-7ADE-487C-860E-B745A9E343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951251-B25B-4BE1-908E-F7DBC16C64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CD063E-9A25-4254-80A5-6327BDC7E2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6B57BB-9710-40B7-A360-386AEEA43B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CCCF87-CDC1-46FC-BF17-F3BCDE4BCD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70F712-679E-47C3-BD76-C23625F078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9.46550000000002</c:v>
                </c:pt>
                <c:pt idx="1">
                  <c:v>208.47620000000001</c:v>
                </c:pt>
                <c:pt idx="2">
                  <c:v>104.5789</c:v>
                </c:pt>
                <c:pt idx="3">
                  <c:v>39.538499999999999</c:v>
                </c:pt>
                <c:pt idx="4">
                  <c:v>68.75</c:v>
                </c:pt>
                <c:pt idx="5">
                  <c:v>236</c:v>
                </c:pt>
                <c:pt idx="6">
                  <c:v>198.57140000000001</c:v>
                </c:pt>
                <c:pt idx="7">
                  <c:v>246.25</c:v>
                </c:pt>
              </c:numCache>
            </c:numRef>
          </c:xVal>
          <c:yVal>
            <c:numRef>
              <c:f>Sheet1!$B$2:$B$9</c:f>
              <c:numCache>
                <c:formatCode>General</c:formatCode>
                <c:ptCount val="8"/>
                <c:pt idx="0">
                  <c:v>1.758</c:v>
                </c:pt>
                <c:pt idx="1">
                  <c:v>1.24</c:v>
                </c:pt>
                <c:pt idx="2">
                  <c:v>0.58399999999999996</c:v>
                </c:pt>
                <c:pt idx="3">
                  <c:v>0.26100000000000001</c:v>
                </c:pt>
                <c:pt idx="4">
                  <c:v>0.443</c:v>
                </c:pt>
                <c:pt idx="5">
                  <c:v>1.248</c:v>
                </c:pt>
                <c:pt idx="6">
                  <c:v>1.2250000000000001</c:v>
                </c:pt>
                <c:pt idx="7">
                  <c:v>1.302</c:v>
                </c:pt>
              </c:numCache>
            </c:numRef>
          </c:yVal>
          <c:bubbleSize>
            <c:numRef>
              <c:f>Sheet1!$C$2:$C$9</c:f>
              <c:numCache>
                <c:formatCode>General</c:formatCode>
                <c:ptCount val="8"/>
                <c:pt idx="0">
                  <c:v>31258</c:v>
                </c:pt>
                <c:pt idx="1">
                  <c:v>13134</c:v>
                </c:pt>
                <c:pt idx="2">
                  <c:v>5961</c:v>
                </c:pt>
                <c:pt idx="3">
                  <c:v>3598</c:v>
                </c:pt>
                <c:pt idx="4">
                  <c:v>1925</c:v>
                </c:pt>
                <c:pt idx="5">
                  <c:v>1652</c:v>
                </c:pt>
                <c:pt idx="6">
                  <c:v>1390</c:v>
                </c:pt>
                <c:pt idx="7">
                  <c:v>985</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Bollinger</c:v>
                  </c:pt>
                  <c:pt idx="6">
                    <c:v>Pommery</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3"/>
          <c:min val="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5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A6EE95-FC20-45DA-B637-F8E5E5226B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98D7D3-2F57-4327-A0BB-806E344B56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ACD3C4-1852-4B73-9896-1D5B7F9D9E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5A9C15-118A-484A-958E-866BB5033B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0EB761-5C7C-42A8-8C4F-71693752CC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382E17-A5A6-4DFC-92CA-7FC5056FE0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A4EB1B-A1B5-4A4C-9E03-50B6D2DB8C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1A013A-E569-4662-A5A5-49E568278B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84.45569999999998</c:v>
                </c:pt>
                <c:pt idx="1">
                  <c:v>146.87</c:v>
                </c:pt>
                <c:pt idx="2">
                  <c:v>98.268699999999995</c:v>
                </c:pt>
                <c:pt idx="3">
                  <c:v>38.807899999999997</c:v>
                </c:pt>
                <c:pt idx="4">
                  <c:v>255.3158</c:v>
                </c:pt>
                <c:pt idx="5">
                  <c:v>67.7</c:v>
                </c:pt>
                <c:pt idx="6">
                  <c:v>218.27269999999999</c:v>
                </c:pt>
                <c:pt idx="7">
                  <c:v>341.1429</c:v>
                </c:pt>
              </c:numCache>
            </c:numRef>
          </c:xVal>
          <c:yVal>
            <c:numRef>
              <c:f>Sheet1!$B$2:$B$9</c:f>
              <c:numCache>
                <c:formatCode>General</c:formatCode>
                <c:ptCount val="8"/>
                <c:pt idx="0">
                  <c:v>2.2229999999999999</c:v>
                </c:pt>
                <c:pt idx="1">
                  <c:v>1.105</c:v>
                </c:pt>
                <c:pt idx="2">
                  <c:v>0.78600000000000003</c:v>
                </c:pt>
                <c:pt idx="3">
                  <c:v>0.34100000000000003</c:v>
                </c:pt>
                <c:pt idx="4">
                  <c:v>1.976</c:v>
                </c:pt>
                <c:pt idx="5">
                  <c:v>0.52100000000000002</c:v>
                </c:pt>
                <c:pt idx="6">
                  <c:v>1.5109999999999999</c:v>
                </c:pt>
                <c:pt idx="7">
                  <c:v>2.3620000000000001</c:v>
                </c:pt>
              </c:numCache>
            </c:numRef>
          </c:yVal>
          <c:bubbleSize>
            <c:numRef>
              <c:f>Sheet1!$C$2:$C$9</c:f>
              <c:numCache>
                <c:formatCode>General</c:formatCode>
                <c:ptCount val="8"/>
                <c:pt idx="0">
                  <c:v>22472</c:v>
                </c:pt>
                <c:pt idx="1">
                  <c:v>14687</c:v>
                </c:pt>
                <c:pt idx="2">
                  <c:v>6584</c:v>
                </c:pt>
                <c:pt idx="3">
                  <c:v>5860</c:v>
                </c:pt>
                <c:pt idx="4">
                  <c:v>4851</c:v>
                </c:pt>
                <c:pt idx="5">
                  <c:v>2708</c:v>
                </c:pt>
                <c:pt idx="6">
                  <c:v>2401</c:v>
                </c:pt>
                <c:pt idx="7">
                  <c:v>238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errier Jouet</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9"/>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5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C5DD8A-381A-4308-B04E-B2E5DD724E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4F9F9F-E761-4297-99E9-F0854D838C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B072E3-C57A-4FC6-9BBA-CB6F380B3C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ED78FE-E279-47FA-A668-9390BDEB06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47146A-967C-4CED-9F17-615DD2092E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1FF911-7634-41F9-BBC8-8BAFEFA7F1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3CB6FA-3E21-41EA-8ABD-2AD6380147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884133F-6FA7-4BA8-BCD9-BC3E4AAAB9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32530000000003</c:v>
                </c:pt>
                <c:pt idx="1">
                  <c:v>184.5984</c:v>
                </c:pt>
                <c:pt idx="2">
                  <c:v>92.714600000000004</c:v>
                </c:pt>
                <c:pt idx="3">
                  <c:v>37.124699999999997</c:v>
                </c:pt>
                <c:pt idx="4">
                  <c:v>62.449199999999998</c:v>
                </c:pt>
                <c:pt idx="5">
                  <c:v>207.6866</c:v>
                </c:pt>
                <c:pt idx="6">
                  <c:v>240.72479999999999</c:v>
                </c:pt>
                <c:pt idx="7">
                  <c:v>254.5325</c:v>
                </c:pt>
              </c:numCache>
            </c:numRef>
          </c:xVal>
          <c:yVal>
            <c:numRef>
              <c:f>Sheet1!$B$2:$B$9</c:f>
              <c:numCache>
                <c:formatCode>General</c:formatCode>
                <c:ptCount val="8"/>
                <c:pt idx="0">
                  <c:v>1.6719999999999999</c:v>
                </c:pt>
                <c:pt idx="1">
                  <c:v>1.1439999999999999</c:v>
                </c:pt>
                <c:pt idx="2">
                  <c:v>0.59399999999999997</c:v>
                </c:pt>
                <c:pt idx="3">
                  <c:v>0.23799999999999999</c:v>
                </c:pt>
                <c:pt idx="4">
                  <c:v>0.4</c:v>
                </c:pt>
                <c:pt idx="5">
                  <c:v>1.2609999999999999</c:v>
                </c:pt>
                <c:pt idx="6">
                  <c:v>1.355</c:v>
                </c:pt>
                <c:pt idx="7">
                  <c:v>1.3640000000000001</c:v>
                </c:pt>
              </c:numCache>
            </c:numRef>
          </c:yVal>
          <c:bubbleSize>
            <c:numRef>
              <c:f>Sheet1!$C$2:$C$9</c:f>
              <c:numCache>
                <c:formatCode>General</c:formatCode>
                <c:ptCount val="8"/>
                <c:pt idx="0">
                  <c:v>483688</c:v>
                </c:pt>
                <c:pt idx="1">
                  <c:v>271175</c:v>
                </c:pt>
                <c:pt idx="2">
                  <c:v>72781</c:v>
                </c:pt>
                <c:pt idx="3">
                  <c:v>47037</c:v>
                </c:pt>
                <c:pt idx="4">
                  <c:v>29476</c:v>
                </c:pt>
                <c:pt idx="5">
                  <c:v>27830</c:v>
                </c:pt>
                <c:pt idx="6">
                  <c:v>26239</c:v>
                </c:pt>
                <c:pt idx="7">
                  <c:v>19599</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Veuve Clicquot</c:v>
                  </c:pt>
                  <c:pt idx="6">
                    <c:v>Bollinger</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8E32F28-6294-44B7-8F38-EA36E77806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6E23A8-67C8-43A3-A397-D25701FAF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D9D057-0E70-42A9-92B3-AE6051508A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E0A2F4-6AE3-4C15-8C45-E63C6E70C0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45809E-F904-420B-9D44-659CDA7F58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107F16-E263-45CD-B3EE-96D500A34D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37C30C-15A8-4A11-90CE-8E15E0BE50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B864EF1-9035-47EC-BBE0-BA8D4A13EF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1.13850000000002</c:v>
                </c:pt>
                <c:pt idx="1">
                  <c:v>156.18090000000001</c:v>
                </c:pt>
                <c:pt idx="2">
                  <c:v>94.739800000000002</c:v>
                </c:pt>
                <c:pt idx="3">
                  <c:v>37.572499999999998</c:v>
                </c:pt>
                <c:pt idx="4">
                  <c:v>64.150199999999998</c:v>
                </c:pt>
                <c:pt idx="5">
                  <c:v>278.46809999999999</c:v>
                </c:pt>
                <c:pt idx="6">
                  <c:v>286.47370000000001</c:v>
                </c:pt>
              </c:numCache>
            </c:numRef>
          </c:xVal>
          <c:yVal>
            <c:numRef>
              <c:f>Sheet1!$B$2:$B$8</c:f>
              <c:numCache>
                <c:formatCode>General</c:formatCode>
                <c:ptCount val="7"/>
                <c:pt idx="0">
                  <c:v>1.9730000000000001</c:v>
                </c:pt>
                <c:pt idx="1">
                  <c:v>1.111</c:v>
                </c:pt>
                <c:pt idx="2">
                  <c:v>0.69399999999999995</c:v>
                </c:pt>
                <c:pt idx="3">
                  <c:v>0.29199999999999998</c:v>
                </c:pt>
                <c:pt idx="4">
                  <c:v>0.48899999999999999</c:v>
                </c:pt>
                <c:pt idx="5">
                  <c:v>1.802</c:v>
                </c:pt>
                <c:pt idx="6">
                  <c:v>1.9670000000000001</c:v>
                </c:pt>
              </c:numCache>
            </c:numRef>
          </c:yVal>
          <c:bubbleSize>
            <c:numRef>
              <c:f>Sheet1!$C$2:$C$8</c:f>
              <c:numCache>
                <c:formatCode>General</c:formatCode>
                <c:ptCount val="7"/>
                <c:pt idx="0">
                  <c:v>147021</c:v>
                </c:pt>
                <c:pt idx="1">
                  <c:v>76841</c:v>
                </c:pt>
                <c:pt idx="2">
                  <c:v>30222</c:v>
                </c:pt>
                <c:pt idx="3">
                  <c:v>25662</c:v>
                </c:pt>
                <c:pt idx="4">
                  <c:v>16230</c:v>
                </c:pt>
                <c:pt idx="5">
                  <c:v>13088</c:v>
                </c:pt>
                <c:pt idx="6">
                  <c:v>5443</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Bollinger</c:v>
                  </c:pt>
                  <c:pt idx="6">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4"/>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2A0B74-8B15-43BB-A7A7-49B103F7A1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4D0CF8-D3C1-4A1B-A1C8-ABFAE02D28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108806-A88B-41FD-8965-53EE000291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F9DABC-1F5F-4573-979D-F90C40B860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B134D2-3C25-4AE5-B25D-4475F98995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8A1231-D683-4BF6-B706-BECA14E856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E3ABBA-F884-41FE-B13C-491F6D8B25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94528F-8083-44E0-A641-096814FEC5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51639999999998</c:v>
                </c:pt>
                <c:pt idx="1">
                  <c:v>165.85769999999999</c:v>
                </c:pt>
                <c:pt idx="2">
                  <c:v>94.170299999999997</c:v>
                </c:pt>
                <c:pt idx="3">
                  <c:v>37.135100000000001</c:v>
                </c:pt>
                <c:pt idx="4">
                  <c:v>271.21949999999998</c:v>
                </c:pt>
                <c:pt idx="5">
                  <c:v>227.80430000000001</c:v>
                </c:pt>
                <c:pt idx="6">
                  <c:v>64.681399999999996</c:v>
                </c:pt>
                <c:pt idx="7">
                  <c:v>232.8065</c:v>
                </c:pt>
              </c:numCache>
            </c:numRef>
          </c:xVal>
          <c:yVal>
            <c:numRef>
              <c:f>Sheet1!$B$2:$B$9</c:f>
              <c:numCache>
                <c:formatCode>General</c:formatCode>
                <c:ptCount val="8"/>
                <c:pt idx="0">
                  <c:v>1.883</c:v>
                </c:pt>
                <c:pt idx="1">
                  <c:v>1.165</c:v>
                </c:pt>
                <c:pt idx="2">
                  <c:v>0.68300000000000005</c:v>
                </c:pt>
                <c:pt idx="3">
                  <c:v>0.27300000000000002</c:v>
                </c:pt>
                <c:pt idx="4">
                  <c:v>1.6559999999999999</c:v>
                </c:pt>
                <c:pt idx="5">
                  <c:v>1.375</c:v>
                </c:pt>
                <c:pt idx="6">
                  <c:v>0.46300000000000002</c:v>
                </c:pt>
                <c:pt idx="7">
                  <c:v>1.5289999999999999</c:v>
                </c:pt>
              </c:numCache>
            </c:numRef>
          </c:yVal>
          <c:bubbleSize>
            <c:numRef>
              <c:f>Sheet1!$C$2:$C$9</c:f>
              <c:numCache>
                <c:formatCode>General</c:formatCode>
                <c:ptCount val="8"/>
                <c:pt idx="0">
                  <c:v>222481</c:v>
                </c:pt>
                <c:pt idx="1">
                  <c:v>129369</c:v>
                </c:pt>
                <c:pt idx="2">
                  <c:v>59704</c:v>
                </c:pt>
                <c:pt idx="3">
                  <c:v>37655</c:v>
                </c:pt>
                <c:pt idx="4">
                  <c:v>11120</c:v>
                </c:pt>
                <c:pt idx="5">
                  <c:v>10479</c:v>
                </c:pt>
                <c:pt idx="6">
                  <c:v>7309</c:v>
                </c:pt>
                <c:pt idx="7">
                  <c:v>7217</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Piper Heidsieck</c:v>
                  </c:pt>
                  <c:pt idx="5">
                    <c:v>Bollinger</c:v>
                  </c:pt>
                  <c:pt idx="6">
                    <c:v>Laurent Perrier</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3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035B24-9547-4746-A990-437DCF435A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4A4C3E-C4D4-44CC-A403-D08FC9CDD3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346C9D-95FF-4FA9-9E10-AEF2D66E28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B90334-64E2-4A72-B2BF-1BE76B6248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C24A4A8-7691-4E92-B501-16CA30ED8E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D83A95-A375-41D4-89A7-DEE887E9CF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8D4CD2-A7CE-4CA9-B795-F93607E29F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AEFFEE-0683-4E04-BF9D-A0291E113A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88659999999999</c:v>
                </c:pt>
                <c:pt idx="1">
                  <c:v>168.5444</c:v>
                </c:pt>
                <c:pt idx="2">
                  <c:v>93.754300000000001</c:v>
                </c:pt>
                <c:pt idx="3">
                  <c:v>37.530099999999997</c:v>
                </c:pt>
                <c:pt idx="4">
                  <c:v>229.54740000000001</c:v>
                </c:pt>
                <c:pt idx="5">
                  <c:v>65.619699999999995</c:v>
                </c:pt>
                <c:pt idx="6">
                  <c:v>241.26089999999999</c:v>
                </c:pt>
                <c:pt idx="7">
                  <c:v>304</c:v>
                </c:pt>
              </c:numCache>
            </c:numRef>
          </c:xVal>
          <c:yVal>
            <c:numRef>
              <c:f>Sheet1!$B$2:$B$9</c:f>
              <c:numCache>
                <c:formatCode>General</c:formatCode>
                <c:ptCount val="8"/>
                <c:pt idx="0">
                  <c:v>2.0529999999999999</c:v>
                </c:pt>
                <c:pt idx="1">
                  <c:v>1.206</c:v>
                </c:pt>
                <c:pt idx="2">
                  <c:v>0.71</c:v>
                </c:pt>
                <c:pt idx="3">
                  <c:v>0.29499999999999998</c:v>
                </c:pt>
                <c:pt idx="4">
                  <c:v>1.6319999999999999</c:v>
                </c:pt>
                <c:pt idx="5">
                  <c:v>0.48799999999999999</c:v>
                </c:pt>
                <c:pt idx="6">
                  <c:v>1.492</c:v>
                </c:pt>
                <c:pt idx="7">
                  <c:v>1.798</c:v>
                </c:pt>
              </c:numCache>
            </c:numRef>
          </c:yVal>
          <c:bubbleSize>
            <c:numRef>
              <c:f>Sheet1!$C$2:$C$9</c:f>
              <c:numCache>
                <c:formatCode>General</c:formatCode>
                <c:ptCount val="8"/>
                <c:pt idx="0">
                  <c:v>150634</c:v>
                </c:pt>
                <c:pt idx="1">
                  <c:v>87306</c:v>
                </c:pt>
                <c:pt idx="2">
                  <c:v>43127</c:v>
                </c:pt>
                <c:pt idx="3">
                  <c:v>33627</c:v>
                </c:pt>
                <c:pt idx="4">
                  <c:v>21807</c:v>
                </c:pt>
                <c:pt idx="5">
                  <c:v>9318</c:v>
                </c:pt>
                <c:pt idx="6">
                  <c:v>5549</c:v>
                </c:pt>
                <c:pt idx="7">
                  <c:v>516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ommery</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5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147C9F-1BCA-4585-A079-DA83E06427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2B3002-4AA6-40DB-8F32-57251D92B8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D60655-B90D-450D-8A38-CF1870F88E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C95041-6F23-4F3B-A123-F2874B1D5F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6F3336-A1CE-4655-8487-A2A05AC00F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35EF3A-08E0-44AD-918F-F20DD9FEE0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C9205D-F10B-44C0-A126-2BA88703A2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65D92CE-8F5B-408A-AE42-91D9EB883A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32299999999995</c:v>
                </c:pt>
                <c:pt idx="1">
                  <c:v>23.5748</c:v>
                </c:pt>
                <c:pt idx="2">
                  <c:v>49.180500000000002</c:v>
                </c:pt>
                <c:pt idx="3">
                  <c:v>51.747599999999998</c:v>
                </c:pt>
                <c:pt idx="4">
                  <c:v>31.525200000000002</c:v>
                </c:pt>
                <c:pt idx="5">
                  <c:v>32.7211</c:v>
                </c:pt>
                <c:pt idx="6">
                  <c:v>79.0989</c:v>
                </c:pt>
                <c:pt idx="7">
                  <c:v>29.301100000000002</c:v>
                </c:pt>
              </c:numCache>
            </c:numRef>
          </c:xVal>
          <c:yVal>
            <c:numRef>
              <c:f>Sheet1!$B$2:$B$9</c:f>
              <c:numCache>
                <c:formatCode>General</c:formatCode>
                <c:ptCount val="8"/>
                <c:pt idx="0">
                  <c:v>1.591</c:v>
                </c:pt>
                <c:pt idx="1">
                  <c:v>0.54900000000000004</c:v>
                </c:pt>
                <c:pt idx="2">
                  <c:v>1.1259999999999999</c:v>
                </c:pt>
                <c:pt idx="3">
                  <c:v>1.0820000000000001</c:v>
                </c:pt>
                <c:pt idx="4">
                  <c:v>0.72899999999999998</c:v>
                </c:pt>
                <c:pt idx="5">
                  <c:v>0.74199999999999999</c:v>
                </c:pt>
                <c:pt idx="6">
                  <c:v>1.8560000000000001</c:v>
                </c:pt>
                <c:pt idx="7">
                  <c:v>0.67700000000000005</c:v>
                </c:pt>
              </c:numCache>
            </c:numRef>
          </c:yVal>
          <c:bubbleSize>
            <c:numRef>
              <c:f>Sheet1!$C$2:$C$9</c:f>
              <c:numCache>
                <c:formatCode>General</c:formatCode>
                <c:ptCount val="8"/>
                <c:pt idx="0">
                  <c:v>10761127</c:v>
                </c:pt>
                <c:pt idx="1">
                  <c:v>3788985</c:v>
                </c:pt>
                <c:pt idx="2">
                  <c:v>3461768</c:v>
                </c:pt>
                <c:pt idx="3">
                  <c:v>2407818</c:v>
                </c:pt>
                <c:pt idx="4">
                  <c:v>2351274</c:v>
                </c:pt>
                <c:pt idx="5">
                  <c:v>1672046</c:v>
                </c:pt>
                <c:pt idx="6">
                  <c:v>1436753</c:v>
                </c:pt>
                <c:pt idx="7">
                  <c:v>13914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Roederer</c:v>
                  </c:pt>
                  <c:pt idx="7">
                    <c:v>Heidsieck &amp; Co Monopo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5"/>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78DF1B-0562-409D-B7EE-776C80D8F0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71FD52-7B48-4D7A-862C-8D708EDE9A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23E9C8-3A30-46C6-9EDC-E03C8A5E18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2E20AF-204C-4229-A207-87C1D493E1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98E46C-8C81-4F78-A6AE-0427EC94C4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B35D74-3D1C-48F6-BC43-8B610704D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5B865B-DCAD-4127-A46F-7E3057BBF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041F92-2675-49CE-956A-650C130D0A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2.78809999999999</c:v>
                </c:pt>
                <c:pt idx="1">
                  <c:v>155.79660000000001</c:v>
                </c:pt>
                <c:pt idx="2">
                  <c:v>37.944800000000001</c:v>
                </c:pt>
                <c:pt idx="3">
                  <c:v>93.186499999999995</c:v>
                </c:pt>
                <c:pt idx="4">
                  <c:v>66.116100000000003</c:v>
                </c:pt>
                <c:pt idx="5">
                  <c:v>242.03229999999999</c:v>
                </c:pt>
                <c:pt idx="6">
                  <c:v>241.36840000000001</c:v>
                </c:pt>
                <c:pt idx="7">
                  <c:v>255.86670000000001</c:v>
                </c:pt>
              </c:numCache>
            </c:numRef>
          </c:xVal>
          <c:yVal>
            <c:numRef>
              <c:f>Sheet1!$B$2:$B$9</c:f>
              <c:numCache>
                <c:formatCode>General</c:formatCode>
                <c:ptCount val="8"/>
                <c:pt idx="0">
                  <c:v>2.42</c:v>
                </c:pt>
                <c:pt idx="1">
                  <c:v>1.2869999999999999</c:v>
                </c:pt>
                <c:pt idx="2">
                  <c:v>0.35899999999999999</c:v>
                </c:pt>
                <c:pt idx="3">
                  <c:v>0.82199999999999995</c:v>
                </c:pt>
                <c:pt idx="4">
                  <c:v>0.58199999999999996</c:v>
                </c:pt>
                <c:pt idx="5">
                  <c:v>1.9179999999999999</c:v>
                </c:pt>
                <c:pt idx="6">
                  <c:v>1.8240000000000001</c:v>
                </c:pt>
                <c:pt idx="7">
                  <c:v>1.8320000000000001</c:v>
                </c:pt>
              </c:numCache>
            </c:numRef>
          </c:yVal>
          <c:bubbleSize>
            <c:numRef>
              <c:f>Sheet1!$C$2:$C$9</c:f>
              <c:numCache>
                <c:formatCode>General</c:formatCode>
                <c:ptCount val="8"/>
                <c:pt idx="0">
                  <c:v>124036</c:v>
                </c:pt>
                <c:pt idx="1">
                  <c:v>64344</c:v>
                </c:pt>
                <c:pt idx="2">
                  <c:v>45344</c:v>
                </c:pt>
                <c:pt idx="3">
                  <c:v>41468</c:v>
                </c:pt>
                <c:pt idx="4">
                  <c:v>10248</c:v>
                </c:pt>
                <c:pt idx="5">
                  <c:v>7503</c:v>
                </c:pt>
                <c:pt idx="6">
                  <c:v>4586</c:v>
                </c:pt>
                <c:pt idx="7">
                  <c:v>3838</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Malard</c:v>
                  </c:pt>
                  <c:pt idx="3">
                    <c:v>Ruinart</c:v>
                  </c:pt>
                  <c:pt idx="4">
                    <c:v>Laurent Perrier</c:v>
                  </c:pt>
                  <c:pt idx="5">
                    <c:v>Bollinger</c:v>
                  </c:pt>
                  <c:pt idx="6">
                    <c:v>Piper Heidsieck</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6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636F46-4BD2-43BB-B6D0-A10A557BE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D51C94-E96C-4D41-9F18-657EF206BD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A644E0-376E-4C1E-9FD9-25D42497F4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4E7E1F-33DB-4686-B278-F82E8EFE19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5A834E-1BCA-4227-B8A0-EC370D4549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7A931F-93EE-439F-B19D-D3B3840CB8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74C3CA-4CC1-41FE-BB68-AC366BE75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7B8C13-C9E0-4272-82E0-8AC24EE80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27399999999999</c:v>
                </c:pt>
                <c:pt idx="1">
                  <c:v>30.6629</c:v>
                </c:pt>
                <c:pt idx="2">
                  <c:v>28.646999999999998</c:v>
                </c:pt>
                <c:pt idx="3">
                  <c:v>31.494800000000001</c:v>
                </c:pt>
                <c:pt idx="4">
                  <c:v>36.527700000000003</c:v>
                </c:pt>
                <c:pt idx="5">
                  <c:v>90.745199999999997</c:v>
                </c:pt>
                <c:pt idx="6">
                  <c:v>50.264200000000002</c:v>
                </c:pt>
                <c:pt idx="7">
                  <c:v>26.5242</c:v>
                </c:pt>
              </c:numCache>
            </c:numRef>
          </c:xVal>
          <c:yVal>
            <c:numRef>
              <c:f>Sheet1!$B$2:$B$9</c:f>
              <c:numCache>
                <c:formatCode>General</c:formatCode>
                <c:ptCount val="8"/>
                <c:pt idx="0">
                  <c:v>0.94799999999999995</c:v>
                </c:pt>
                <c:pt idx="1">
                  <c:v>0.95299999999999996</c:v>
                </c:pt>
                <c:pt idx="2">
                  <c:v>0.90800000000000003</c:v>
                </c:pt>
                <c:pt idx="3">
                  <c:v>0.98499999999999999</c:v>
                </c:pt>
                <c:pt idx="4">
                  <c:v>1.1579999999999999</c:v>
                </c:pt>
                <c:pt idx="5">
                  <c:v>2.8580000000000001</c:v>
                </c:pt>
                <c:pt idx="6">
                  <c:v>1.579</c:v>
                </c:pt>
                <c:pt idx="7">
                  <c:v>0.90500000000000003</c:v>
                </c:pt>
              </c:numCache>
            </c:numRef>
          </c:yVal>
          <c:bubbleSize>
            <c:numRef>
              <c:f>Sheet1!$C$2:$C$9</c:f>
              <c:numCache>
                <c:formatCode>General</c:formatCode>
                <c:ptCount val="8"/>
                <c:pt idx="0">
                  <c:v>11833795</c:v>
                </c:pt>
                <c:pt idx="1">
                  <c:v>3875602</c:v>
                </c:pt>
                <c:pt idx="2">
                  <c:v>3306117</c:v>
                </c:pt>
                <c:pt idx="3">
                  <c:v>3231524</c:v>
                </c:pt>
                <c:pt idx="4">
                  <c:v>2420106</c:v>
                </c:pt>
                <c:pt idx="5">
                  <c:v>2145762</c:v>
                </c:pt>
                <c:pt idx="6">
                  <c:v>2058218</c:v>
                </c:pt>
                <c:pt idx="7">
                  <c:v>412478</c:v>
                </c:pt>
              </c:numCache>
            </c:numRef>
          </c:bubbleSize>
          <c:bubble3D val="0"/>
          <c:extLst>
            <c:ext xmlns:c15="http://schemas.microsoft.com/office/drawing/2012/chart" uri="{02D57815-91ED-43cb-92C2-25804820EDAC}">
              <c15:datalabelsRange>
                <c15:f>Sheet1!$E$2:$E$10</c15:f>
                <c15:dlblRangeCache>
                  <c:ptCount val="9"/>
                  <c:pt idx="0">
                    <c:v>Nicolas Feuillatte</c:v>
                  </c:pt>
                  <c:pt idx="1">
                    <c:v>Demoiselle</c:v>
                  </c:pt>
                  <c:pt idx="2">
                    <c:v>Canard Duchêne</c:v>
                  </c:pt>
                  <c:pt idx="3">
                    <c:v>Tsarine</c:v>
                  </c:pt>
                  <c:pt idx="4">
                    <c:v>Mumm</c:v>
                  </c:pt>
                  <c:pt idx="5">
                    <c:v>Ruinart</c:v>
                  </c:pt>
                  <c:pt idx="6">
                    <c:v>Moët &amp; Chandon</c:v>
                  </c:pt>
                  <c:pt idx="7">
                    <c:v>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058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710334-31BD-4A8D-AB0F-3400219D41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C6344C-4558-488D-B60C-A7A95BB937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1317E4-DDC2-4AFF-B523-287F6E15FA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7F8CF0-247C-4EB6-BC79-3EC5528CCA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06383B-824F-4FF5-ACAD-021D23264F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BC759A-A147-449C-B02E-D5EFF8FBCF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B2B91A-2DD7-4E71-9523-D599F6E1E1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2D2066-C99F-4845-828F-AA7FD3D409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656199999999998</c:v>
                </c:pt>
                <c:pt idx="1">
                  <c:v>52.862900000000003</c:v>
                </c:pt>
                <c:pt idx="2">
                  <c:v>37.590600000000002</c:v>
                </c:pt>
                <c:pt idx="3">
                  <c:v>26.826699999999999</c:v>
                </c:pt>
                <c:pt idx="4">
                  <c:v>81.242900000000006</c:v>
                </c:pt>
                <c:pt idx="5">
                  <c:v>37.790300000000002</c:v>
                </c:pt>
                <c:pt idx="6">
                  <c:v>41.338299999999997</c:v>
                </c:pt>
                <c:pt idx="7">
                  <c:v>36.3018</c:v>
                </c:pt>
              </c:numCache>
            </c:numRef>
          </c:xVal>
          <c:yVal>
            <c:numRef>
              <c:f>Sheet1!$B$2:$B$9</c:f>
              <c:numCache>
                <c:formatCode>General</c:formatCode>
                <c:ptCount val="8"/>
                <c:pt idx="0">
                  <c:v>1.639</c:v>
                </c:pt>
                <c:pt idx="1">
                  <c:v>1.0529999999999999</c:v>
                </c:pt>
                <c:pt idx="2">
                  <c:v>0.66</c:v>
                </c:pt>
                <c:pt idx="3">
                  <c:v>0.504</c:v>
                </c:pt>
                <c:pt idx="4">
                  <c:v>1.421</c:v>
                </c:pt>
                <c:pt idx="5">
                  <c:v>0.66200000000000003</c:v>
                </c:pt>
                <c:pt idx="6">
                  <c:v>0.86399999999999999</c:v>
                </c:pt>
                <c:pt idx="7">
                  <c:v>0.63500000000000001</c:v>
                </c:pt>
              </c:numCache>
            </c:numRef>
          </c:yVal>
          <c:bubbleSize>
            <c:numRef>
              <c:f>Sheet1!$C$2:$C$9</c:f>
              <c:numCache>
                <c:formatCode>General</c:formatCode>
                <c:ptCount val="8"/>
                <c:pt idx="0">
                  <c:v>1262381</c:v>
                </c:pt>
                <c:pt idx="1">
                  <c:v>597932</c:v>
                </c:pt>
                <c:pt idx="2">
                  <c:v>431239</c:v>
                </c:pt>
                <c:pt idx="3">
                  <c:v>415089</c:v>
                </c:pt>
                <c:pt idx="4">
                  <c:v>398659</c:v>
                </c:pt>
                <c:pt idx="5">
                  <c:v>237021</c:v>
                </c:pt>
                <c:pt idx="6">
                  <c:v>204583</c:v>
                </c:pt>
                <c:pt idx="7">
                  <c:v>18125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C44DFF-BE7A-4B22-8D9F-0BEB2DE6E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8E0833-0605-4D45-A771-539B0A20FE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AF0978-46F5-4EAC-9D15-6E9EA63B9C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79C5B4-2CCF-48E1-9E03-BED788EA0D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79850B-9BB6-4560-A081-5BB508A7FE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02C961-3264-466A-B538-ED64F7BF04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8671B4-1B01-46A4-9992-442308D3E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EB9351-63E3-466B-A404-B77F04659B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717</c:v>
                </c:pt>
                <c:pt idx="1">
                  <c:v>30.006599999999999</c:v>
                </c:pt>
                <c:pt idx="2">
                  <c:v>28.646999999999998</c:v>
                </c:pt>
                <c:pt idx="3">
                  <c:v>31.494800000000001</c:v>
                </c:pt>
                <c:pt idx="4">
                  <c:v>36.527700000000003</c:v>
                </c:pt>
                <c:pt idx="5">
                  <c:v>50.205800000000004</c:v>
                </c:pt>
                <c:pt idx="6">
                  <c:v>26.394300000000001</c:v>
                </c:pt>
                <c:pt idx="7">
                  <c:v>22.1768</c:v>
                </c:pt>
              </c:numCache>
            </c:numRef>
          </c:xVal>
          <c:yVal>
            <c:numRef>
              <c:f>Sheet1!$B$2:$B$9</c:f>
              <c:numCache>
                <c:formatCode>General</c:formatCode>
                <c:ptCount val="8"/>
                <c:pt idx="0">
                  <c:v>0.99</c:v>
                </c:pt>
                <c:pt idx="1">
                  <c:v>0.97499999999999998</c:v>
                </c:pt>
                <c:pt idx="2">
                  <c:v>0.95099999999999996</c:v>
                </c:pt>
                <c:pt idx="3">
                  <c:v>1.032</c:v>
                </c:pt>
                <c:pt idx="4">
                  <c:v>1.214</c:v>
                </c:pt>
                <c:pt idx="5">
                  <c:v>1.653</c:v>
                </c:pt>
                <c:pt idx="6">
                  <c:v>0.878</c:v>
                </c:pt>
                <c:pt idx="7">
                  <c:v>0.70399999999999996</c:v>
                </c:pt>
              </c:numCache>
            </c:numRef>
          </c:yVal>
          <c:bubbleSize>
            <c:numRef>
              <c:f>Sheet1!$C$2:$C$9</c:f>
              <c:numCache>
                <c:formatCode>General</c:formatCode>
                <c:ptCount val="8"/>
                <c:pt idx="0">
                  <c:v>11598081</c:v>
                </c:pt>
                <c:pt idx="1">
                  <c:v>3450576</c:v>
                </c:pt>
                <c:pt idx="2">
                  <c:v>3306117</c:v>
                </c:pt>
                <c:pt idx="3">
                  <c:v>3231524</c:v>
                </c:pt>
                <c:pt idx="4">
                  <c:v>2420106</c:v>
                </c:pt>
                <c:pt idx="5">
                  <c:v>2051560</c:v>
                </c:pt>
                <c:pt idx="6">
                  <c:v>1878563</c:v>
                </c:pt>
                <c:pt idx="7">
                  <c:v>1105137</c:v>
                </c:pt>
              </c:numCache>
            </c:numRef>
          </c:bubbleSize>
          <c:bubble3D val="0"/>
          <c:extLst>
            <c:ext xmlns:c15="http://schemas.microsoft.com/office/drawing/2012/chart" uri="{02D57815-91ED-43cb-92C2-25804820EDAC}">
              <c15:datalabelsRange>
                <c15:f>Sheet1!$E$2:$E$10</c15:f>
                <c15:dlblRangeCache>
                  <c:ptCount val="9"/>
                  <c:pt idx="0">
                    <c:v>Nicolas Feuillatte</c:v>
                  </c:pt>
                  <c:pt idx="1">
                    <c:v>Demoiselle</c:v>
                  </c:pt>
                  <c:pt idx="2">
                    <c:v>Canard Duchêne</c:v>
                  </c:pt>
                  <c:pt idx="3">
                    <c:v>Tsarine</c:v>
                  </c:pt>
                  <c:pt idx="4">
                    <c:v>Mumm</c:v>
                  </c:pt>
                  <c:pt idx="5">
                    <c:v>Moët &amp; Chandon</c:v>
                  </c:pt>
                  <c:pt idx="6">
                    <c:v>Alfred De Rothschild</c:v>
                  </c:pt>
                  <c:pt idx="7">
                    <c:v>De Castella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711823-53DC-46D4-AF39-C64428E4E8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52FC36-8B18-4040-B110-EBC9E6B7C9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022D5F-9458-4318-823B-BF56D30AE5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8976DE-7BB1-436C-BC28-A8EA4B7F03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34024A-9E6A-49C6-85E9-496201EE02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632CC3-E9B2-40FC-9BB8-26BB623F63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A1796F-CEA0-4336-8447-BA3347B477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E4262F-2BE4-4B9C-AA7E-772FCDBA27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9.978300000000004</c:v>
                </c:pt>
                <c:pt idx="1">
                  <c:v>51.580500000000001</c:v>
                </c:pt>
                <c:pt idx="2">
                  <c:v>37.562899999999999</c:v>
                </c:pt>
                <c:pt idx="3">
                  <c:v>26.687899999999999</c:v>
                </c:pt>
                <c:pt idx="4">
                  <c:v>80.448099999999997</c:v>
                </c:pt>
                <c:pt idx="5">
                  <c:v>37.557499999999997</c:v>
                </c:pt>
                <c:pt idx="6">
                  <c:v>40.275599999999997</c:v>
                </c:pt>
                <c:pt idx="7">
                  <c:v>35.996699999999997</c:v>
                </c:pt>
              </c:numCache>
            </c:numRef>
          </c:xVal>
          <c:yVal>
            <c:numRef>
              <c:f>Sheet1!$B$2:$B$9</c:f>
              <c:numCache>
                <c:formatCode>General</c:formatCode>
                <c:ptCount val="8"/>
                <c:pt idx="0">
                  <c:v>1.6459999999999999</c:v>
                </c:pt>
                <c:pt idx="1">
                  <c:v>1.054</c:v>
                </c:pt>
                <c:pt idx="2">
                  <c:v>0.66800000000000004</c:v>
                </c:pt>
                <c:pt idx="3">
                  <c:v>0.51300000000000001</c:v>
                </c:pt>
                <c:pt idx="4">
                  <c:v>1.43</c:v>
                </c:pt>
                <c:pt idx="5">
                  <c:v>0.66800000000000004</c:v>
                </c:pt>
                <c:pt idx="6">
                  <c:v>0.86699999999999999</c:v>
                </c:pt>
                <c:pt idx="7">
                  <c:v>0.64</c:v>
                </c:pt>
              </c:numCache>
            </c:numRef>
          </c:yVal>
          <c:bubbleSize>
            <c:numRef>
              <c:f>Sheet1!$C$2:$C$9</c:f>
              <c:numCache>
                <c:formatCode>General</c:formatCode>
                <c:ptCount val="8"/>
                <c:pt idx="0">
                  <c:v>480304</c:v>
                </c:pt>
                <c:pt idx="1">
                  <c:v>248876</c:v>
                </c:pt>
                <c:pt idx="2">
                  <c:v>192735</c:v>
                </c:pt>
                <c:pt idx="3">
                  <c:v>180357</c:v>
                </c:pt>
                <c:pt idx="4">
                  <c:v>149553</c:v>
                </c:pt>
                <c:pt idx="5">
                  <c:v>103471</c:v>
                </c:pt>
                <c:pt idx="6">
                  <c:v>96299</c:v>
                </c:pt>
                <c:pt idx="7">
                  <c:v>86320</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8"/>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8D6B4B-D814-4C00-984F-790C9F5F47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E7B486-78EB-48E8-9EB0-BE52490242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233BB2-7B10-41D7-8A58-38BDB39CCA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67B86A-0EF5-4E60-A406-13FE20E37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4ADC44-C7D7-4368-A20C-C20ED13548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8A029B-6C4F-4354-A265-BCB9611EC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922957-1E3F-4F50-A0F7-D643A091B5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266F16-5864-44CE-AE5C-06674B132A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888499999999993</c:v>
                </c:pt>
                <c:pt idx="1">
                  <c:v>52.964500000000001</c:v>
                </c:pt>
                <c:pt idx="2">
                  <c:v>37.2455</c:v>
                </c:pt>
                <c:pt idx="3">
                  <c:v>26.510400000000001</c:v>
                </c:pt>
                <c:pt idx="4">
                  <c:v>81.043800000000005</c:v>
                </c:pt>
                <c:pt idx="5">
                  <c:v>37.565300000000001</c:v>
                </c:pt>
                <c:pt idx="6">
                  <c:v>41.234299999999998</c:v>
                </c:pt>
                <c:pt idx="7">
                  <c:v>36.067500000000003</c:v>
                </c:pt>
              </c:numCache>
            </c:numRef>
          </c:xVal>
          <c:yVal>
            <c:numRef>
              <c:f>Sheet1!$B$2:$B$9</c:f>
              <c:numCache>
                <c:formatCode>General</c:formatCode>
                <c:ptCount val="8"/>
                <c:pt idx="0">
                  <c:v>1.76</c:v>
                </c:pt>
                <c:pt idx="1">
                  <c:v>1.1359999999999999</c:v>
                </c:pt>
                <c:pt idx="2">
                  <c:v>0.71299999999999997</c:v>
                </c:pt>
                <c:pt idx="3">
                  <c:v>0.54100000000000004</c:v>
                </c:pt>
                <c:pt idx="4">
                  <c:v>1.5469999999999999</c:v>
                </c:pt>
                <c:pt idx="5">
                  <c:v>0.72099999999999997</c:v>
                </c:pt>
                <c:pt idx="6">
                  <c:v>0.93400000000000005</c:v>
                </c:pt>
                <c:pt idx="7">
                  <c:v>0.69499999999999995</c:v>
                </c:pt>
              </c:numCache>
            </c:numRef>
          </c:yVal>
          <c:bubbleSize>
            <c:numRef>
              <c:f>Sheet1!$C$2:$C$9</c:f>
              <c:numCache>
                <c:formatCode>General</c:formatCode>
                <c:ptCount val="8"/>
                <c:pt idx="0">
                  <c:v>262577</c:v>
                </c:pt>
                <c:pt idx="1">
                  <c:v>125314</c:v>
                </c:pt>
                <c:pt idx="2">
                  <c:v>109390</c:v>
                </c:pt>
                <c:pt idx="3">
                  <c:v>95729</c:v>
                </c:pt>
                <c:pt idx="4">
                  <c:v>68401</c:v>
                </c:pt>
                <c:pt idx="5">
                  <c:v>42261</c:v>
                </c:pt>
                <c:pt idx="6">
                  <c:v>40657</c:v>
                </c:pt>
                <c:pt idx="7">
                  <c:v>37943</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3B38DA-59B7-4843-8470-2C91144CEF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ED1A71-7FAF-499A-8F9C-68B345B8D9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B8831D-336F-4249-B906-FAE8058420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1B112B-9E5A-4877-A6EE-0092DEFBD7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AC7E3C-FACB-4A95-9687-9521CC53CA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D71AE1-B514-4E1E-ADD2-9F091227D0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1BA4EE-FB8B-4BCE-A9C8-9088565DA5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EAF5CB-3C7D-4A83-AF8D-A4ADA5E6BD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24999999999997</c:v>
                </c:pt>
                <c:pt idx="1">
                  <c:v>52.019799999999996</c:v>
                </c:pt>
                <c:pt idx="2">
                  <c:v>81.850300000000004</c:v>
                </c:pt>
                <c:pt idx="3">
                  <c:v>26.938700000000001</c:v>
                </c:pt>
                <c:pt idx="4">
                  <c:v>37.7181</c:v>
                </c:pt>
                <c:pt idx="5">
                  <c:v>37.875</c:v>
                </c:pt>
                <c:pt idx="6">
                  <c:v>41.338900000000002</c:v>
                </c:pt>
                <c:pt idx="7">
                  <c:v>51.2316</c:v>
                </c:pt>
              </c:numCache>
            </c:numRef>
          </c:xVal>
          <c:yVal>
            <c:numRef>
              <c:f>Sheet1!$B$2:$B$9</c:f>
              <c:numCache>
                <c:formatCode>General</c:formatCode>
                <c:ptCount val="8"/>
                <c:pt idx="0">
                  <c:v>1.6140000000000001</c:v>
                </c:pt>
                <c:pt idx="1">
                  <c:v>1.0329999999999999</c:v>
                </c:pt>
                <c:pt idx="2">
                  <c:v>1.4019999999999999</c:v>
                </c:pt>
                <c:pt idx="3">
                  <c:v>0.50600000000000001</c:v>
                </c:pt>
                <c:pt idx="4">
                  <c:v>0.64400000000000002</c:v>
                </c:pt>
                <c:pt idx="5">
                  <c:v>0.65300000000000002</c:v>
                </c:pt>
                <c:pt idx="6">
                  <c:v>0.85399999999999998</c:v>
                </c:pt>
                <c:pt idx="7">
                  <c:v>0.872</c:v>
                </c:pt>
              </c:numCache>
            </c:numRef>
          </c:yVal>
          <c:bubbleSize>
            <c:numRef>
              <c:f>Sheet1!$C$2:$C$9</c:f>
              <c:numCache>
                <c:formatCode>General</c:formatCode>
                <c:ptCount val="8"/>
                <c:pt idx="0">
                  <c:v>140703</c:v>
                </c:pt>
                <c:pt idx="1">
                  <c:v>71007</c:v>
                </c:pt>
                <c:pt idx="2">
                  <c:v>68345</c:v>
                </c:pt>
                <c:pt idx="3">
                  <c:v>42644</c:v>
                </c:pt>
                <c:pt idx="4">
                  <c:v>33720</c:v>
                </c:pt>
                <c:pt idx="5">
                  <c:v>32724</c:v>
                </c:pt>
                <c:pt idx="6">
                  <c:v>19884</c:v>
                </c:pt>
                <c:pt idx="7">
                  <c:v>18136</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Nicolas Feuillatte</c:v>
                  </c:pt>
                  <c:pt idx="5">
                    <c:v>Demoiselle</c:v>
                  </c:pt>
                  <c:pt idx="6">
                    <c:v>Besserat De Bellefon</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4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62B615-8F6E-4CB8-9C04-ED5626EE8F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D89A1A-3EC7-4013-A811-A48D885149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C12422-9020-4045-B634-C5E0DA7710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70A0F1-6085-490A-9E6D-A69B606C82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59756C-9F9B-421D-B95F-CF152D1486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C70DC3-BC2E-4A98-91AC-91E4749E28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AD95EF-3FFB-4540-BF70-4C91951461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43DC775-4964-4AFD-B3E7-C7148C3F95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72799999999998</c:v>
                </c:pt>
                <c:pt idx="1">
                  <c:v>644.48720000000003</c:v>
                </c:pt>
                <c:pt idx="2">
                  <c:v>53.254899999999999</c:v>
                </c:pt>
                <c:pt idx="3">
                  <c:v>80.4315</c:v>
                </c:pt>
                <c:pt idx="4">
                  <c:v>27.0364</c:v>
                </c:pt>
                <c:pt idx="5">
                  <c:v>38.076900000000002</c:v>
                </c:pt>
                <c:pt idx="6">
                  <c:v>634.11429999999996</c:v>
                </c:pt>
                <c:pt idx="7">
                  <c:v>37.879600000000003</c:v>
                </c:pt>
              </c:numCache>
            </c:numRef>
          </c:xVal>
          <c:yVal>
            <c:numRef>
              <c:f>Sheet1!$B$2:$B$9</c:f>
              <c:numCache>
                <c:formatCode>General</c:formatCode>
                <c:ptCount val="8"/>
                <c:pt idx="0">
                  <c:v>1.355</c:v>
                </c:pt>
                <c:pt idx="1">
                  <c:v>8.3819999999999997</c:v>
                </c:pt>
                <c:pt idx="2">
                  <c:v>0.85899999999999999</c:v>
                </c:pt>
                <c:pt idx="3">
                  <c:v>1.1399999999999999</c:v>
                </c:pt>
                <c:pt idx="4">
                  <c:v>0.40899999999999997</c:v>
                </c:pt>
                <c:pt idx="5">
                  <c:v>0.53700000000000003</c:v>
                </c:pt>
                <c:pt idx="6">
                  <c:v>9.4730000000000008</c:v>
                </c:pt>
                <c:pt idx="7">
                  <c:v>0.53500000000000003</c:v>
                </c:pt>
              </c:numCache>
            </c:numRef>
          </c:yVal>
          <c:bubbleSize>
            <c:numRef>
              <c:f>Sheet1!$C$2:$C$9</c:f>
              <c:numCache>
                <c:formatCode>General</c:formatCode>
                <c:ptCount val="8"/>
                <c:pt idx="0">
                  <c:v>111018</c:v>
                </c:pt>
                <c:pt idx="1">
                  <c:v>50270</c:v>
                </c:pt>
                <c:pt idx="2">
                  <c:v>43882</c:v>
                </c:pt>
                <c:pt idx="3">
                  <c:v>38768</c:v>
                </c:pt>
                <c:pt idx="4">
                  <c:v>26712</c:v>
                </c:pt>
                <c:pt idx="5">
                  <c:v>24750</c:v>
                </c:pt>
                <c:pt idx="6">
                  <c:v>22194</c:v>
                </c:pt>
                <c:pt idx="7">
                  <c:v>19508</c:v>
                </c:pt>
              </c:numCache>
            </c:numRef>
          </c:bubbleSize>
          <c:bubble3D val="0"/>
          <c:extLst>
            <c:ext xmlns:c15="http://schemas.microsoft.com/office/drawing/2012/chart" uri="{02D57815-91ED-43cb-92C2-25804820EDAC}">
              <c15:datalabelsRange>
                <c15:f>Sheet1!$E$2:$E$10</c15:f>
                <c15:dlblRangeCache>
                  <c:ptCount val="9"/>
                  <c:pt idx="0">
                    <c:v>Ruinart</c:v>
                  </c:pt>
                  <c:pt idx="1">
                    <c:v>Roederer</c:v>
                  </c:pt>
                  <c:pt idx="2">
                    <c:v>Deutz</c:v>
                  </c:pt>
                  <c:pt idx="3">
                    <c:v>Laurent Perrier</c:v>
                  </c:pt>
                  <c:pt idx="4">
                    <c:v>Nicolas</c:v>
                  </c:pt>
                  <c:pt idx="5">
                    <c:v>Demoiselle</c:v>
                  </c:pt>
                  <c:pt idx="6">
                    <c:v>Dom Perignon</c:v>
                  </c:pt>
                  <c:pt idx="7">
                    <c:v>Nicolas Feuilla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3"/>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9.6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6D2D4D-2AD1-4ED5-81B0-EE29BAFB52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7E90A5-E8A6-4BE8-BA0C-93266E5F93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65BBFC-C962-4442-BDC1-3F9652371A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D4D0B2-1B9F-4F08-A393-BFC7D92835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D4F887-5A8D-4606-9502-12FE7C827F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D4E7B8-1417-4E2B-A3EA-3FCA2CDDB6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98D493-650F-410A-AA07-B98EC3535E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EBAA9A8-7D58-4977-91A1-F51F3846EE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33199999999994</c:v>
                </c:pt>
                <c:pt idx="1">
                  <c:v>56.6633</c:v>
                </c:pt>
                <c:pt idx="2">
                  <c:v>37.4512</c:v>
                </c:pt>
                <c:pt idx="3">
                  <c:v>27.365200000000002</c:v>
                </c:pt>
                <c:pt idx="4">
                  <c:v>82.421099999999996</c:v>
                </c:pt>
                <c:pt idx="5">
                  <c:v>38.498600000000003</c:v>
                </c:pt>
                <c:pt idx="6">
                  <c:v>42.989699999999999</c:v>
                </c:pt>
                <c:pt idx="7">
                  <c:v>37.436</c:v>
                </c:pt>
              </c:numCache>
            </c:numRef>
          </c:xVal>
          <c:yVal>
            <c:numRef>
              <c:f>Sheet1!$B$2:$B$9</c:f>
              <c:numCache>
                <c:formatCode>General</c:formatCode>
                <c:ptCount val="8"/>
                <c:pt idx="0">
                  <c:v>1.633</c:v>
                </c:pt>
                <c:pt idx="1">
                  <c:v>1.0780000000000001</c:v>
                </c:pt>
                <c:pt idx="2">
                  <c:v>0.64200000000000002</c:v>
                </c:pt>
                <c:pt idx="3">
                  <c:v>0.49299999999999999</c:v>
                </c:pt>
                <c:pt idx="4">
                  <c:v>1.3740000000000001</c:v>
                </c:pt>
                <c:pt idx="5">
                  <c:v>0.66900000000000004</c:v>
                </c:pt>
                <c:pt idx="6">
                  <c:v>0.85</c:v>
                </c:pt>
                <c:pt idx="7">
                  <c:v>0.63500000000000001</c:v>
                </c:pt>
              </c:numCache>
            </c:numRef>
          </c:yVal>
          <c:bubbleSize>
            <c:numRef>
              <c:f>Sheet1!$C$2:$C$9</c:f>
              <c:numCache>
                <c:formatCode>General</c:formatCode>
                <c:ptCount val="8"/>
                <c:pt idx="0">
                  <c:v>89712</c:v>
                </c:pt>
                <c:pt idx="1">
                  <c:v>39381</c:v>
                </c:pt>
                <c:pt idx="2">
                  <c:v>27639</c:v>
                </c:pt>
                <c:pt idx="3">
                  <c:v>19484</c:v>
                </c:pt>
                <c:pt idx="4">
                  <c:v>18792</c:v>
                </c:pt>
                <c:pt idx="5">
                  <c:v>13744</c:v>
                </c:pt>
                <c:pt idx="6">
                  <c:v>8340</c:v>
                </c:pt>
                <c:pt idx="7">
                  <c:v>789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3"/>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95EDD9-1CCC-4414-9030-FBADB9B4C9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9DA848-6EB4-4E41-901C-0969536949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2E566C-D213-4BAA-9E1D-07C0E8DECF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748C12-AB7E-4932-8E7F-3DD9EAED02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46AF48-F919-4B56-ADE7-4B6F4D0479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87FE15-FBB5-4177-AB15-F810ABA7F9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F98C09-27C0-45C3-BD6D-4EB3BCDC8B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021C58-9200-4FDD-BA6F-04EF66B620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459900000000005</c:v>
                </c:pt>
                <c:pt idx="1">
                  <c:v>52.298299999999998</c:v>
                </c:pt>
                <c:pt idx="2">
                  <c:v>37.457799999999999</c:v>
                </c:pt>
                <c:pt idx="3">
                  <c:v>26.686</c:v>
                </c:pt>
                <c:pt idx="4">
                  <c:v>80.477099999999993</c:v>
                </c:pt>
                <c:pt idx="5">
                  <c:v>37.464500000000001</c:v>
                </c:pt>
                <c:pt idx="6">
                  <c:v>40.722099999999998</c:v>
                </c:pt>
                <c:pt idx="7">
                  <c:v>36.009099999999997</c:v>
                </c:pt>
              </c:numCache>
            </c:numRef>
          </c:xVal>
          <c:yVal>
            <c:numRef>
              <c:f>Sheet1!$B$2:$B$9</c:f>
              <c:numCache>
                <c:formatCode>General</c:formatCode>
                <c:ptCount val="8"/>
                <c:pt idx="0">
                  <c:v>1.6060000000000001</c:v>
                </c:pt>
                <c:pt idx="1">
                  <c:v>1.0249999999999999</c:v>
                </c:pt>
                <c:pt idx="2">
                  <c:v>0.64900000000000002</c:v>
                </c:pt>
                <c:pt idx="3">
                  <c:v>0.499</c:v>
                </c:pt>
                <c:pt idx="4">
                  <c:v>1.393</c:v>
                </c:pt>
                <c:pt idx="5">
                  <c:v>0.64900000000000002</c:v>
                </c:pt>
                <c:pt idx="6">
                  <c:v>0.83799999999999997</c:v>
                </c:pt>
                <c:pt idx="7">
                  <c:v>0.624</c:v>
                </c:pt>
              </c:numCache>
            </c:numRef>
          </c:yVal>
          <c:bubbleSize>
            <c:numRef>
              <c:f>Sheet1!$C$2:$C$9</c:f>
              <c:numCache>
                <c:formatCode>General</c:formatCode>
                <c:ptCount val="8"/>
                <c:pt idx="0">
                  <c:v>846795</c:v>
                </c:pt>
                <c:pt idx="1">
                  <c:v>409757</c:v>
                </c:pt>
                <c:pt idx="2">
                  <c:v>299063</c:v>
                </c:pt>
                <c:pt idx="3">
                  <c:v>268461</c:v>
                </c:pt>
                <c:pt idx="4">
                  <c:v>258734</c:v>
                </c:pt>
                <c:pt idx="5">
                  <c:v>163645</c:v>
                </c:pt>
                <c:pt idx="6">
                  <c:v>140369</c:v>
                </c:pt>
                <c:pt idx="7">
                  <c:v>130497</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26A1F55-59C5-4281-A378-AAA6A49E49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3BFB360-C6AD-4509-9674-90BA2B835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B68E463-FBAE-4ABD-A519-8CFE7DC164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8A9CF4E-11A4-44F8-8057-F727C68EA2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6B6F1AC-FC71-4653-8070-C777AAEDCF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3D87C76-B311-4294-A326-F755F33C10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2AC3679-AF0B-4530-AE42-40A9393896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B98D078-A65B-4EA0-AF8E-472B846720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37099999999999</c:v>
                </c:pt>
                <c:pt idx="1">
                  <c:v>12.776999999999999</c:v>
                </c:pt>
                <c:pt idx="2">
                  <c:v>17.389700000000001</c:v>
                </c:pt>
                <c:pt idx="3">
                  <c:v>9.0905000000000005</c:v>
                </c:pt>
                <c:pt idx="4">
                  <c:v>11.3963</c:v>
                </c:pt>
                <c:pt idx="5">
                  <c:v>11.78</c:v>
                </c:pt>
                <c:pt idx="6">
                  <c:v>13.4511</c:v>
                </c:pt>
                <c:pt idx="7">
                  <c:v>5.7374999999999998</c:v>
                </c:pt>
              </c:numCache>
            </c:numRef>
          </c:xVal>
          <c:yVal>
            <c:numRef>
              <c:f>Sheet1!$B$2:$B$9</c:f>
              <c:numCache>
                <c:formatCode>General</c:formatCode>
                <c:ptCount val="8"/>
                <c:pt idx="0">
                  <c:v>1.079</c:v>
                </c:pt>
                <c:pt idx="1">
                  <c:v>1.206</c:v>
                </c:pt>
                <c:pt idx="2">
                  <c:v>1.641</c:v>
                </c:pt>
                <c:pt idx="3">
                  <c:v>0.85699999999999998</c:v>
                </c:pt>
                <c:pt idx="4">
                  <c:v>1.075</c:v>
                </c:pt>
                <c:pt idx="5">
                  <c:v>1.0640000000000001</c:v>
                </c:pt>
                <c:pt idx="6">
                  <c:v>1.2689999999999999</c:v>
                </c:pt>
                <c:pt idx="7">
                  <c:v>0.54100000000000004</c:v>
                </c:pt>
              </c:numCache>
            </c:numRef>
          </c:yVal>
          <c:bubbleSize>
            <c:numRef>
              <c:f>Sheet1!$C$2:$C$9</c:f>
              <c:numCache>
                <c:formatCode>General</c:formatCode>
                <c:ptCount val="8"/>
                <c:pt idx="0">
                  <c:v>428822</c:v>
                </c:pt>
                <c:pt idx="1">
                  <c:v>352518</c:v>
                </c:pt>
                <c:pt idx="2">
                  <c:v>237909</c:v>
                </c:pt>
                <c:pt idx="3">
                  <c:v>237189</c:v>
                </c:pt>
                <c:pt idx="4">
                  <c:v>224598</c:v>
                </c:pt>
                <c:pt idx="5">
                  <c:v>209943</c:v>
                </c:pt>
                <c:pt idx="6">
                  <c:v>122782</c:v>
                </c:pt>
                <c:pt idx="7">
                  <c:v>62527</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Chateau Moncontour</c:v>
                  </c:pt>
                  <c:pt idx="5">
                    <c:v>Bouvet-Ladubay</c:v>
                  </c:pt>
                  <c:pt idx="6">
                    <c:v>De Chanceny</c:v>
                  </c:pt>
                  <c:pt idx="7">
                    <c:v>Krit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4BA3C0-1466-47B8-BC42-0560723E1C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710BC1-332C-46F4-A98D-FE726C8BDB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B9E532-BD01-4CA9-84F1-CEC56152BB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0F61C9-4FAA-490D-B348-AA14A0C2FA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15D7CA-C7AB-45E9-A42F-B0CFE0B6B1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D67E77-96E2-4364-AB9B-E627A0F244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CE2DEC-E02E-417F-BBDE-F2E76627D3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DCD5B9-8A61-45BE-96F4-9A68DA7BCB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240300000000005</c:v>
                </c:pt>
                <c:pt idx="1">
                  <c:v>81.262900000000002</c:v>
                </c:pt>
                <c:pt idx="2">
                  <c:v>53.312800000000003</c:v>
                </c:pt>
                <c:pt idx="3">
                  <c:v>27.181899999999999</c:v>
                </c:pt>
                <c:pt idx="4">
                  <c:v>37.2483</c:v>
                </c:pt>
                <c:pt idx="5">
                  <c:v>37.9467</c:v>
                </c:pt>
                <c:pt idx="6">
                  <c:v>50.933100000000003</c:v>
                </c:pt>
                <c:pt idx="7">
                  <c:v>41.847900000000003</c:v>
                </c:pt>
              </c:numCache>
            </c:numRef>
          </c:xVal>
          <c:yVal>
            <c:numRef>
              <c:f>Sheet1!$B$2:$B$9</c:f>
              <c:numCache>
                <c:formatCode>General</c:formatCode>
                <c:ptCount val="8"/>
                <c:pt idx="0">
                  <c:v>1.6</c:v>
                </c:pt>
                <c:pt idx="1">
                  <c:v>1.4039999999999999</c:v>
                </c:pt>
                <c:pt idx="2">
                  <c:v>1.024</c:v>
                </c:pt>
                <c:pt idx="3">
                  <c:v>0.48799999999999999</c:v>
                </c:pt>
                <c:pt idx="4">
                  <c:v>0.63500000000000001</c:v>
                </c:pt>
                <c:pt idx="5">
                  <c:v>0.65400000000000003</c:v>
                </c:pt>
                <c:pt idx="6">
                  <c:v>0.85899999999999999</c:v>
                </c:pt>
                <c:pt idx="7">
                  <c:v>0.83299999999999996</c:v>
                </c:pt>
              </c:numCache>
            </c:numRef>
          </c:yVal>
          <c:bubbleSize>
            <c:numRef>
              <c:f>Sheet1!$C$2:$C$9</c:f>
              <c:numCache>
                <c:formatCode>General</c:formatCode>
                <c:ptCount val="8"/>
                <c:pt idx="0">
                  <c:v>165688</c:v>
                </c:pt>
                <c:pt idx="1">
                  <c:v>63060</c:v>
                </c:pt>
                <c:pt idx="2">
                  <c:v>58964</c:v>
                </c:pt>
                <c:pt idx="3">
                  <c:v>44823</c:v>
                </c:pt>
                <c:pt idx="4">
                  <c:v>43655</c:v>
                </c:pt>
                <c:pt idx="5">
                  <c:v>23489</c:v>
                </c:pt>
                <c:pt idx="6">
                  <c:v>18285</c:v>
                </c:pt>
                <c:pt idx="7">
                  <c:v>16237</c:v>
                </c:pt>
              </c:numCache>
            </c:numRef>
          </c:bubbleSize>
          <c:bubble3D val="0"/>
          <c:extLst>
            <c:ext xmlns:c15="http://schemas.microsoft.com/office/drawing/2012/chart" uri="{02D57815-91ED-43cb-92C2-25804820EDAC}">
              <c15:datalabelsRange>
                <c15:f>Sheet1!$E$2:$E$10</c15:f>
                <c15:dlblRangeCache>
                  <c:ptCount val="9"/>
                  <c:pt idx="0">
                    <c:v>Ruinart</c:v>
                  </c:pt>
                  <c:pt idx="1">
                    <c:v>Laurent Perrier</c:v>
                  </c:pt>
                  <c:pt idx="2">
                    <c:v>Deutz</c:v>
                  </c:pt>
                  <c:pt idx="3">
                    <c:v>Nicolas</c:v>
                  </c:pt>
                  <c:pt idx="4">
                    <c:v>Demoiselle</c:v>
                  </c:pt>
                  <c:pt idx="5">
                    <c:v>Nicolas Feuillatte</c:v>
                  </c:pt>
                  <c:pt idx="6">
                    <c:v>Pommery</c:v>
                  </c:pt>
                  <c:pt idx="7">
                    <c:v>Besserat De Bellef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C07620-0632-460E-8999-82B53C218E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43149A-F98B-42AC-B255-21B0D0665D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E1B077-C02F-402E-A188-973505A855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C43BB2-1E55-41EA-865A-E553230366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ECCC8F-01BB-4730-9685-0CF45DB097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D8DDDF-4D7E-42CE-A057-F88B0D5B5A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2B233D-364F-4641-B4E0-3EDC6EA855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7C050C-375C-4958-90F2-C3F576D5AF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163300000000007</c:v>
                </c:pt>
                <c:pt idx="1">
                  <c:v>55.341099999999997</c:v>
                </c:pt>
                <c:pt idx="2">
                  <c:v>27.214600000000001</c:v>
                </c:pt>
                <c:pt idx="3">
                  <c:v>82.220100000000002</c:v>
                </c:pt>
                <c:pt idx="4">
                  <c:v>37.666699999999999</c:v>
                </c:pt>
                <c:pt idx="5">
                  <c:v>38.341000000000001</c:v>
                </c:pt>
                <c:pt idx="6">
                  <c:v>42.3598</c:v>
                </c:pt>
                <c:pt idx="7">
                  <c:v>51.7834</c:v>
                </c:pt>
              </c:numCache>
            </c:numRef>
          </c:xVal>
          <c:yVal>
            <c:numRef>
              <c:f>Sheet1!$B$2:$B$9</c:f>
              <c:numCache>
                <c:formatCode>General</c:formatCode>
                <c:ptCount val="8"/>
                <c:pt idx="0">
                  <c:v>1.6890000000000001</c:v>
                </c:pt>
                <c:pt idx="1">
                  <c:v>1.1259999999999999</c:v>
                </c:pt>
                <c:pt idx="2">
                  <c:v>0.52200000000000002</c:v>
                </c:pt>
                <c:pt idx="3">
                  <c:v>1.4670000000000001</c:v>
                </c:pt>
                <c:pt idx="4">
                  <c:v>0.67900000000000005</c:v>
                </c:pt>
                <c:pt idx="5">
                  <c:v>0.69199999999999995</c:v>
                </c:pt>
                <c:pt idx="6">
                  <c:v>0.92</c:v>
                </c:pt>
                <c:pt idx="7">
                  <c:v>0.92</c:v>
                </c:pt>
              </c:numCache>
            </c:numRef>
          </c:yVal>
          <c:bubbleSize>
            <c:numRef>
              <c:f>Sheet1!$C$2:$C$9</c:f>
              <c:numCache>
                <c:formatCode>General</c:formatCode>
                <c:ptCount val="8"/>
                <c:pt idx="0">
                  <c:v>77605</c:v>
                </c:pt>
                <c:pt idx="1">
                  <c:v>40399</c:v>
                </c:pt>
                <c:pt idx="2">
                  <c:v>26507</c:v>
                </c:pt>
                <c:pt idx="3">
                  <c:v>22035</c:v>
                </c:pt>
                <c:pt idx="4">
                  <c:v>20340</c:v>
                </c:pt>
                <c:pt idx="5">
                  <c:v>16755</c:v>
                </c:pt>
                <c:pt idx="6">
                  <c:v>11183</c:v>
                </c:pt>
                <c:pt idx="7">
                  <c:v>8130</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Laurent Perrier</c:v>
                  </c:pt>
                  <c:pt idx="4">
                    <c:v>Demoiselle</c:v>
                  </c:pt>
                  <c:pt idx="5">
                    <c:v>Nicolas Feuillatte</c:v>
                  </c:pt>
                  <c:pt idx="6">
                    <c:v>Besserat De Bellefon</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8A228D-06C7-4AC2-921A-FF04EDDA8A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3C394F-1B88-49F9-9D6F-AB3D71D870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2A7D89-9421-4D9D-8790-35068045DC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6C1CE6-ECDB-40FB-B7D3-047789565E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4811DE-2948-4782-9996-7E74DA528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6430CA-F0C0-41C3-89E1-FC065FB8D9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79FB47-E6CE-4035-AE80-250313C794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518EE4-7DBE-4293-B61B-9051225CF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1899999999999</c:v>
                </c:pt>
                <c:pt idx="1">
                  <c:v>53.874099999999999</c:v>
                </c:pt>
                <c:pt idx="2">
                  <c:v>26.968</c:v>
                </c:pt>
                <c:pt idx="3">
                  <c:v>38.4514</c:v>
                </c:pt>
                <c:pt idx="4">
                  <c:v>83.289900000000003</c:v>
                </c:pt>
                <c:pt idx="5">
                  <c:v>46.578899999999997</c:v>
                </c:pt>
                <c:pt idx="6">
                  <c:v>37.1111</c:v>
                </c:pt>
                <c:pt idx="7">
                  <c:v>52.4298</c:v>
                </c:pt>
              </c:numCache>
            </c:numRef>
          </c:xVal>
          <c:yVal>
            <c:numRef>
              <c:f>Sheet1!$B$2:$B$9</c:f>
              <c:numCache>
                <c:formatCode>General</c:formatCode>
                <c:ptCount val="8"/>
                <c:pt idx="0">
                  <c:v>1.77</c:v>
                </c:pt>
                <c:pt idx="1">
                  <c:v>1.131</c:v>
                </c:pt>
                <c:pt idx="2">
                  <c:v>0.53300000000000003</c:v>
                </c:pt>
                <c:pt idx="3">
                  <c:v>0.71599999999999997</c:v>
                </c:pt>
                <c:pt idx="4">
                  <c:v>1.552</c:v>
                </c:pt>
                <c:pt idx="5">
                  <c:v>0.93400000000000005</c:v>
                </c:pt>
                <c:pt idx="6">
                  <c:v>0.70199999999999996</c:v>
                </c:pt>
                <c:pt idx="7">
                  <c:v>0.97599999999999998</c:v>
                </c:pt>
              </c:numCache>
            </c:numRef>
          </c:yVal>
          <c:bubbleSize>
            <c:numRef>
              <c:f>Sheet1!$C$2:$C$9</c:f>
              <c:numCache>
                <c:formatCode>General</c:formatCode>
                <c:ptCount val="8"/>
                <c:pt idx="0">
                  <c:v>39590</c:v>
                </c:pt>
                <c:pt idx="1">
                  <c:v>22681</c:v>
                </c:pt>
                <c:pt idx="2">
                  <c:v>15156</c:v>
                </c:pt>
                <c:pt idx="3">
                  <c:v>12266</c:v>
                </c:pt>
                <c:pt idx="4">
                  <c:v>11494</c:v>
                </c:pt>
                <c:pt idx="5">
                  <c:v>7965</c:v>
                </c:pt>
                <c:pt idx="6">
                  <c:v>7014</c:v>
                </c:pt>
                <c:pt idx="7">
                  <c:v>6344</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Besserat De Bellefon</c:v>
                  </c:pt>
                  <c:pt idx="6">
                    <c:v>Malard</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E68FF6-1E2E-401D-8431-10A8B9C2FD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89956F-2C2F-4B99-B9FD-A22B746750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9E57D0-3542-4A5A-8AA9-716227F096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63063A-B22F-4AE0-9AF2-08644A18A8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8A2689-32C7-4F24-AD24-D8DF15A9EF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35C7B7-3B6A-4683-8AF1-58C47B3EEE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32EF89-3D1C-4DA4-8CF5-123779B76F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E65999-9492-4BE1-93BF-372DADE9A3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99299999999999</c:v>
                </c:pt>
                <c:pt idx="1">
                  <c:v>58.336399999999998</c:v>
                </c:pt>
                <c:pt idx="2">
                  <c:v>25.557099999999998</c:v>
                </c:pt>
                <c:pt idx="3">
                  <c:v>37.690100000000001</c:v>
                </c:pt>
                <c:pt idx="4">
                  <c:v>84.796300000000002</c:v>
                </c:pt>
                <c:pt idx="5">
                  <c:v>35.964500000000001</c:v>
                </c:pt>
                <c:pt idx="6">
                  <c:v>37.8874</c:v>
                </c:pt>
                <c:pt idx="7">
                  <c:v>52.653799999999997</c:v>
                </c:pt>
              </c:numCache>
            </c:numRef>
          </c:xVal>
          <c:yVal>
            <c:numRef>
              <c:f>Sheet1!$B$2:$B$9</c:f>
              <c:numCache>
                <c:formatCode>General</c:formatCode>
                <c:ptCount val="8"/>
                <c:pt idx="0">
                  <c:v>1.92</c:v>
                </c:pt>
                <c:pt idx="1">
                  <c:v>1.36</c:v>
                </c:pt>
                <c:pt idx="2">
                  <c:v>0.55500000000000005</c:v>
                </c:pt>
                <c:pt idx="3">
                  <c:v>0.78700000000000003</c:v>
                </c:pt>
                <c:pt idx="4">
                  <c:v>1.655</c:v>
                </c:pt>
                <c:pt idx="5">
                  <c:v>0.749</c:v>
                </c:pt>
                <c:pt idx="6">
                  <c:v>0.72899999999999998</c:v>
                </c:pt>
                <c:pt idx="7">
                  <c:v>1.0640000000000001</c:v>
                </c:pt>
              </c:numCache>
            </c:numRef>
          </c:yVal>
          <c:bubbleSize>
            <c:numRef>
              <c:f>Sheet1!$C$2:$C$9</c:f>
              <c:numCache>
                <c:formatCode>General</c:formatCode>
                <c:ptCount val="8"/>
                <c:pt idx="0">
                  <c:v>26677</c:v>
                </c:pt>
                <c:pt idx="1">
                  <c:v>19076</c:v>
                </c:pt>
                <c:pt idx="2">
                  <c:v>18810</c:v>
                </c:pt>
                <c:pt idx="3">
                  <c:v>11797</c:v>
                </c:pt>
                <c:pt idx="4">
                  <c:v>9158</c:v>
                </c:pt>
                <c:pt idx="5">
                  <c:v>7085</c:v>
                </c:pt>
                <c:pt idx="6">
                  <c:v>5721</c:v>
                </c:pt>
                <c:pt idx="7">
                  <c:v>5476</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Malard</c:v>
                  </c:pt>
                  <c:pt idx="6">
                    <c:v>Nicolas Feuillatte</c:v>
                  </c:pt>
                  <c:pt idx="7">
                    <c:v>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0EB206-0C06-464E-AD3E-438E54B4D4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6E9ACC-A11F-406C-A199-903FE7C106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AEFCBE-57C0-47E6-83DA-3CA7D8E5C9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806297-8B5A-4F27-B663-D95CF5A96E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4FE513-4828-4118-BD80-5A9DE77ED8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8811FD-22FD-4DB8-A478-36E77BBEC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65EF7B-D638-4138-8900-568C4C84CA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9FF0FC-EF69-43D7-AAA5-9AFB1C980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851299999999995</c:v>
                </c:pt>
                <c:pt idx="1">
                  <c:v>53.107500000000002</c:v>
                </c:pt>
                <c:pt idx="2">
                  <c:v>80.259200000000007</c:v>
                </c:pt>
                <c:pt idx="3">
                  <c:v>37.256500000000003</c:v>
                </c:pt>
                <c:pt idx="4">
                  <c:v>26.4526</c:v>
                </c:pt>
                <c:pt idx="5">
                  <c:v>557.5847</c:v>
                </c:pt>
                <c:pt idx="6">
                  <c:v>626.5625</c:v>
                </c:pt>
                <c:pt idx="7">
                  <c:v>37.585900000000002</c:v>
                </c:pt>
              </c:numCache>
            </c:numRef>
          </c:xVal>
          <c:yVal>
            <c:numRef>
              <c:f>Sheet1!$B$2:$B$9</c:f>
              <c:numCache>
                <c:formatCode>General</c:formatCode>
                <c:ptCount val="8"/>
                <c:pt idx="0">
                  <c:v>1.4450000000000001</c:v>
                </c:pt>
                <c:pt idx="1">
                  <c:v>0.92800000000000005</c:v>
                </c:pt>
                <c:pt idx="2">
                  <c:v>1.2370000000000001</c:v>
                </c:pt>
                <c:pt idx="3">
                  <c:v>0.57299999999999995</c:v>
                </c:pt>
                <c:pt idx="4">
                  <c:v>0.438</c:v>
                </c:pt>
                <c:pt idx="5">
                  <c:v>8.5380000000000003</c:v>
                </c:pt>
                <c:pt idx="6">
                  <c:v>9.4710000000000001</c:v>
                </c:pt>
                <c:pt idx="7">
                  <c:v>0.57999999999999996</c:v>
                </c:pt>
              </c:numCache>
            </c:numRef>
          </c:yVal>
          <c:bubbleSize>
            <c:numRef>
              <c:f>Sheet1!$C$2:$C$9</c:f>
              <c:numCache>
                <c:formatCode>General</c:formatCode>
                <c:ptCount val="8"/>
                <c:pt idx="0">
                  <c:v>384857</c:v>
                </c:pt>
                <c:pt idx="1">
                  <c:v>195595</c:v>
                </c:pt>
                <c:pt idx="2">
                  <c:v>146473</c:v>
                </c:pt>
                <c:pt idx="3">
                  <c:v>120413</c:v>
                </c:pt>
                <c:pt idx="4">
                  <c:v>108588</c:v>
                </c:pt>
                <c:pt idx="5">
                  <c:v>102038</c:v>
                </c:pt>
                <c:pt idx="6">
                  <c:v>90225</c:v>
                </c:pt>
                <c:pt idx="7">
                  <c:v>7543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Demoiselle</c:v>
                  </c:pt>
                  <c:pt idx="4">
                    <c:v>Nicolas</c:v>
                  </c:pt>
                  <c:pt idx="5">
                    <c:v>Dom Perignon</c:v>
                  </c:pt>
                  <c:pt idx="6">
                    <c:v>Roederer</c:v>
                  </c:pt>
                  <c:pt idx="7">
                    <c:v>Nicolas Feuilla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2"/>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9.67099999999999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EA87E9-E245-47B7-894B-D3B94A934C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FEF9BF-553D-4C5E-BA2B-E852F3186B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E3FFEC-FD87-410E-A3F8-EC5BFD91CD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F559A3-DE89-4C2B-8CFE-CE3423747A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02F35C-BBF6-4592-974C-18B97F2F5E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F181EA-C9CB-4193-894C-1F71DA7672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727F02-14FD-4BFC-9E3D-7AB8610E63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AC28F4-5F45-48AD-AAE8-AA3F7A1171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6000000000007</c:v>
                </c:pt>
                <c:pt idx="1">
                  <c:v>52.058999999999997</c:v>
                </c:pt>
                <c:pt idx="2">
                  <c:v>37.6539</c:v>
                </c:pt>
                <c:pt idx="3">
                  <c:v>80.916899999999998</c:v>
                </c:pt>
                <c:pt idx="4">
                  <c:v>26.9497</c:v>
                </c:pt>
                <c:pt idx="5">
                  <c:v>37.5413</c:v>
                </c:pt>
                <c:pt idx="6">
                  <c:v>41.015999999999998</c:v>
                </c:pt>
                <c:pt idx="7">
                  <c:v>36.271999999999998</c:v>
                </c:pt>
              </c:numCache>
            </c:numRef>
          </c:xVal>
          <c:yVal>
            <c:numRef>
              <c:f>Sheet1!$B$2:$B$9</c:f>
              <c:numCache>
                <c:formatCode>General</c:formatCode>
                <c:ptCount val="8"/>
                <c:pt idx="0">
                  <c:v>1.7410000000000001</c:v>
                </c:pt>
                <c:pt idx="1">
                  <c:v>1.1279999999999999</c:v>
                </c:pt>
                <c:pt idx="2">
                  <c:v>0.70199999999999996</c:v>
                </c:pt>
                <c:pt idx="3">
                  <c:v>1.5149999999999999</c:v>
                </c:pt>
                <c:pt idx="4">
                  <c:v>0.53900000000000003</c:v>
                </c:pt>
                <c:pt idx="5">
                  <c:v>0.70699999999999996</c:v>
                </c:pt>
                <c:pt idx="6">
                  <c:v>0.91500000000000004</c:v>
                </c:pt>
                <c:pt idx="7">
                  <c:v>0.67700000000000005</c:v>
                </c:pt>
              </c:numCache>
            </c:numRef>
          </c:yVal>
          <c:bubbleSize>
            <c:numRef>
              <c:f>Sheet1!$C$2:$C$9</c:f>
              <c:numCache>
                <c:formatCode>General</c:formatCode>
                <c:ptCount val="8"/>
                <c:pt idx="0">
                  <c:v>167785</c:v>
                </c:pt>
                <c:pt idx="1">
                  <c:v>84648</c:v>
                </c:pt>
                <c:pt idx="2">
                  <c:v>62995</c:v>
                </c:pt>
                <c:pt idx="3">
                  <c:v>60364</c:v>
                </c:pt>
                <c:pt idx="4">
                  <c:v>57807</c:v>
                </c:pt>
                <c:pt idx="5">
                  <c:v>33637</c:v>
                </c:pt>
                <c:pt idx="6">
                  <c:v>30721</c:v>
                </c:pt>
                <c:pt idx="7">
                  <c:v>27603</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Laurent Perrier</c:v>
                  </c:pt>
                  <c:pt idx="4">
                    <c:v>Nicolas</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9C6560-0684-4767-80F3-1706ABC48C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8FA289-D9F3-4B40-B376-0FC30CC182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DB0B04-3760-4586-A838-B4AF257D0C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7A0D23-98F1-4563-ADF1-441E32719C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BF5C02-F6C1-4CCC-A644-07E4420619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0D45A0-C4F7-4110-A3FD-0687160186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1C4725-26F3-49E1-BDB4-CF2A4617DB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B22B75-62BB-4983-8E65-09B88EDB9C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765900000000002</c:v>
                </c:pt>
                <c:pt idx="1">
                  <c:v>52.744999999999997</c:v>
                </c:pt>
                <c:pt idx="2">
                  <c:v>37.506500000000003</c:v>
                </c:pt>
                <c:pt idx="3">
                  <c:v>27.058199999999999</c:v>
                </c:pt>
                <c:pt idx="4">
                  <c:v>81.447900000000004</c:v>
                </c:pt>
                <c:pt idx="5">
                  <c:v>37.611499999999999</c:v>
                </c:pt>
                <c:pt idx="6">
                  <c:v>41.043500000000002</c:v>
                </c:pt>
                <c:pt idx="7">
                  <c:v>36.133699999999997</c:v>
                </c:pt>
              </c:numCache>
            </c:numRef>
          </c:xVal>
          <c:yVal>
            <c:numRef>
              <c:f>Sheet1!$B$2:$B$9</c:f>
              <c:numCache>
                <c:formatCode>General</c:formatCode>
                <c:ptCount val="8"/>
                <c:pt idx="0">
                  <c:v>1.7350000000000001</c:v>
                </c:pt>
                <c:pt idx="1">
                  <c:v>1.0980000000000001</c:v>
                </c:pt>
                <c:pt idx="2">
                  <c:v>0.69799999999999995</c:v>
                </c:pt>
                <c:pt idx="3">
                  <c:v>0.54200000000000004</c:v>
                </c:pt>
                <c:pt idx="4">
                  <c:v>1.5089999999999999</c:v>
                </c:pt>
                <c:pt idx="5">
                  <c:v>0.70199999999999996</c:v>
                </c:pt>
                <c:pt idx="6">
                  <c:v>0.91600000000000004</c:v>
                </c:pt>
                <c:pt idx="7">
                  <c:v>0.67400000000000004</c:v>
                </c:pt>
              </c:numCache>
            </c:numRef>
          </c:yVal>
          <c:bubbleSize>
            <c:numRef>
              <c:f>Sheet1!$C$2:$C$9</c:f>
              <c:numCache>
                <c:formatCode>General</c:formatCode>
                <c:ptCount val="8"/>
                <c:pt idx="0">
                  <c:v>277653</c:v>
                </c:pt>
                <c:pt idx="1">
                  <c:v>140671</c:v>
                </c:pt>
                <c:pt idx="2">
                  <c:v>112332</c:v>
                </c:pt>
                <c:pt idx="3">
                  <c:v>93973</c:v>
                </c:pt>
                <c:pt idx="4">
                  <c:v>83647</c:v>
                </c:pt>
                <c:pt idx="5">
                  <c:v>53145</c:v>
                </c:pt>
                <c:pt idx="6">
                  <c:v>45271</c:v>
                </c:pt>
                <c:pt idx="7">
                  <c:v>41337</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5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5ADD8B-A9B6-4147-85CB-419BE2FC04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3A8E97-CDA4-4BE9-B983-4FFD2A2324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6F8026-CF59-44BE-9EDE-F6DDD82DE8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9C5AE9-B8DA-4185-A794-3C6B06532E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949227-F520-4C6D-9B89-B8736684FE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F64EC9-F10F-4BC4-B31E-C77B4CD142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A88BFB-4B8E-4380-AC03-5C685AA84A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4C83CB-9CA4-4068-8270-9882A9474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509</c:v>
                </c:pt>
                <c:pt idx="1">
                  <c:v>52.050600000000003</c:v>
                </c:pt>
                <c:pt idx="2">
                  <c:v>27.031600000000001</c:v>
                </c:pt>
                <c:pt idx="3">
                  <c:v>37.606999999999999</c:v>
                </c:pt>
                <c:pt idx="4">
                  <c:v>81.073999999999998</c:v>
                </c:pt>
                <c:pt idx="5">
                  <c:v>37.692500000000003</c:v>
                </c:pt>
                <c:pt idx="6">
                  <c:v>40.941499999999998</c:v>
                </c:pt>
                <c:pt idx="7">
                  <c:v>36.332299999999996</c:v>
                </c:pt>
              </c:numCache>
            </c:numRef>
          </c:xVal>
          <c:yVal>
            <c:numRef>
              <c:f>Sheet1!$B$2:$B$9</c:f>
              <c:numCache>
                <c:formatCode>General</c:formatCode>
                <c:ptCount val="8"/>
                <c:pt idx="0">
                  <c:v>1.738</c:v>
                </c:pt>
                <c:pt idx="1">
                  <c:v>1.1140000000000001</c:v>
                </c:pt>
                <c:pt idx="2">
                  <c:v>0.53900000000000003</c:v>
                </c:pt>
                <c:pt idx="3">
                  <c:v>0.70799999999999996</c:v>
                </c:pt>
                <c:pt idx="4">
                  <c:v>1.5169999999999999</c:v>
                </c:pt>
                <c:pt idx="5">
                  <c:v>0.71</c:v>
                </c:pt>
                <c:pt idx="6">
                  <c:v>0.92800000000000005</c:v>
                </c:pt>
                <c:pt idx="7">
                  <c:v>0.68500000000000005</c:v>
                </c:pt>
              </c:numCache>
            </c:numRef>
          </c:yVal>
          <c:bubbleSize>
            <c:numRef>
              <c:f>Sheet1!$C$2:$C$9</c:f>
              <c:numCache>
                <c:formatCode>General</c:formatCode>
                <c:ptCount val="8"/>
                <c:pt idx="0">
                  <c:v>225639</c:v>
                </c:pt>
                <c:pt idx="1">
                  <c:v>89423</c:v>
                </c:pt>
                <c:pt idx="2">
                  <c:v>79662</c:v>
                </c:pt>
                <c:pt idx="3">
                  <c:v>66602</c:v>
                </c:pt>
                <c:pt idx="4">
                  <c:v>54806</c:v>
                </c:pt>
                <c:pt idx="5">
                  <c:v>37881</c:v>
                </c:pt>
                <c:pt idx="6">
                  <c:v>36397</c:v>
                </c:pt>
                <c:pt idx="7">
                  <c:v>33571</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DD52E3-167D-41E8-99D2-44F1C06413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9F6F85-D07D-4F41-A8A5-048EAA8B06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797381-124D-4F3A-B679-6D14D2E2F0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D4770F-1453-4313-92F1-AA701EB85F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ED3240-A21F-4C17-9E5F-D37298AF00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70FFCA-A7A1-4D99-BD4F-4FE12A3306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F3C867-E8A2-4D6C-9FAC-3B3D974F3B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821E73-E8D5-4598-86A5-34C9A729E1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27299999999994</c:v>
                </c:pt>
                <c:pt idx="1">
                  <c:v>53.070300000000003</c:v>
                </c:pt>
                <c:pt idx="2">
                  <c:v>26.328800000000001</c:v>
                </c:pt>
                <c:pt idx="3">
                  <c:v>37.6845</c:v>
                </c:pt>
                <c:pt idx="4">
                  <c:v>81.751900000000006</c:v>
                </c:pt>
                <c:pt idx="5">
                  <c:v>37.932200000000002</c:v>
                </c:pt>
                <c:pt idx="6">
                  <c:v>36.190100000000001</c:v>
                </c:pt>
                <c:pt idx="7">
                  <c:v>41.236199999999997</c:v>
                </c:pt>
              </c:numCache>
            </c:numRef>
          </c:xVal>
          <c:yVal>
            <c:numRef>
              <c:f>Sheet1!$B$2:$B$9</c:f>
              <c:numCache>
                <c:formatCode>General</c:formatCode>
                <c:ptCount val="8"/>
                <c:pt idx="0">
                  <c:v>1.7669999999999999</c:v>
                </c:pt>
                <c:pt idx="1">
                  <c:v>1.131</c:v>
                </c:pt>
                <c:pt idx="2">
                  <c:v>0.53800000000000003</c:v>
                </c:pt>
                <c:pt idx="3">
                  <c:v>0.71899999999999997</c:v>
                </c:pt>
                <c:pt idx="4">
                  <c:v>1.554</c:v>
                </c:pt>
                <c:pt idx="5">
                  <c:v>0.72399999999999998</c:v>
                </c:pt>
                <c:pt idx="6">
                  <c:v>0.69599999999999995</c:v>
                </c:pt>
                <c:pt idx="7">
                  <c:v>0.93200000000000005</c:v>
                </c:pt>
              </c:numCache>
            </c:numRef>
          </c:yVal>
          <c:bubbleSize>
            <c:numRef>
              <c:f>Sheet1!$C$2:$C$9</c:f>
              <c:numCache>
                <c:formatCode>General</c:formatCode>
                <c:ptCount val="8"/>
                <c:pt idx="0">
                  <c:v>206491</c:v>
                </c:pt>
                <c:pt idx="1">
                  <c:v>87619</c:v>
                </c:pt>
                <c:pt idx="2">
                  <c:v>75116</c:v>
                </c:pt>
                <c:pt idx="3">
                  <c:v>68925</c:v>
                </c:pt>
                <c:pt idx="4">
                  <c:v>53384</c:v>
                </c:pt>
                <c:pt idx="5">
                  <c:v>36946</c:v>
                </c:pt>
                <c:pt idx="6">
                  <c:v>32933</c:v>
                </c:pt>
                <c:pt idx="7">
                  <c:v>31422</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Demoiselle</c:v>
                  </c:pt>
                  <c:pt idx="4">
                    <c:v>Laurent Perrier</c:v>
                  </c:pt>
                  <c:pt idx="5">
                    <c:v>Nicolas Feuillatte</c:v>
                  </c:pt>
                  <c:pt idx="6">
                    <c:v>Malard</c:v>
                  </c:pt>
                  <c:pt idx="7">
                    <c:v>Besserat De Bellef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2FA082-BB01-4ABE-95F3-FAA9A41C72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68097B-CD31-446E-96F8-A2A94ACD26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CA7E41-5971-4632-B376-D3C7E826DE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BD8E2C-79EC-41B7-B6B4-26F2E83A4E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765AC0-73CC-494E-BEE0-8AD46FCEEF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564420-D5A3-4475-B956-6FF49E8B64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499F331-7787-4145-9F57-B40EB5D1AB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A1E918-1653-4E34-9FBF-8C7919D5D9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1654999999999998</c:v>
                </c:pt>
                <c:pt idx="1">
                  <c:v>7.0598000000000001</c:v>
                </c:pt>
                <c:pt idx="2">
                  <c:v>8.4002999999999997</c:v>
                </c:pt>
                <c:pt idx="3">
                  <c:v>7.6973000000000003</c:v>
                </c:pt>
                <c:pt idx="4">
                  <c:v>9.7827999999999999</c:v>
                </c:pt>
                <c:pt idx="5">
                  <c:v>7.3342999999999998</c:v>
                </c:pt>
                <c:pt idx="6">
                  <c:v>7.7112999999999996</c:v>
                </c:pt>
                <c:pt idx="7">
                  <c:v>12.7386</c:v>
                </c:pt>
              </c:numCache>
            </c:numRef>
          </c:xVal>
          <c:yVal>
            <c:numRef>
              <c:f>Sheet1!$B$2:$B$9</c:f>
              <c:numCache>
                <c:formatCode>General</c:formatCode>
                <c:ptCount val="8"/>
                <c:pt idx="0">
                  <c:v>0.995</c:v>
                </c:pt>
                <c:pt idx="1">
                  <c:v>0.95799999999999996</c:v>
                </c:pt>
                <c:pt idx="2">
                  <c:v>1.0389999999999999</c:v>
                </c:pt>
                <c:pt idx="3">
                  <c:v>1.0349999999999999</c:v>
                </c:pt>
                <c:pt idx="4">
                  <c:v>1.1910000000000001</c:v>
                </c:pt>
                <c:pt idx="5">
                  <c:v>1.0309999999999999</c:v>
                </c:pt>
                <c:pt idx="6">
                  <c:v>1.0840000000000001</c:v>
                </c:pt>
                <c:pt idx="7">
                  <c:v>1.792</c:v>
                </c:pt>
              </c:numCache>
            </c:numRef>
          </c:yVal>
          <c:bubbleSize>
            <c:numRef>
              <c:f>Sheet1!$C$2:$C$9</c:f>
              <c:numCache>
                <c:formatCode>General</c:formatCode>
                <c:ptCount val="8"/>
                <c:pt idx="0">
                  <c:v>15897650</c:v>
                </c:pt>
                <c:pt idx="1">
                  <c:v>12258120</c:v>
                </c:pt>
                <c:pt idx="2">
                  <c:v>4177323</c:v>
                </c:pt>
                <c:pt idx="3">
                  <c:v>3025266</c:v>
                </c:pt>
                <c:pt idx="4">
                  <c:v>1797924</c:v>
                </c:pt>
                <c:pt idx="5">
                  <c:v>932508</c:v>
                </c:pt>
                <c:pt idx="6">
                  <c:v>550341</c:v>
                </c:pt>
                <c:pt idx="7">
                  <c:v>506817</c:v>
                </c:pt>
              </c:numCache>
            </c:numRef>
          </c:bubbleSize>
          <c:bubble3D val="0"/>
          <c:extLst>
            <c:ext xmlns:c15="http://schemas.microsoft.com/office/drawing/2012/chart" uri="{02D57815-91ED-43cb-92C2-25804820EDAC}">
              <c15:datalabelsRange>
                <c15:f>Sheet1!$E$2:$E$10</c15:f>
                <c15:dlblRangeCache>
                  <c:ptCount val="9"/>
                  <c:pt idx="0">
                    <c:v>Veuve Ambal</c:v>
                  </c:pt>
                  <c:pt idx="1">
                    <c:v>Mdd</c:v>
                  </c:pt>
                  <c:pt idx="2">
                    <c:v>Couvent Des Visitandines</c:v>
                  </c:pt>
                  <c:pt idx="3">
                    <c:v>Moillard</c:v>
                  </c:pt>
                  <c:pt idx="4">
                    <c:v>Louis Bouillot</c:v>
                  </c:pt>
                  <c:pt idx="5">
                    <c:v>Valenger</c:v>
                  </c:pt>
                  <c:pt idx="6">
                    <c:v>Caves De Lugny</c:v>
                  </c:pt>
                  <c:pt idx="7">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9990CD0-4B81-4AB7-A670-1C6D885833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963E104-0E34-449C-A6A4-D2D40608F2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C2E89963-1234-459B-ACD3-57CD140C95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FE99140-B112-47FF-AA3C-7E8FCFDAB8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F148956D-5F4A-449D-BB30-82767367D8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48CCDB64-7F20-4957-984E-A23F327C84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8013AF4B-6955-437A-8A2F-E78806DEF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2351C61-31BC-40C7-ACB8-9F80F2679F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11900000000001</c:v>
                </c:pt>
                <c:pt idx="1">
                  <c:v>11.3827</c:v>
                </c:pt>
              </c:numCache>
            </c:numRef>
          </c:xVal>
          <c:yVal>
            <c:numRef>
              <c:f>Sheet1!$B$2:$B$3</c:f>
              <c:numCache>
                <c:formatCode>General</c:formatCode>
                <c:ptCount val="2"/>
                <c:pt idx="0">
                  <c:v>1.6539999999999999</c:v>
                </c:pt>
                <c:pt idx="1">
                  <c:v>0.64900000000000002</c:v>
                </c:pt>
              </c:numCache>
            </c:numRef>
          </c:yVal>
          <c:bubbleSize>
            <c:numRef>
              <c:f>Sheet1!$C$2:$C$3</c:f>
              <c:numCache>
                <c:formatCode>General</c:formatCode>
                <c:ptCount val="2"/>
                <c:pt idx="0">
                  <c:v>237317</c:v>
                </c:pt>
                <c:pt idx="1">
                  <c:v>15429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8B264C-E73F-4484-9D12-5711B83EF7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D572B04-1AA4-4843-BD22-5F0E0905EA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2537329-AF16-4F6F-9DE9-BC587AF55A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FE36A50-C500-4561-9E7F-B4AA440E36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4335BC2-0F88-415C-A6C8-B915EBDB23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A827B26-0152-4F5A-9AE1-C9F1741D1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4F0641D-B992-4616-91A1-0A4042197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6CC183D-3AFB-4350-B7F5-748184843D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646</c:v>
                </c:pt>
              </c:numCache>
            </c:numRef>
          </c:xVal>
          <c:yVal>
            <c:numRef>
              <c:f>Sheet1!$B$2:$B$2</c:f>
              <c:numCache>
                <c:formatCode>General</c:formatCode>
                <c:ptCount val="1"/>
                <c:pt idx="0">
                  <c:v>0.99399999999999999</c:v>
                </c:pt>
              </c:numCache>
            </c:numRef>
          </c:yVal>
          <c:bubbleSize>
            <c:numRef>
              <c:f>Sheet1!$C$2:$C$2</c:f>
              <c:numCache>
                <c:formatCode>General</c:formatCode>
                <c:ptCount val="1"/>
                <c:pt idx="0">
                  <c:v>507318</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B7D1E0-D4D7-4097-AB20-8AA5A43870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655239-D969-4A8C-B636-0B9FC7EB9A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4A04A7-4937-4595-A765-EEEDA5D108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CEABCD7-8BF8-4E42-9794-21EE1238E1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0B54B6-E6E7-455C-83B5-A1E3897682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403FC0-C06D-4F2E-8C8E-C30AB56A58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4EE39A-80FC-4EC4-B4CB-31AF77356E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137547F-7CF9-49ED-854D-DF2DF51E1C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8.1654999999999998</c:v>
                </c:pt>
                <c:pt idx="1">
                  <c:v>7.0598000000000001</c:v>
                </c:pt>
                <c:pt idx="2">
                  <c:v>8.4002999999999997</c:v>
                </c:pt>
                <c:pt idx="3">
                  <c:v>7.6973000000000003</c:v>
                </c:pt>
                <c:pt idx="4">
                  <c:v>9.7827999999999999</c:v>
                </c:pt>
                <c:pt idx="5">
                  <c:v>7.3342999999999998</c:v>
                </c:pt>
                <c:pt idx="6">
                  <c:v>7.7112999999999996</c:v>
                </c:pt>
              </c:numCache>
            </c:numRef>
          </c:xVal>
          <c:yVal>
            <c:numRef>
              <c:f>Sheet1!$B$2:$B$8</c:f>
              <c:numCache>
                <c:formatCode>General</c:formatCode>
                <c:ptCount val="7"/>
                <c:pt idx="0">
                  <c:v>1.0009999999999999</c:v>
                </c:pt>
                <c:pt idx="1">
                  <c:v>0.96399999999999997</c:v>
                </c:pt>
                <c:pt idx="2">
                  <c:v>1.0449999999999999</c:v>
                </c:pt>
                <c:pt idx="3">
                  <c:v>1.0409999999999999</c:v>
                </c:pt>
                <c:pt idx="4">
                  <c:v>1.198</c:v>
                </c:pt>
                <c:pt idx="5">
                  <c:v>1.0369999999999999</c:v>
                </c:pt>
                <c:pt idx="6">
                  <c:v>1.0900000000000001</c:v>
                </c:pt>
              </c:numCache>
            </c:numRef>
          </c:yVal>
          <c:bubbleSize>
            <c:numRef>
              <c:f>Sheet1!$C$2:$C$8</c:f>
              <c:numCache>
                <c:formatCode>General</c:formatCode>
                <c:ptCount val="7"/>
                <c:pt idx="0">
                  <c:v>15897650</c:v>
                </c:pt>
                <c:pt idx="1">
                  <c:v>12258120</c:v>
                </c:pt>
                <c:pt idx="2">
                  <c:v>4177323</c:v>
                </c:pt>
                <c:pt idx="3">
                  <c:v>3025266</c:v>
                </c:pt>
                <c:pt idx="4">
                  <c:v>1797924</c:v>
                </c:pt>
                <c:pt idx="5">
                  <c:v>932508</c:v>
                </c:pt>
                <c:pt idx="6">
                  <c:v>550341</c:v>
                </c:pt>
              </c:numCache>
            </c:numRef>
          </c:bubbleSize>
          <c:bubble3D val="0"/>
          <c:extLst>
            <c:ext xmlns:c15="http://schemas.microsoft.com/office/drawing/2012/chart" uri="{02D57815-91ED-43cb-92C2-25804820EDAC}">
              <c15:datalabelsRange>
                <c15:f>Sheet1!$E$2:$E$10</c15:f>
                <c15:dlblRangeCache>
                  <c:ptCount val="9"/>
                  <c:pt idx="0">
                    <c:v>Veuve Ambal</c:v>
                  </c:pt>
                  <c:pt idx="1">
                    <c:v>Mdd</c:v>
                  </c:pt>
                  <c:pt idx="2">
                    <c:v>Couvent Des Visitandines</c:v>
                  </c:pt>
                  <c:pt idx="3">
                    <c:v>Moillard</c:v>
                  </c:pt>
                  <c:pt idx="4">
                    <c:v>Louis Bouillot</c:v>
                  </c:pt>
                  <c:pt idx="5">
                    <c:v>Valenger</c:v>
                  </c:pt>
                  <c:pt idx="6">
                    <c:v>Caves De Lu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EDFD3A-A8B1-48AB-9AAA-9F7A40253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63FBE6A-8C59-4F9B-A34C-9CCDFE1EEF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0454E0D-0645-46EC-B36E-F17E5246C0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6791625-7F59-46FF-B0CC-12F0C7867F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2791791-7BA7-48DB-98A6-008E700BDB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FEF58E1-2732-4CED-AF70-EACA400DE5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975DD3-9A95-496E-BF01-8B4ACFAD3B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E9B2808-B246-4B8C-8D3E-2F5B0EE878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53</c:v>
                </c:pt>
              </c:numCache>
            </c:numRef>
          </c:xVal>
          <c:yVal>
            <c:numRef>
              <c:f>Sheet1!$B$2:$B$2</c:f>
              <c:numCache>
                <c:formatCode>General</c:formatCode>
                <c:ptCount val="1"/>
                <c:pt idx="0">
                  <c:v>1</c:v>
                </c:pt>
              </c:numCache>
            </c:numRef>
          </c:yVal>
          <c:bubbleSize>
            <c:numRef>
              <c:f>Sheet1!$C$2:$C$2</c:f>
              <c:numCache>
                <c:formatCode>General</c:formatCode>
                <c:ptCount val="1"/>
                <c:pt idx="0">
                  <c:v>231659</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4E6646-05E1-4561-921E-B6765502E7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B749628-E99F-4A2C-81DC-61E7F8A251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E0948DE-B79B-4A95-8957-8C1A6E88A4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07F289B-F561-4749-B3BC-573CF9AC3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7C5406-5395-453D-9726-0CA22F7A8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C7B70F2-0C9B-449F-AF73-3B8CD2143C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0528A2D-BADC-4F26-BE49-A0F4269256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570DB9-FA5C-460D-ADF9-97E6A0AAF3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45100000000001</c:v>
                </c:pt>
              </c:numCache>
            </c:numRef>
          </c:xVal>
          <c:yVal>
            <c:numRef>
              <c:f>Sheet1!$B$2:$B$2</c:f>
              <c:numCache>
                <c:formatCode>General</c:formatCode>
                <c:ptCount val="1"/>
                <c:pt idx="0">
                  <c:v>0.98799999999999999</c:v>
                </c:pt>
              </c:numCache>
            </c:numRef>
          </c:yVal>
          <c:bubbleSize>
            <c:numRef>
              <c:f>Sheet1!$C$2:$C$2</c:f>
              <c:numCache>
                <c:formatCode>General</c:formatCode>
                <c:ptCount val="1"/>
                <c:pt idx="0">
                  <c:v>115254</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8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B8CCAF-428F-4262-A89B-E77B045AA2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22DA1B2-2AE6-4ACF-B381-700BCCACB9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17BE760-D749-4965-9026-7BA3A46C8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C93A69B-C71E-420F-92E9-068B20A014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7858360-2157-4452-B644-B7978A27D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3D3B375-FB35-4954-9A7A-8DEBC02753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DC00FC3-C19F-4353-8817-60637151CF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A6D452D-1444-4704-AC8D-D85AE2BCCA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021599999999999</c:v>
                </c:pt>
              </c:numCache>
            </c:numRef>
          </c:xVal>
          <c:yVal>
            <c:numRef>
              <c:f>Sheet1!$B$2:$B$2</c:f>
              <c:numCache>
                <c:formatCode>General</c:formatCode>
                <c:ptCount val="1"/>
                <c:pt idx="0">
                  <c:v>1</c:v>
                </c:pt>
              </c:numCache>
            </c:numRef>
          </c:yVal>
          <c:bubbleSize>
            <c:numRef>
              <c:f>Sheet1!$C$2:$C$2</c:f>
              <c:numCache>
                <c:formatCode>General</c:formatCode>
                <c:ptCount val="1"/>
                <c:pt idx="0">
                  <c:v>56722</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4CFA13-48D6-4E85-B021-BAE1B15B81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FD5D142-6F37-41EE-99B2-3AD4D6AF2C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ED40734-D73C-43EC-BC05-02FDA6B9A8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CB23659-62C0-4A36-908F-B9DB234006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5A58442-A8CB-4E59-B527-3429ACAF8F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D3DF2A2-6504-4A9F-A413-D01F965AC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7405A2-2079-48BC-ABDF-C279CC274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089CC10-56B0-4753-88B7-EB7D281636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857200000000001</c:v>
                </c:pt>
              </c:numCache>
            </c:numRef>
          </c:xVal>
          <c:yVal>
            <c:numRef>
              <c:f>Sheet1!$B$2:$B$2</c:f>
              <c:numCache>
                <c:formatCode>General</c:formatCode>
                <c:ptCount val="1"/>
                <c:pt idx="0">
                  <c:v>1</c:v>
                </c:pt>
              </c:numCache>
            </c:numRef>
          </c:yVal>
          <c:bubbleSize>
            <c:numRef>
              <c:f>Sheet1!$C$2:$C$2</c:f>
              <c:numCache>
                <c:formatCode>General</c:formatCode>
                <c:ptCount val="1"/>
                <c:pt idx="0">
                  <c:v>24043</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383CE9-D9EA-465A-9969-918DB5D24F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97884DC-3D99-4F2D-90B8-FB42C436DC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95DF7EE-3FC0-4F1A-B95B-239D648DCE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AFE1023-A113-4E78-B5FC-D0BFE97927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E7CB4A5-6905-4B1D-B649-A98A48C0F1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015DE31-92C8-4DD3-95F2-260C63344A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213532-CD2F-4DF6-9F87-DD0231BCF3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4ACB7B-F483-4EB1-8B51-97DC95A1C2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435700000000001</c:v>
                </c:pt>
              </c:numCache>
            </c:numRef>
          </c:xVal>
          <c:yVal>
            <c:numRef>
              <c:f>Sheet1!$B$2:$B$2</c:f>
              <c:numCache>
                <c:formatCode>General</c:formatCode>
                <c:ptCount val="1"/>
                <c:pt idx="0">
                  <c:v>1</c:v>
                </c:pt>
              </c:numCache>
            </c:numRef>
          </c:yVal>
          <c:bubbleSize>
            <c:numRef>
              <c:f>Sheet1!$C$2:$C$2</c:f>
              <c:numCache>
                <c:formatCode>General</c:formatCode>
                <c:ptCount val="1"/>
                <c:pt idx="0">
                  <c:v>20606</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AC541E-AD84-4E98-A8D1-B52BD405C1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1597E83-EBEA-41A9-AD6F-B768E849FD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1DB6554-B515-4B34-A1EC-0B13C10DB4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F639487-B840-4559-83A0-45CEAA63E1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3AC03E3-EBAD-4EB1-8E39-603F732165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C8A60F9-4C56-44FC-A586-98EAF6CB01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17575D6-C670-41F7-AB6A-7A9B44A280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DE1A59B-2A7A-4E34-AFC4-C564658E2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76999999999999</c:v>
                </c:pt>
              </c:numCache>
            </c:numRef>
          </c:xVal>
          <c:yVal>
            <c:numRef>
              <c:f>Sheet1!$B$2:$B$2</c:f>
              <c:numCache>
                <c:formatCode>General</c:formatCode>
                <c:ptCount val="1"/>
                <c:pt idx="0">
                  <c:v>1</c:v>
                </c:pt>
              </c:numCache>
            </c:numRef>
          </c:yVal>
          <c:bubbleSize>
            <c:numRef>
              <c:f>Sheet1!$C$2:$C$2</c:f>
              <c:numCache>
                <c:formatCode>General</c:formatCode>
                <c:ptCount val="1"/>
                <c:pt idx="0">
                  <c:v>352518</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5CB1BD-68B3-4BFF-B305-089172631C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C16D732-6650-4621-8DE5-A2D6DC1A60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83A2613-E0C0-4680-8939-00E5AC054F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8539C13-D94C-4441-B5A9-809F25A708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CA9D81E-5D0A-4840-8DE9-28311F143F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B229F61-B6E6-4F16-B0AE-7532518E1F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7D797A7-BBA5-431A-952C-F2B8023272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8E007E-70F7-4BED-BE54-ECF192DDA8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8293</c:v>
                </c:pt>
              </c:numCache>
            </c:numRef>
          </c:xVal>
          <c:yVal>
            <c:numRef>
              <c:f>Sheet1!$B$2:$B$2</c:f>
              <c:numCache>
                <c:formatCode>General</c:formatCode>
                <c:ptCount val="1"/>
                <c:pt idx="0">
                  <c:v>1</c:v>
                </c:pt>
              </c:numCache>
            </c:numRef>
          </c:yVal>
          <c:bubbleSize>
            <c:numRef>
              <c:f>Sheet1!$C$2:$C$2</c:f>
              <c:numCache>
                <c:formatCode>General</c:formatCode>
                <c:ptCount val="1"/>
                <c:pt idx="0">
                  <c:v>39373</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2B1D21-B0CA-4168-A998-5C6D522EB1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F920222-F6C9-40F5-96AD-18993B8018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87F84F4-178C-401E-81BD-8B72B8DC46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67E2C53-EC7E-4EEE-B6D9-DFF1C8036F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7EDB822-DD1C-4679-8B0C-A185314345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548C172-9815-443D-A2D1-722FD490D7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254B71F-15F5-43CC-BEBA-7E5E415E99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A3795E6-7FC8-4E27-9C5C-6221831D02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144</c:v>
                </c:pt>
              </c:numCache>
            </c:numRef>
          </c:xVal>
          <c:yVal>
            <c:numRef>
              <c:f>Sheet1!$B$2:$B$2</c:f>
              <c:numCache>
                <c:formatCode>General</c:formatCode>
                <c:ptCount val="1"/>
                <c:pt idx="0">
                  <c:v>1</c:v>
                </c:pt>
              </c:numCache>
            </c:numRef>
          </c:yVal>
          <c:bubbleSize>
            <c:numRef>
              <c:f>Sheet1!$C$2:$C$2</c:f>
              <c:numCache>
                <c:formatCode>General</c:formatCode>
                <c:ptCount val="1"/>
                <c:pt idx="0">
                  <c:v>33731</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A20ED8-B6BC-4EAD-9218-28809BC5EF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72A5DC-A9E3-42FA-BE80-FE4178AB79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7DD4DE-E92C-4DF1-A48D-A543C0C8B2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C1B213-A825-4310-B15B-96438263F4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663C90-FEF9-4819-BC01-FEFAAE3E81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CDC692-F4DD-4ADC-A325-F76EA2F8A7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7DC99B-E485-4604-A1FA-6E13CE1F14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9E8F01-754A-4573-8BBF-F87A01DBAD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902299999999997</c:v>
                </c:pt>
                <c:pt idx="1">
                  <c:v>23.632999999999999</c:v>
                </c:pt>
                <c:pt idx="2">
                  <c:v>51.113900000000001</c:v>
                </c:pt>
                <c:pt idx="3">
                  <c:v>54.3947</c:v>
                </c:pt>
                <c:pt idx="4">
                  <c:v>84.752200000000002</c:v>
                </c:pt>
                <c:pt idx="5">
                  <c:v>29.332599999999999</c:v>
                </c:pt>
                <c:pt idx="6">
                  <c:v>31.468499999999999</c:v>
                </c:pt>
                <c:pt idx="7">
                  <c:v>273.90089999999998</c:v>
                </c:pt>
              </c:numCache>
            </c:numRef>
          </c:xVal>
          <c:yVal>
            <c:numRef>
              <c:f>Sheet1!$B$2:$B$9</c:f>
              <c:numCache>
                <c:formatCode>General</c:formatCode>
                <c:ptCount val="8"/>
                <c:pt idx="0">
                  <c:v>1.5569999999999999</c:v>
                </c:pt>
                <c:pt idx="1">
                  <c:v>0.51700000000000002</c:v>
                </c:pt>
                <c:pt idx="2">
                  <c:v>1.0720000000000001</c:v>
                </c:pt>
                <c:pt idx="3">
                  <c:v>1.073</c:v>
                </c:pt>
                <c:pt idx="4">
                  <c:v>1.726</c:v>
                </c:pt>
                <c:pt idx="5">
                  <c:v>0.64400000000000002</c:v>
                </c:pt>
                <c:pt idx="6">
                  <c:v>0.69099999999999995</c:v>
                </c:pt>
                <c:pt idx="7">
                  <c:v>5.7939999999999996</c:v>
                </c:pt>
              </c:numCache>
            </c:numRef>
          </c:yVal>
          <c:bubbleSize>
            <c:numRef>
              <c:f>Sheet1!$C$2:$C$9</c:f>
              <c:numCache>
                <c:formatCode>General</c:formatCode>
                <c:ptCount val="8"/>
                <c:pt idx="0">
                  <c:v>1905667</c:v>
                </c:pt>
                <c:pt idx="1">
                  <c:v>630859</c:v>
                </c:pt>
                <c:pt idx="2">
                  <c:v>491358</c:v>
                </c:pt>
                <c:pt idx="3">
                  <c:v>344699</c:v>
                </c:pt>
                <c:pt idx="4">
                  <c:v>234933</c:v>
                </c:pt>
                <c:pt idx="5">
                  <c:v>217736</c:v>
                </c:pt>
                <c:pt idx="6">
                  <c:v>211311</c:v>
                </c:pt>
                <c:pt idx="7">
                  <c:v>18789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Roederer</c:v>
                  </c:pt>
                  <c:pt idx="5">
                    <c:v>Heidsieck &amp; Co Monopole</c:v>
                  </c:pt>
                  <c:pt idx="6">
                    <c:v>Malard</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BA4DA9-C7E6-4F68-960B-A9DDF90240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56F663C-73F2-4964-B52C-460F286983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B1D0650-6B0A-433B-90C9-66655C63A9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2F287E3-AA9F-4B5B-A119-7B59185D60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B4670BB-BC3F-4220-A0C0-C0F27C579E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E2FDFC5-62ED-491D-B0BA-E5DC966403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3252A78-1858-40A0-BB7F-84191B5DF5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1DAACA4-2F57-4F01-B8D9-E58C7BD943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576</c:v>
                </c:pt>
              </c:numCache>
            </c:numRef>
          </c:xVal>
          <c:yVal>
            <c:numRef>
              <c:f>Sheet1!$B$2:$B$2</c:f>
              <c:numCache>
                <c:formatCode>General</c:formatCode>
                <c:ptCount val="1"/>
                <c:pt idx="0">
                  <c:v>1</c:v>
                </c:pt>
              </c:numCache>
            </c:numRef>
          </c:yVal>
          <c:bubbleSize>
            <c:numRef>
              <c:f>Sheet1!$C$2:$C$2</c:f>
              <c:numCache>
                <c:formatCode>General</c:formatCode>
                <c:ptCount val="1"/>
                <c:pt idx="0">
                  <c:v>14860</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B35C07-583C-4A4F-A0EC-02883AB891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98D61F3-66BC-43B3-9E1E-BBF12B6079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6FEC8AB-D3CB-4747-A8C4-85AA31CBA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A2CE00D-0077-4E73-8A7C-0EFC8F8AB0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82870DB-2C80-4920-9EED-FF2AB69926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D74BCB-FEF3-44F8-A643-927200B34D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1F59117-FE12-4DA8-B9D1-61B5B75CAB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5777B6C-465C-430D-89D2-9DC8FF968B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973800000000001</c:v>
                </c:pt>
              </c:numCache>
            </c:numRef>
          </c:xVal>
          <c:yVal>
            <c:numRef>
              <c:f>Sheet1!$B$2:$B$2</c:f>
              <c:numCache>
                <c:formatCode>General</c:formatCode>
                <c:ptCount val="1"/>
                <c:pt idx="0">
                  <c:v>1</c:v>
                </c:pt>
              </c:numCache>
            </c:numRef>
          </c:yVal>
          <c:bubbleSize>
            <c:numRef>
              <c:f>Sheet1!$C$2:$C$2</c:f>
              <c:numCache>
                <c:formatCode>General</c:formatCode>
                <c:ptCount val="1"/>
                <c:pt idx="0">
                  <c:v>3957</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C91D1E-C352-472A-8C8C-9A9364EA0D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8CE68C9-BAE8-444F-AAA2-A52E697BAD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496ED60-3F56-4D62-B237-A522AACD86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0230152-9E18-4577-8002-10564E26D1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81F78DD-460E-4143-A0D6-B622587A1C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196F3D-E72D-4D5E-A78A-617D7D8A9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8C890FD-8B0C-425F-82B8-845FE30653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653994-EA09-48A2-9D67-37D35D823E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675</c:v>
                </c:pt>
              </c:numCache>
            </c:numRef>
          </c:xVal>
          <c:yVal>
            <c:numRef>
              <c:f>Sheet1!$B$2:$B$2</c:f>
              <c:numCache>
                <c:formatCode>General</c:formatCode>
                <c:ptCount val="1"/>
                <c:pt idx="0">
                  <c:v>1</c:v>
                </c:pt>
              </c:numCache>
            </c:numRef>
          </c:yVal>
          <c:bubbleSize>
            <c:numRef>
              <c:f>Sheet1!$C$2:$C$2</c:f>
              <c:numCache>
                <c:formatCode>General</c:formatCode>
                <c:ptCount val="1"/>
                <c:pt idx="0">
                  <c:v>123577</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EE440C-A8ED-447C-AE09-5F2909AE5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AFF6558-78C9-4EBC-91AC-489AD8AB75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F83EE85-D30F-4929-854D-091CFEA18C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0F6F951-DC86-46D8-9CF9-3293D6B63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DC40D07-2BF6-47F6-A7A7-B93DC0296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9147825-3AF7-4254-834E-77B9752CAD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B41F35B-51F9-4518-87BC-9D8799EC3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4CDF6AB-7826-4B38-BA90-1E696EEFDA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821</c:v>
                </c:pt>
              </c:numCache>
            </c:numRef>
          </c:xVal>
          <c:yVal>
            <c:numRef>
              <c:f>Sheet1!$B$2:$B$2</c:f>
              <c:numCache>
                <c:formatCode>General</c:formatCode>
                <c:ptCount val="1"/>
                <c:pt idx="0">
                  <c:v>1</c:v>
                </c:pt>
              </c:numCache>
            </c:numRef>
          </c:yVal>
          <c:bubbleSize>
            <c:numRef>
              <c:f>Sheet1!$C$2:$C$2</c:f>
              <c:numCache>
                <c:formatCode>General</c:formatCode>
                <c:ptCount val="1"/>
                <c:pt idx="0">
                  <c:v>74724</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FE9AF7-CB33-45A4-ADA2-A808CBF258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3924B31-23A8-4707-8247-859BBBDE47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4418400-3958-4C09-B29E-EC7E7D80AB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169650A-DF17-4D95-BAF0-8ED4ADCA84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86C0893-1A4B-49E2-AAD1-700CDA40A9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D90471C-95C6-4247-9BF8-38D4CB9CA2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7DBDC90-0ADA-46C5-8E30-B4CADA4BFA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57F80F5-959E-4191-BA35-9AF43AA8B7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696099999999999</c:v>
                </c:pt>
              </c:numCache>
            </c:numRef>
          </c:xVal>
          <c:yVal>
            <c:numRef>
              <c:f>Sheet1!$B$2:$B$2</c:f>
              <c:numCache>
                <c:formatCode>General</c:formatCode>
                <c:ptCount val="1"/>
                <c:pt idx="0">
                  <c:v>1</c:v>
                </c:pt>
              </c:numCache>
            </c:numRef>
          </c:yVal>
          <c:bubbleSize>
            <c:numRef>
              <c:f>Sheet1!$C$2:$C$2</c:f>
              <c:numCache>
                <c:formatCode>General</c:formatCode>
                <c:ptCount val="1"/>
                <c:pt idx="0">
                  <c:v>111713</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9A3D70-73F2-44AE-A5FE-8D8E0BB847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AAEC553-4EFB-46AA-AFD3-98CD68CD73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0FFE03F-4E2F-4A56-A464-4602DB52FF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FE191D2-347E-44A7-AA3A-1E47A61F00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3D2CCF2-29C7-4C6A-BE5C-D65247DC4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AE9D96C-AA55-4E7D-97EF-0DB722F804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C958568-01D3-40BC-A425-ECDE305FB5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C1309D2-265E-4D51-9C7B-5E4CF91D9A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51099999999999</c:v>
                </c:pt>
              </c:numCache>
            </c:numRef>
          </c:xVal>
          <c:yVal>
            <c:numRef>
              <c:f>Sheet1!$B$2:$B$2</c:f>
              <c:numCache>
                <c:formatCode>General</c:formatCode>
                <c:ptCount val="1"/>
                <c:pt idx="0">
                  <c:v>0.97599999999999998</c:v>
                </c:pt>
              </c:numCache>
            </c:numRef>
          </c:yVal>
          <c:bubbleSize>
            <c:numRef>
              <c:f>Sheet1!$C$2:$C$2</c:f>
              <c:numCache>
                <c:formatCode>General</c:formatCode>
                <c:ptCount val="1"/>
                <c:pt idx="0">
                  <c:v>99140</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7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527834-0F9F-4606-A0B7-B32E7B96CC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3A58B36-D0D7-4EB2-9E1B-2421EC655D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E95144A-A04B-4B01-8007-3C52A5BDB7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C9510E2-6048-45D1-8F47-D05DF1AEF6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DC01738-4291-48C3-8F40-84F32D95B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CA1924A-EB97-48EF-B19B-7E776F8FB3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B74CD01-425E-4421-9A33-0D541ACE3D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74E879-BE65-4768-8EE3-6AEA7CE653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788</c:v>
                </c:pt>
              </c:numCache>
            </c:numRef>
          </c:xVal>
          <c:yVal>
            <c:numRef>
              <c:f>Sheet1!$B$2:$B$2</c:f>
              <c:numCache>
                <c:formatCode>General</c:formatCode>
                <c:ptCount val="1"/>
                <c:pt idx="0">
                  <c:v>0.997</c:v>
                </c:pt>
              </c:numCache>
            </c:numRef>
          </c:yVal>
          <c:bubbleSize>
            <c:numRef>
              <c:f>Sheet1!$C$2:$C$2</c:f>
              <c:numCache>
                <c:formatCode>General</c:formatCode>
                <c:ptCount val="1"/>
                <c:pt idx="0">
                  <c:v>98192</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7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E5A734-D9B2-4C76-AB9B-6BBC8F2FC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84864A-B892-487E-8D9A-CCDCDDBEB7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24D890-DEFF-487F-98E1-01F0A08384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C343F5-B9B0-404F-9DE8-994533E947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E33311-8671-44B6-9F70-D54AA7EF2C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E60D4A-D3BE-4FD7-B6FE-8D9C27D0F1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40F533-F526-4928-84BF-E094200CA0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C5076B-2E64-41D6-8124-19B2FB4C3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000000000003</c:v>
                </c:pt>
                <c:pt idx="1">
                  <c:v>5.4188999999999998</c:v>
                </c:pt>
                <c:pt idx="2">
                  <c:v>6.3528000000000002</c:v>
                </c:pt>
                <c:pt idx="3">
                  <c:v>6.7249999999999996</c:v>
                </c:pt>
                <c:pt idx="4">
                  <c:v>7.1329000000000002</c:v>
                </c:pt>
                <c:pt idx="5">
                  <c:v>6.0354999999999999</c:v>
                </c:pt>
                <c:pt idx="6">
                  <c:v>7.5696000000000003</c:v>
                </c:pt>
                <c:pt idx="7">
                  <c:v>5.5134999999999996</c:v>
                </c:pt>
              </c:numCache>
            </c:numRef>
          </c:xVal>
          <c:yVal>
            <c:numRef>
              <c:f>Sheet1!$B$2:$B$9</c:f>
              <c:numCache>
                <c:formatCode>General</c:formatCode>
                <c:ptCount val="8"/>
                <c:pt idx="0">
                  <c:v>1.149</c:v>
                </c:pt>
                <c:pt idx="1">
                  <c:v>0.82099999999999995</c:v>
                </c:pt>
                <c:pt idx="2">
                  <c:v>0.97099999999999997</c:v>
                </c:pt>
                <c:pt idx="3">
                  <c:v>1.097</c:v>
                </c:pt>
                <c:pt idx="4">
                  <c:v>1.0580000000000001</c:v>
                </c:pt>
                <c:pt idx="5">
                  <c:v>0.95699999999999996</c:v>
                </c:pt>
                <c:pt idx="6">
                  <c:v>1.0629999999999999</c:v>
                </c:pt>
                <c:pt idx="7">
                  <c:v>0.89300000000000002</c:v>
                </c:pt>
              </c:numCache>
            </c:numRef>
          </c:yVal>
          <c:bubbleSize>
            <c:numRef>
              <c:f>Sheet1!$C$2:$C$9</c:f>
              <c:numCache>
                <c:formatCode>General</c:formatCode>
                <c:ptCount val="8"/>
                <c:pt idx="0">
                  <c:v>26217786</c:v>
                </c:pt>
                <c:pt idx="1">
                  <c:v>25627765</c:v>
                </c:pt>
                <c:pt idx="2">
                  <c:v>21170443</c:v>
                </c:pt>
                <c:pt idx="3">
                  <c:v>15294585</c:v>
                </c:pt>
                <c:pt idx="4">
                  <c:v>12946978</c:v>
                </c:pt>
                <c:pt idx="5">
                  <c:v>5219639</c:v>
                </c:pt>
                <c:pt idx="6">
                  <c:v>3730611</c:v>
                </c:pt>
                <c:pt idx="7">
                  <c:v>3036504</c:v>
                </c:pt>
              </c:numCache>
            </c:numRef>
          </c:bubbleSize>
          <c:bubble3D val="0"/>
          <c:extLst>
            <c:ext xmlns:c15="http://schemas.microsoft.com/office/drawing/2012/chart" uri="{02D57815-91ED-43cb-92C2-25804820EDAC}">
              <c15:datalabelsRange>
                <c15:f>Sheet1!$E$2:$E$10</c15:f>
                <c15:dlblRangeCache>
                  <c:ptCount val="9"/>
                  <c:pt idx="0">
                    <c:v>Riccadonna</c:v>
                  </c:pt>
                  <c:pt idx="1">
                    <c:v>Mdd</c:v>
                  </c:pt>
                  <c:pt idx="2">
                    <c:v>Vilaveroni</c:v>
                  </c:pt>
                  <c:pt idx="3">
                    <c:v>Perlino</c:v>
                  </c:pt>
                  <c:pt idx="4">
                    <c:v>Mionetto</c:v>
                  </c:pt>
                  <c:pt idx="5">
                    <c:v>Signore Giuseppe</c:v>
                  </c:pt>
                  <c:pt idx="6">
                    <c:v>Maschio</c:v>
                  </c:pt>
                  <c:pt idx="7">
                    <c:v>Nobran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C4DBB4-D4DE-4EFE-946D-382CEEF82A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DC00AA-D246-476B-B2D7-B7A82CF520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DA3D97-9CAE-4146-875D-B6B370D277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BE5D2B2-A33F-4BE3-9344-44F1246EC7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70FC251-9D8F-492B-8B14-8C46C28A1F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2127F4F-33E8-4777-A68F-8DC5B21F8E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F650D63-904D-43FA-9CC1-1414FD5A8A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599D89B-8CB6-47B2-A53A-353D28B494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51499999999999</c:v>
                </c:pt>
                <c:pt idx="1">
                  <c:v>9.1104000000000003</c:v>
                </c:pt>
                <c:pt idx="2">
                  <c:v>11.444699999999999</c:v>
                </c:pt>
              </c:numCache>
            </c:numRef>
          </c:xVal>
          <c:yVal>
            <c:numRef>
              <c:f>Sheet1!$B$2:$B$4</c:f>
              <c:numCache>
                <c:formatCode>General</c:formatCode>
                <c:ptCount val="3"/>
                <c:pt idx="0">
                  <c:v>1.278</c:v>
                </c:pt>
                <c:pt idx="1">
                  <c:v>1.0169999999999999</c:v>
                </c:pt>
                <c:pt idx="2">
                  <c:v>1.077</c:v>
                </c:pt>
              </c:numCache>
            </c:numRef>
          </c:yVal>
          <c:bubbleSize>
            <c:numRef>
              <c:f>Sheet1!$C$2:$C$4</c:f>
              <c:numCache>
                <c:formatCode>General</c:formatCode>
                <c:ptCount val="3"/>
                <c:pt idx="0">
                  <c:v>607538</c:v>
                </c:pt>
                <c:pt idx="1">
                  <c:v>323774</c:v>
                </c:pt>
                <c:pt idx="2">
                  <c:v>90905</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B3BF30-7DE7-40B1-9349-40AC9ABA33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5C7D92-47FE-46A1-ACC5-04D4893B4F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CBE8BE-74C1-49E5-939F-EFA6B982C4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DD6B55-72C6-4FAD-AF0D-2B2BEC7D4A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013248-699A-4AA6-B527-32D3C5CD65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3C312E-175E-489B-9EC2-2736319F2A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0AFF5CF-1D26-463A-BA57-D64912657D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860212F-1D29-465D-94AF-75F320A506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000000000003</c:v>
                </c:pt>
                <c:pt idx="1">
                  <c:v>5.4188999999999998</c:v>
                </c:pt>
                <c:pt idx="2">
                  <c:v>6.3528000000000002</c:v>
                </c:pt>
                <c:pt idx="3">
                  <c:v>6.7249999999999996</c:v>
                </c:pt>
                <c:pt idx="4">
                  <c:v>7.1329000000000002</c:v>
                </c:pt>
                <c:pt idx="5">
                  <c:v>6.0354999999999999</c:v>
                </c:pt>
                <c:pt idx="6">
                  <c:v>7.5696000000000003</c:v>
                </c:pt>
                <c:pt idx="7">
                  <c:v>5.5134999999999996</c:v>
                </c:pt>
              </c:numCache>
            </c:numRef>
          </c:xVal>
          <c:yVal>
            <c:numRef>
              <c:f>Sheet1!$B$2:$B$9</c:f>
              <c:numCache>
                <c:formatCode>General</c:formatCode>
                <c:ptCount val="8"/>
                <c:pt idx="0">
                  <c:v>1.1539999999999999</c:v>
                </c:pt>
                <c:pt idx="1">
                  <c:v>0.82399999999999995</c:v>
                </c:pt>
                <c:pt idx="2">
                  <c:v>0.97499999999999998</c:v>
                </c:pt>
                <c:pt idx="3">
                  <c:v>1.1020000000000001</c:v>
                </c:pt>
                <c:pt idx="4">
                  <c:v>1.0620000000000001</c:v>
                </c:pt>
                <c:pt idx="5">
                  <c:v>0.96099999999999997</c:v>
                </c:pt>
                <c:pt idx="6">
                  <c:v>1.0680000000000001</c:v>
                </c:pt>
                <c:pt idx="7">
                  <c:v>0.89600000000000002</c:v>
                </c:pt>
              </c:numCache>
            </c:numRef>
          </c:yVal>
          <c:bubbleSize>
            <c:numRef>
              <c:f>Sheet1!$C$2:$C$9</c:f>
              <c:numCache>
                <c:formatCode>General</c:formatCode>
                <c:ptCount val="8"/>
                <c:pt idx="0">
                  <c:v>26217786</c:v>
                </c:pt>
                <c:pt idx="1">
                  <c:v>25627765</c:v>
                </c:pt>
                <c:pt idx="2">
                  <c:v>21162718</c:v>
                </c:pt>
                <c:pt idx="3">
                  <c:v>15294585</c:v>
                </c:pt>
                <c:pt idx="4">
                  <c:v>12946978</c:v>
                </c:pt>
                <c:pt idx="5">
                  <c:v>5219639</c:v>
                </c:pt>
                <c:pt idx="6">
                  <c:v>3730611</c:v>
                </c:pt>
                <c:pt idx="7">
                  <c:v>3036504</c:v>
                </c:pt>
              </c:numCache>
            </c:numRef>
          </c:bubbleSize>
          <c:bubble3D val="0"/>
          <c:extLst>
            <c:ext xmlns:c15="http://schemas.microsoft.com/office/drawing/2012/chart" uri="{02D57815-91ED-43cb-92C2-25804820EDAC}">
              <c15:datalabelsRange>
                <c15:f>Sheet1!$E$2:$E$10</c15:f>
                <c15:dlblRangeCache>
                  <c:ptCount val="9"/>
                  <c:pt idx="0">
                    <c:v>Riccadonna</c:v>
                  </c:pt>
                  <c:pt idx="1">
                    <c:v>Mdd</c:v>
                  </c:pt>
                  <c:pt idx="2">
                    <c:v>Vilaveroni</c:v>
                  </c:pt>
                  <c:pt idx="3">
                    <c:v>Perlino</c:v>
                  </c:pt>
                  <c:pt idx="4">
                    <c:v>Mionetto</c:v>
                  </c:pt>
                  <c:pt idx="5">
                    <c:v>Signore Giuseppe</c:v>
                  </c:pt>
                  <c:pt idx="6">
                    <c:v>Maschio</c:v>
                  </c:pt>
                  <c:pt idx="7">
                    <c:v>Nobran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23DA783-DC81-4610-8A37-E3E2BFDA41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0E0B984-E5E1-434B-8464-A462E914DB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177D1FC-362B-49C8-9E9F-7369008438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D33116E-53CA-430B-AE73-CF17F01F58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057B0C9-2C1D-43F0-9B59-660E1F940B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995944D-B637-4AA2-A972-B54612C99C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4CB7EF4-A8F0-4007-B3DC-34D857AAD7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74321A3-A78E-40CC-8918-87EB1E07DF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709</c:v>
                </c:pt>
                <c:pt idx="1">
                  <c:v>12.8293</c:v>
                </c:pt>
                <c:pt idx="2">
                  <c:v>9.1577000000000002</c:v>
                </c:pt>
                <c:pt idx="3">
                  <c:v>17.518999999999998</c:v>
                </c:pt>
                <c:pt idx="4">
                  <c:v>11.9748</c:v>
                </c:pt>
                <c:pt idx="5">
                  <c:v>11.4427</c:v>
                </c:pt>
                <c:pt idx="6">
                  <c:v>13.5473</c:v>
                </c:pt>
                <c:pt idx="7">
                  <c:v>11.4771</c:v>
                </c:pt>
              </c:numCache>
            </c:numRef>
          </c:xVal>
          <c:yVal>
            <c:numRef>
              <c:f>Sheet1!$B$2:$B$9</c:f>
              <c:numCache>
                <c:formatCode>General</c:formatCode>
                <c:ptCount val="8"/>
                <c:pt idx="0">
                  <c:v>1.123</c:v>
                </c:pt>
                <c:pt idx="1">
                  <c:v>1.2569999999999999</c:v>
                </c:pt>
                <c:pt idx="2">
                  <c:v>0.89700000000000002</c:v>
                </c:pt>
                <c:pt idx="3">
                  <c:v>1.714</c:v>
                </c:pt>
                <c:pt idx="4">
                  <c:v>1.105</c:v>
                </c:pt>
                <c:pt idx="5">
                  <c:v>1.1160000000000001</c:v>
                </c:pt>
                <c:pt idx="6">
                  <c:v>1.327</c:v>
                </c:pt>
                <c:pt idx="7">
                  <c:v>0.93799999999999994</c:v>
                </c:pt>
              </c:numCache>
            </c:numRef>
          </c:yVal>
          <c:bubbleSize>
            <c:numRef>
              <c:f>Sheet1!$C$2:$C$9</c:f>
              <c:numCache>
                <c:formatCode>General</c:formatCode>
                <c:ptCount val="8"/>
                <c:pt idx="0">
                  <c:v>78289</c:v>
                </c:pt>
                <c:pt idx="1">
                  <c:v>39373</c:v>
                </c:pt>
                <c:pt idx="2">
                  <c:v>32061</c:v>
                </c:pt>
                <c:pt idx="3">
                  <c:v>22179</c:v>
                </c:pt>
                <c:pt idx="4">
                  <c:v>16609</c:v>
                </c:pt>
                <c:pt idx="5">
                  <c:v>12072</c:v>
                </c:pt>
                <c:pt idx="6">
                  <c:v>8589</c:v>
                </c:pt>
                <c:pt idx="7">
                  <c:v>8252</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Bouvet-Ladubay</c:v>
                  </c:pt>
                  <c:pt idx="5">
                    <c:v>Chateau Moncontour</c:v>
                  </c:pt>
                  <c:pt idx="6">
                    <c:v>De Chanceny</c:v>
                  </c:pt>
                  <c:pt idx="7">
                    <c:v>Contarin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6FD7E2-B161-4332-B2CC-BED277C750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2BF599-99D9-467A-B613-3FE82F7467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F9A09E-7231-4BD3-BF0F-D8EEBAA495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A9418DE-31C4-4487-BA11-51E744A3F4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49C968D-068D-4DDC-B9FF-7ADCCD3F2C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66361B5-BFB6-4ED6-A3CC-2A059C6D25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59E08EE-A707-472C-B682-F04B894084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A46CEB4-F020-498D-95D6-255330297D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527</c:v>
                </c:pt>
                <c:pt idx="1">
                  <c:v>9.0898000000000003</c:v>
                </c:pt>
                <c:pt idx="2">
                  <c:v>11.3033</c:v>
                </c:pt>
              </c:numCache>
            </c:numRef>
          </c:xVal>
          <c:yVal>
            <c:numRef>
              <c:f>Sheet1!$B$2:$B$4</c:f>
              <c:numCache>
                <c:formatCode>General</c:formatCode>
                <c:ptCount val="3"/>
                <c:pt idx="0">
                  <c:v>1.2749999999999999</c:v>
                </c:pt>
                <c:pt idx="1">
                  <c:v>1.012</c:v>
                </c:pt>
                <c:pt idx="2">
                  <c:v>1.0740000000000001</c:v>
                </c:pt>
              </c:numCache>
            </c:numRef>
          </c:yVal>
          <c:bubbleSize>
            <c:numRef>
              <c:f>Sheet1!$C$2:$C$4</c:f>
              <c:numCache>
                <c:formatCode>General</c:formatCode>
                <c:ptCount val="3"/>
                <c:pt idx="0">
                  <c:v>290933</c:v>
                </c:pt>
                <c:pt idx="1">
                  <c:v>172107</c:v>
                </c:pt>
                <c:pt idx="2">
                  <c:v>43710</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A739DE-4632-4C5A-A106-833458030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301580-8620-4C2A-AAA9-21A068EA6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14F66B-4B58-40B1-BD8E-9A18185C8B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34C68C7-E0A4-4643-9FE0-9E0729A3C5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871A7ED-351F-4E14-BE58-C9B7550C38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2264E1C-7F9D-4164-9B29-DAD1BC9AC0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993BC0B-09B9-44FA-B07A-15BF724D57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75B940-EF24-40EE-971B-418E1C270A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98</c:v>
                </c:pt>
                <c:pt idx="1">
                  <c:v>9.0983000000000001</c:v>
                </c:pt>
                <c:pt idx="2">
                  <c:v>11.728</c:v>
                </c:pt>
              </c:numCache>
            </c:numRef>
          </c:xVal>
          <c:yVal>
            <c:numRef>
              <c:f>Sheet1!$B$2:$B$4</c:f>
              <c:numCache>
                <c:formatCode>General</c:formatCode>
                <c:ptCount val="3"/>
                <c:pt idx="0">
                  <c:v>1.2749999999999999</c:v>
                </c:pt>
                <c:pt idx="1">
                  <c:v>1.022</c:v>
                </c:pt>
                <c:pt idx="2">
                  <c:v>1.083</c:v>
                </c:pt>
              </c:numCache>
            </c:numRef>
          </c:yVal>
          <c:bubbleSize>
            <c:numRef>
              <c:f>Sheet1!$C$2:$C$4</c:f>
              <c:numCache>
                <c:formatCode>General</c:formatCode>
                <c:ptCount val="3"/>
                <c:pt idx="0">
                  <c:v>108729</c:v>
                </c:pt>
                <c:pt idx="1">
                  <c:v>55136</c:v>
                </c:pt>
                <c:pt idx="2">
                  <c:v>17287</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0F6AB7-94ED-41E3-8524-9CEE316970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FFFE55-540B-46C6-909E-02957F0557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F0DB6F-18C4-411A-A3FC-BECC60F11A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6A0F388-E8D3-4854-90E9-88D32C6F21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B28AC12-A861-496A-A5FD-608466F285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9901897-017D-4726-A1DC-A9A09CB19E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A5D8D24-5EA6-460F-A5D7-FA19140380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51F951-356D-4578-8177-ACC4A26D1C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25599999999999</c:v>
                </c:pt>
                <c:pt idx="1">
                  <c:v>9.1058000000000003</c:v>
                </c:pt>
                <c:pt idx="2">
                  <c:v>11.3514</c:v>
                </c:pt>
              </c:numCache>
            </c:numRef>
          </c:xVal>
          <c:yVal>
            <c:numRef>
              <c:f>Sheet1!$B$2:$B$4</c:f>
              <c:numCache>
                <c:formatCode>General</c:formatCode>
                <c:ptCount val="3"/>
                <c:pt idx="0">
                  <c:v>1.256</c:v>
                </c:pt>
                <c:pt idx="1">
                  <c:v>1.002</c:v>
                </c:pt>
                <c:pt idx="2">
                  <c:v>1.0620000000000001</c:v>
                </c:pt>
              </c:numCache>
            </c:numRef>
          </c:yVal>
          <c:bubbleSize>
            <c:numRef>
              <c:f>Sheet1!$C$2:$C$4</c:f>
              <c:numCache>
                <c:formatCode>General</c:formatCode>
                <c:ptCount val="3"/>
                <c:pt idx="0">
                  <c:v>75203</c:v>
                </c:pt>
                <c:pt idx="1">
                  <c:v>40348</c:v>
                </c:pt>
                <c:pt idx="2">
                  <c:v>9206</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6DB6A7-947D-4A22-B63B-554A667A6A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FFE734-07F6-455F-82AD-F50D5D0F73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278890-F9F2-44F9-A71E-7E306CB098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835251A-FC04-4414-8BCE-CE42575C13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E6F875-CC88-4294-A3D3-B4F2E98F7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4D0DE3-A8BA-4AB3-B602-B1508636B1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449F29-2306-4C8C-BC1E-A61046BB53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515457-46E0-4C93-A2B2-AC75FA21BE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524699999999999</c:v>
                </c:pt>
                <c:pt idx="1">
                  <c:v>9.1434999999999995</c:v>
                </c:pt>
                <c:pt idx="2">
                  <c:v>11.5547</c:v>
                </c:pt>
              </c:numCache>
            </c:numRef>
          </c:xVal>
          <c:yVal>
            <c:numRef>
              <c:f>Sheet1!$B$2:$B$4</c:f>
              <c:numCache>
                <c:formatCode>General</c:formatCode>
                <c:ptCount val="3"/>
                <c:pt idx="0">
                  <c:v>1.258</c:v>
                </c:pt>
                <c:pt idx="1">
                  <c:v>1.0009999999999999</c:v>
                </c:pt>
                <c:pt idx="2">
                  <c:v>1.06</c:v>
                </c:pt>
              </c:numCache>
            </c:numRef>
          </c:yVal>
          <c:bubbleSize>
            <c:numRef>
              <c:f>Sheet1!$C$2:$C$4</c:f>
              <c:numCache>
                <c:formatCode>General</c:formatCode>
                <c:ptCount val="3"/>
                <c:pt idx="0">
                  <c:v>34574</c:v>
                </c:pt>
                <c:pt idx="1">
                  <c:v>19558</c:v>
                </c:pt>
                <c:pt idx="2">
                  <c:v>4437</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0A428C-8690-45ED-B4D6-FB5B2ACC20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4ED22C-9080-437F-8DF9-E6EC6CDB4D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0C9367-6FF8-4AB9-BF7C-0A5BD39FE0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7B1FA4-6FA3-494B-8A62-DD34609BA4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FD4574B-F41D-44AB-B570-434642A6A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BD2AFE7-8627-4CB8-8275-6FA38B1B69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149718D-D132-4D22-8AB1-630CCAB108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CD35C14-FB33-472E-A50E-B3970F48B7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154</c:v>
                </c:pt>
                <c:pt idx="1">
                  <c:v>9.2040000000000006</c:v>
                </c:pt>
                <c:pt idx="2">
                  <c:v>12.408200000000001</c:v>
                </c:pt>
                <c:pt idx="3">
                  <c:v>6.5754999999999999</c:v>
                </c:pt>
              </c:numCache>
            </c:numRef>
          </c:xVal>
          <c:yVal>
            <c:numRef>
              <c:f>Sheet1!$B$2:$B$5</c:f>
              <c:numCache>
                <c:formatCode>General</c:formatCode>
                <c:ptCount val="4"/>
                <c:pt idx="0">
                  <c:v>1.325</c:v>
                </c:pt>
                <c:pt idx="1">
                  <c:v>1.06</c:v>
                </c:pt>
                <c:pt idx="2">
                  <c:v>1.109</c:v>
                </c:pt>
                <c:pt idx="3">
                  <c:v>0.73799999999999999</c:v>
                </c:pt>
              </c:numCache>
            </c:numRef>
          </c:yVal>
          <c:bubbleSize>
            <c:numRef>
              <c:f>Sheet1!$C$2:$C$5</c:f>
              <c:numCache>
                <c:formatCode>General</c:formatCode>
                <c:ptCount val="4"/>
                <c:pt idx="0">
                  <c:v>29406</c:v>
                </c:pt>
                <c:pt idx="1">
                  <c:v>12361</c:v>
                </c:pt>
                <c:pt idx="2">
                  <c:v>5472</c:v>
                </c:pt>
                <c:pt idx="3">
                  <c:v>2525</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pt idx="3">
                    <c:v>Vilavero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578785-A966-4294-A6F6-419E50FEBD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93A931-6005-411B-B030-5DC093EC6A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E2E253-956E-4B36-8DE2-0B62512F9D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A15D7ED-BB2F-4341-92C1-10739FAAE7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635E8C0-FA54-4884-8B3A-48E325F845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1D1CFF1-6EB6-429C-A70B-310F6C4EE5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A83D994-330A-4C41-83AD-6C4692CEDF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8C33D6E-E456-453E-B24E-976EA68E0D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37099999999999</c:v>
                </c:pt>
                <c:pt idx="1">
                  <c:v>9.0905000000000005</c:v>
                </c:pt>
                <c:pt idx="2">
                  <c:v>11.5092</c:v>
                </c:pt>
              </c:numCache>
            </c:numRef>
          </c:xVal>
          <c:yVal>
            <c:numRef>
              <c:f>Sheet1!$B$2:$B$4</c:f>
              <c:numCache>
                <c:formatCode>General</c:formatCode>
                <c:ptCount val="3"/>
                <c:pt idx="0">
                  <c:v>1.264</c:v>
                </c:pt>
                <c:pt idx="1">
                  <c:v>1.0049999999999999</c:v>
                </c:pt>
                <c:pt idx="2">
                  <c:v>1.0629999999999999</c:v>
                </c:pt>
              </c:numCache>
            </c:numRef>
          </c:yVal>
          <c:bubbleSize>
            <c:numRef>
              <c:f>Sheet1!$C$2:$C$4</c:f>
              <c:numCache>
                <c:formatCode>General</c:formatCode>
                <c:ptCount val="3"/>
                <c:pt idx="0">
                  <c:v>428822</c:v>
                </c:pt>
                <c:pt idx="1">
                  <c:v>237189</c:v>
                </c:pt>
                <c:pt idx="2">
                  <c:v>61275</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EC9107-FF28-46F5-BA23-070886103F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74B6E1-32D9-498F-A6E1-3287095512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950B0A-D7AA-4989-8CCD-1007438C79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8965413-2BCC-4441-85CD-46DE7A9DCF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8489169-119B-4593-AB2B-5E15D270F6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8B8B7F3-BDA8-4AEA-A67B-630289A74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76FF3C-DA87-4B21-9886-BC1DD45246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91F167-CE0A-4B84-B4E0-A2EBE079FD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709</c:v>
                </c:pt>
                <c:pt idx="1">
                  <c:v>9.1577000000000002</c:v>
                </c:pt>
                <c:pt idx="2">
                  <c:v>11.4771</c:v>
                </c:pt>
              </c:numCache>
            </c:numRef>
          </c:xVal>
          <c:yVal>
            <c:numRef>
              <c:f>Sheet1!$B$2:$B$4</c:f>
              <c:numCache>
                <c:formatCode>General</c:formatCode>
                <c:ptCount val="3"/>
                <c:pt idx="0">
                  <c:v>1.272</c:v>
                </c:pt>
                <c:pt idx="1">
                  <c:v>1.016</c:v>
                </c:pt>
                <c:pt idx="2">
                  <c:v>1.0620000000000001</c:v>
                </c:pt>
              </c:numCache>
            </c:numRef>
          </c:yVal>
          <c:bubbleSize>
            <c:numRef>
              <c:f>Sheet1!$C$2:$C$4</c:f>
              <c:numCache>
                <c:formatCode>General</c:formatCode>
                <c:ptCount val="3"/>
                <c:pt idx="0">
                  <c:v>78289</c:v>
                </c:pt>
                <c:pt idx="1">
                  <c:v>32061</c:v>
                </c:pt>
                <c:pt idx="2">
                  <c:v>8252</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2FEF57-F46A-4AFD-82BF-CC316942B8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FDB5D4-6BEE-4330-B598-0DD3DB1654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326235-4BD0-4E73-8D80-F9B814721F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B8FCCF-D8BD-4D20-8929-97AEDE4867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0BA39FE-C5D4-4BF7-B060-5D855C08A5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6701AEC-5A1E-4F9B-8D04-7146139212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E6E37B5-F45C-4388-8DB6-EF57C6AC4E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C4DE978-44DE-430A-AE7C-204B118B6C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886</c:v>
                </c:pt>
                <c:pt idx="1">
                  <c:v>9.1776</c:v>
                </c:pt>
                <c:pt idx="2">
                  <c:v>11.551</c:v>
                </c:pt>
                <c:pt idx="3">
                  <c:v>6.4760999999999997</c:v>
                </c:pt>
              </c:numCache>
            </c:numRef>
          </c:xVal>
          <c:yVal>
            <c:numRef>
              <c:f>Sheet1!$B$2:$B$5</c:f>
              <c:numCache>
                <c:formatCode>General</c:formatCode>
                <c:ptCount val="4"/>
                <c:pt idx="0">
                  <c:v>1.3320000000000001</c:v>
                </c:pt>
                <c:pt idx="1">
                  <c:v>1.0660000000000001</c:v>
                </c:pt>
                <c:pt idx="2">
                  <c:v>1.119</c:v>
                </c:pt>
                <c:pt idx="3">
                  <c:v>0.749</c:v>
                </c:pt>
              </c:numCache>
            </c:numRef>
          </c:yVal>
          <c:bubbleSize>
            <c:numRef>
              <c:f>Sheet1!$C$2:$C$5</c:f>
              <c:numCache>
                <c:formatCode>General</c:formatCode>
                <c:ptCount val="4"/>
                <c:pt idx="0">
                  <c:v>41175</c:v>
                </c:pt>
                <c:pt idx="1">
                  <c:v>22788</c:v>
                </c:pt>
                <c:pt idx="2">
                  <c:v>8259</c:v>
                </c:pt>
                <c:pt idx="3">
                  <c:v>7726</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pt idx="3">
                    <c:v>Vilavero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67C087-9B2D-4AEC-876C-F759EF423B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B70226-C72D-412D-84D5-0FEBEB38EF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8715AF-C3AE-4FB6-8A4B-E6D069FEEC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278FFBB-78B1-4290-A59C-85B06D1B5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3A7A3D-9349-491D-A49D-802D99E7C5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F0AD492-08C5-41F2-8C2A-212F92685C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0A08DC0-82CF-4A9D-B2F0-A5E0F50A92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CB7CEC2-8C2A-4F72-879E-3A3D3F893B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90399999999999</c:v>
                </c:pt>
                <c:pt idx="1">
                  <c:v>9.1667000000000005</c:v>
                </c:pt>
                <c:pt idx="2">
                  <c:v>10.4292</c:v>
                </c:pt>
              </c:numCache>
            </c:numRef>
          </c:xVal>
          <c:yVal>
            <c:numRef>
              <c:f>Sheet1!$B$2:$B$4</c:f>
              <c:numCache>
                <c:formatCode>General</c:formatCode>
                <c:ptCount val="3"/>
                <c:pt idx="0">
                  <c:v>1.3240000000000001</c:v>
                </c:pt>
                <c:pt idx="1">
                  <c:v>1.06</c:v>
                </c:pt>
                <c:pt idx="2">
                  <c:v>1.145</c:v>
                </c:pt>
              </c:numCache>
            </c:numRef>
          </c:yVal>
          <c:bubbleSize>
            <c:numRef>
              <c:f>Sheet1!$C$2:$C$4</c:f>
              <c:numCache>
                <c:formatCode>General</c:formatCode>
                <c:ptCount val="3"/>
                <c:pt idx="0">
                  <c:v>13214</c:v>
                </c:pt>
                <c:pt idx="1">
                  <c:v>5555</c:v>
                </c:pt>
                <c:pt idx="2">
                  <c:v>2284</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9DC232-757C-419A-8A95-C0F33AA395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3F4FFA-C768-418B-801C-41A7A1A9B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C445C6-C3EC-49A6-9FBB-EA4174D87D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9F79B9C-AD32-4E4A-A98B-D5A5D6B982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6BFEA75-8DCC-4385-8D46-4EF7928931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5D4D3C3-92E1-427A-BD63-6FE97773C0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7DE25C-2731-4DDE-A7B2-D149A750EE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11AD52-D0BA-4020-A5F2-1A69119510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9.0344999999999995</c:v>
                </c:pt>
                <c:pt idx="1">
                  <c:v>11.645300000000001</c:v>
                </c:pt>
                <c:pt idx="2">
                  <c:v>11.3782</c:v>
                </c:pt>
              </c:numCache>
            </c:numRef>
          </c:xVal>
          <c:yVal>
            <c:numRef>
              <c:f>Sheet1!$B$2:$B$4</c:f>
              <c:numCache>
                <c:formatCode>General</c:formatCode>
                <c:ptCount val="3"/>
                <c:pt idx="0">
                  <c:v>1.079</c:v>
                </c:pt>
                <c:pt idx="1">
                  <c:v>1.337</c:v>
                </c:pt>
                <c:pt idx="2">
                  <c:v>1.115</c:v>
                </c:pt>
              </c:numCache>
            </c:numRef>
          </c:yVal>
          <c:bubbleSize>
            <c:numRef>
              <c:f>Sheet1!$C$2:$C$4</c:f>
              <c:numCache>
                <c:formatCode>General</c:formatCode>
                <c:ptCount val="3"/>
                <c:pt idx="0">
                  <c:v>3930</c:v>
                </c:pt>
                <c:pt idx="1">
                  <c:v>3447</c:v>
                </c:pt>
                <c:pt idx="2">
                  <c:v>1775</c:v>
                </c:pt>
              </c:numCache>
            </c:numRef>
          </c:bubbleSize>
          <c:bubble3D val="0"/>
          <c:extLst>
            <c:ext xmlns:c15="http://schemas.microsoft.com/office/drawing/2012/chart" uri="{02D57815-91ED-43cb-92C2-25804820EDAC}">
              <c15:datalabelsRange>
                <c15:f>Sheet1!$E$2:$E$10</c15:f>
                <c15:dlblRangeCache>
                  <c:ptCount val="9"/>
                  <c:pt idx="0">
                    <c:v>Savian</c:v>
                  </c:pt>
                  <c:pt idx="1">
                    <c:v>Bottega</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C24EAE0-9D49-486D-A46F-9EF30A6B05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DCFCAEF-231B-47C5-AFA1-C8D820A443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A732CB07-C5EA-473C-BBAC-18BDB59222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45353B70-78E3-4301-9F97-99A42683B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21D9E2AA-B89A-4CA9-8149-175B8270ED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5BD6C6C-41CB-43DA-A69F-4CD8FD3C29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C745DDA4-121E-4B3E-A28D-AFAD259B0C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D13CDB9-6AB1-46A4-A690-DC0A0E97D2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084</c:v>
                </c:pt>
                <c:pt idx="1">
                  <c:v>11.2789</c:v>
                </c:pt>
              </c:numCache>
            </c:numRef>
          </c:xVal>
          <c:yVal>
            <c:numRef>
              <c:f>Sheet1!$B$2:$B$3</c:f>
              <c:numCache>
                <c:formatCode>General</c:formatCode>
                <c:ptCount val="2"/>
                <c:pt idx="0">
                  <c:v>1.6479999999999999</c:v>
                </c:pt>
                <c:pt idx="1">
                  <c:v>0.63400000000000001</c:v>
                </c:pt>
              </c:numCache>
            </c:numRef>
          </c:yVal>
          <c:bubbleSize>
            <c:numRef>
              <c:f>Sheet1!$C$2:$C$3</c:f>
              <c:numCache>
                <c:formatCode>General</c:formatCode>
                <c:ptCount val="2"/>
                <c:pt idx="0">
                  <c:v>26576</c:v>
                </c:pt>
                <c:pt idx="1">
                  <c:v>1581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345E3D-5506-44B9-9696-5925ACC1F1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EA8F04-E776-43AD-AA30-6BBD2595C8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88D226-8624-4D8B-8F60-DB357A99FC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02654B-3193-4AC6-91A9-00080B64F4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D3621A8-01B1-4D5B-9FD9-AEA1BFA4F7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871878-4715-456E-B454-68DFBE1591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9AD38B5-1723-48C2-835A-19700C006C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C9D739A-AB3E-4E32-AB79-E197C2861C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457</c:v>
                </c:pt>
                <c:pt idx="1">
                  <c:v>9.1258999999999997</c:v>
                </c:pt>
                <c:pt idx="2">
                  <c:v>11.2964</c:v>
                </c:pt>
                <c:pt idx="3">
                  <c:v>6.4696999999999996</c:v>
                </c:pt>
              </c:numCache>
            </c:numRef>
          </c:xVal>
          <c:yVal>
            <c:numRef>
              <c:f>Sheet1!$B$2:$B$5</c:f>
              <c:numCache>
                <c:formatCode>General</c:formatCode>
                <c:ptCount val="4"/>
                <c:pt idx="0">
                  <c:v>1.2709999999999999</c:v>
                </c:pt>
                <c:pt idx="1">
                  <c:v>1.0129999999999999</c:v>
                </c:pt>
                <c:pt idx="2">
                  <c:v>1.0720000000000001</c:v>
                </c:pt>
                <c:pt idx="3">
                  <c:v>0.71799999999999997</c:v>
                </c:pt>
              </c:numCache>
            </c:numRef>
          </c:yVal>
          <c:bubbleSize>
            <c:numRef>
              <c:f>Sheet1!$C$2:$C$5</c:f>
              <c:numCache>
                <c:formatCode>General</c:formatCode>
                <c:ptCount val="4"/>
                <c:pt idx="0">
                  <c:v>195596</c:v>
                </c:pt>
                <c:pt idx="1">
                  <c:v>96917</c:v>
                </c:pt>
                <c:pt idx="2">
                  <c:v>19859</c:v>
                </c:pt>
                <c:pt idx="3">
                  <c:v>7686</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pt idx="3">
                    <c:v>Vilavero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15BC26-54CE-4EC9-A7DC-ED1ACF1E86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EBE1BD-6529-456E-81B6-8C8BA554FC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FAC6D8-70B1-4EE9-A4E7-6F16444650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00988BF-76D4-41A2-8E79-F86DA77A53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2ACF233-7E93-4FE1-B843-9A652C6DBC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201E25A-7119-485B-A065-2CB91CA8C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89F42CA-D93B-4140-BF87-E197760662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FC2D19E-6192-43E6-9325-4F4AA89009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999</c:v>
                </c:pt>
                <c:pt idx="1">
                  <c:v>9.0538000000000007</c:v>
                </c:pt>
                <c:pt idx="2">
                  <c:v>11.5052</c:v>
                </c:pt>
              </c:numCache>
            </c:numRef>
          </c:xVal>
          <c:yVal>
            <c:numRef>
              <c:f>Sheet1!$B$2:$B$4</c:f>
              <c:numCache>
                <c:formatCode>General</c:formatCode>
                <c:ptCount val="3"/>
                <c:pt idx="0">
                  <c:v>1.2909999999999999</c:v>
                </c:pt>
                <c:pt idx="1">
                  <c:v>1.0169999999999999</c:v>
                </c:pt>
                <c:pt idx="2">
                  <c:v>1.08</c:v>
                </c:pt>
              </c:numCache>
            </c:numRef>
          </c:yVal>
          <c:bubbleSize>
            <c:numRef>
              <c:f>Sheet1!$C$2:$C$4</c:f>
              <c:numCache>
                <c:formatCode>General</c:formatCode>
                <c:ptCount val="3"/>
                <c:pt idx="0">
                  <c:v>82178</c:v>
                </c:pt>
                <c:pt idx="1">
                  <c:v>39538</c:v>
                </c:pt>
                <c:pt idx="2">
                  <c:v>12207</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A6EE07-54AB-4509-BC45-9C7C812EEF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58702B-D187-4AC5-9899-9BCD62BE4B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79C945-1234-4F2A-AEC6-FDAC39385B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90A520D-6A2D-49CE-AD6F-BD98D731A7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FBDC519-5FF1-4F16-8BBD-F8A3B72E24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4D3B3C0-3F70-4FCE-959E-9534EA801F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21DFBAB-AE62-4045-A81F-0F0B1A3C0F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E3FB06-886A-4739-8D22-AB6CBB7936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4999999999999</c:v>
                </c:pt>
                <c:pt idx="1">
                  <c:v>9.0840999999999994</c:v>
                </c:pt>
                <c:pt idx="2">
                  <c:v>11.535</c:v>
                </c:pt>
              </c:numCache>
            </c:numRef>
          </c:xVal>
          <c:yVal>
            <c:numRef>
              <c:f>Sheet1!$B$2:$B$4</c:f>
              <c:numCache>
                <c:formatCode>General</c:formatCode>
                <c:ptCount val="3"/>
                <c:pt idx="0">
                  <c:v>1.266</c:v>
                </c:pt>
                <c:pt idx="1">
                  <c:v>1.008</c:v>
                </c:pt>
                <c:pt idx="2">
                  <c:v>1.07</c:v>
                </c:pt>
              </c:numCache>
            </c:numRef>
          </c:yVal>
          <c:bubbleSize>
            <c:numRef>
              <c:f>Sheet1!$C$2:$C$4</c:f>
              <c:numCache>
                <c:formatCode>General</c:formatCode>
                <c:ptCount val="3"/>
                <c:pt idx="0">
                  <c:v>150888</c:v>
                </c:pt>
                <c:pt idx="1">
                  <c:v>86281</c:v>
                </c:pt>
                <c:pt idx="2">
                  <c:v>19102</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FE697A-8DBF-4731-AF8D-F4CFB3AF27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2E3BC3-0A22-44F5-A246-61947126A7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C834EF-A6D1-4576-97F6-21EF8427F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B169359-386B-487D-A3D2-030B3B9204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839D20F-CEC3-4EC8-8ECC-8E9C5F063E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DB088B-6597-4732-A69F-05F2EF1839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A455EAA-29F9-49A7-B554-37B8F74304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A0BD1F-895D-47A0-8A59-2B3F35F3C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96</c:v>
                </c:pt>
                <c:pt idx="1">
                  <c:v>9.1219000000000001</c:v>
                </c:pt>
                <c:pt idx="2">
                  <c:v>11.543699999999999</c:v>
                </c:pt>
              </c:numCache>
            </c:numRef>
          </c:xVal>
          <c:yVal>
            <c:numRef>
              <c:f>Sheet1!$B$2:$B$4</c:f>
              <c:numCache>
                <c:formatCode>General</c:formatCode>
                <c:ptCount val="3"/>
                <c:pt idx="0">
                  <c:v>1.276</c:v>
                </c:pt>
                <c:pt idx="1">
                  <c:v>1.0229999999999999</c:v>
                </c:pt>
                <c:pt idx="2">
                  <c:v>1.0820000000000001</c:v>
                </c:pt>
              </c:numCache>
            </c:numRef>
          </c:yVal>
          <c:bubbleSize>
            <c:numRef>
              <c:f>Sheet1!$C$2:$C$4</c:f>
              <c:numCache>
                <c:formatCode>General</c:formatCode>
                <c:ptCount val="3"/>
                <c:pt idx="0">
                  <c:v>101593</c:v>
                </c:pt>
                <c:pt idx="1">
                  <c:v>56501</c:v>
                </c:pt>
                <c:pt idx="2">
                  <c:v>17154</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AF3C3B-194C-47B3-8540-865DD09AA3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23B8C8-FBE4-486B-B8AC-100E36728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CBF427-8F9B-4E25-B905-D09DE95763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5D46897-7EEE-4FF5-935D-9FDFCA9753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389E7F1-B3F3-4041-906A-56AA260A0A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3D8D872-F078-4595-A96B-9CF3B5E79A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1820A5F-D082-414F-AF3E-98F2631AA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4CF1DB3-C40A-4AA1-BDFD-E38A1A6DC6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5068</c:v>
                </c:pt>
                <c:pt idx="1">
                  <c:v>9.1301000000000005</c:v>
                </c:pt>
                <c:pt idx="2">
                  <c:v>11.2819</c:v>
                </c:pt>
              </c:numCache>
            </c:numRef>
          </c:xVal>
          <c:yVal>
            <c:numRef>
              <c:f>Sheet1!$B$2:$B$4</c:f>
              <c:numCache>
                <c:formatCode>General</c:formatCode>
                <c:ptCount val="3"/>
                <c:pt idx="0">
                  <c:v>1.3009999999999999</c:v>
                </c:pt>
                <c:pt idx="1">
                  <c:v>1.0329999999999999</c:v>
                </c:pt>
                <c:pt idx="2">
                  <c:v>1.095</c:v>
                </c:pt>
              </c:numCache>
            </c:numRef>
          </c:yVal>
          <c:bubbleSize>
            <c:numRef>
              <c:f>Sheet1!$C$2:$C$4</c:f>
              <c:numCache>
                <c:formatCode>General</c:formatCode>
                <c:ptCount val="3"/>
                <c:pt idx="0">
                  <c:v>77326</c:v>
                </c:pt>
                <c:pt idx="1">
                  <c:v>44555</c:v>
                </c:pt>
                <c:pt idx="2">
                  <c:v>22609</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1F9A67-5534-4953-A79F-FA252D80AE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FCD89A-4A22-494D-8CAC-D52FE951D0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0D80A2-D3DD-46A7-9AA3-3D3082A497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41162A-1C34-4114-9816-59C8A6F0C0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F49037-CF80-42DE-8D4A-1D89A471E4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B6EEFD-40BE-4B37-89CF-7B76D01C9E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903A49-A1E3-427A-8C8B-8948E47D9A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C64158-4D02-42C5-8EF4-47CA50F4CD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000000000001</c:v>
                </c:pt>
                <c:pt idx="1">
                  <c:v>6.4625000000000004</c:v>
                </c:pt>
                <c:pt idx="2">
                  <c:v>6.7061999999999999</c:v>
                </c:pt>
                <c:pt idx="3">
                  <c:v>6.0472000000000001</c:v>
                </c:pt>
                <c:pt idx="4">
                  <c:v>7.4202000000000004</c:v>
                </c:pt>
                <c:pt idx="5">
                  <c:v>6.5438000000000001</c:v>
                </c:pt>
                <c:pt idx="6">
                  <c:v>6.5370999999999997</c:v>
                </c:pt>
                <c:pt idx="7">
                  <c:v>6.8582000000000001</c:v>
                </c:pt>
              </c:numCache>
            </c:numRef>
          </c:xVal>
          <c:yVal>
            <c:numRef>
              <c:f>Sheet1!$B$2:$B$9</c:f>
              <c:numCache>
                <c:formatCode>General</c:formatCode>
                <c:ptCount val="8"/>
                <c:pt idx="0">
                  <c:v>0.99199999999999999</c:v>
                </c:pt>
                <c:pt idx="1">
                  <c:v>1.012</c:v>
                </c:pt>
                <c:pt idx="2">
                  <c:v>0.77200000000000002</c:v>
                </c:pt>
                <c:pt idx="3">
                  <c:v>0.92300000000000004</c:v>
                </c:pt>
                <c:pt idx="4">
                  <c:v>1.202</c:v>
                </c:pt>
                <c:pt idx="5">
                  <c:v>1.1759999999999999</c:v>
                </c:pt>
                <c:pt idx="6">
                  <c:v>0.74199999999999999</c:v>
                </c:pt>
                <c:pt idx="7">
                  <c:v>1.306</c:v>
                </c:pt>
              </c:numCache>
            </c:numRef>
          </c:yVal>
          <c:bubbleSize>
            <c:numRef>
              <c:f>Sheet1!$C$2:$C$9</c:f>
              <c:numCache>
                <c:formatCode>General</c:formatCode>
                <c:ptCount val="8"/>
                <c:pt idx="0">
                  <c:v>26939241</c:v>
                </c:pt>
                <c:pt idx="1">
                  <c:v>11877367</c:v>
                </c:pt>
                <c:pt idx="2">
                  <c:v>6775215</c:v>
                </c:pt>
                <c:pt idx="3">
                  <c:v>5266419</c:v>
                </c:pt>
                <c:pt idx="4">
                  <c:v>3181796</c:v>
                </c:pt>
                <c:pt idx="5">
                  <c:v>2333478</c:v>
                </c:pt>
                <c:pt idx="6">
                  <c:v>964260</c:v>
                </c:pt>
                <c:pt idx="7">
                  <c:v>953391</c:v>
                </c:pt>
              </c:numCache>
            </c:numRef>
          </c:bubbleSize>
          <c:bubble3D val="0"/>
          <c:extLst>
            <c:ext xmlns:c15="http://schemas.microsoft.com/office/drawing/2012/chart" uri="{02D57815-91ED-43cb-92C2-25804820EDAC}">
              <c15:datalabelsRange>
                <c15:f>Sheet1!$E$2:$E$10</c15:f>
                <c15:dlblRangeCache>
                  <c:ptCount val="9"/>
                  <c:pt idx="0">
                    <c:v>Mdd</c:v>
                  </c:pt>
                  <c:pt idx="1">
                    <c:v>Ackerman</c:v>
                  </c:pt>
                  <c:pt idx="2">
                    <c:v>Melle Ladubay</c:v>
                  </c:pt>
                  <c:pt idx="3">
                    <c:v>Gratien Et Meyer</c:v>
                  </c:pt>
                  <c:pt idx="4">
                    <c:v>Chateau Moncontour</c:v>
                  </c:pt>
                  <c:pt idx="5">
                    <c:v>Lacheteau</c:v>
                  </c:pt>
                  <c:pt idx="6">
                    <c:v>Jean Marc Toussaint</c:v>
                  </c:pt>
                  <c:pt idx="7">
                    <c:v>Sca Gd Vin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37E76E-C911-4DE1-8136-1B8F386ADB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2A17CC-5419-4255-A3C6-5BEA13A642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F378E5-F437-45B9-AA23-BCAC5ADF34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1FA4E6A-64A9-431D-BF4D-6F70470993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B9A1CBF-BC7E-43C1-9144-CA2CAD5721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C505401-76CD-42DF-9611-E26CC3FED3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BB0F35-82DF-4A5E-9C2D-CD965D6228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CE2BBA6-733A-4F18-BC9A-EB881EE86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00599999999999</c:v>
                </c:pt>
                <c:pt idx="1">
                  <c:v>11.4072</c:v>
                </c:pt>
                <c:pt idx="2">
                  <c:v>13.4663</c:v>
                </c:pt>
              </c:numCache>
            </c:numRef>
          </c:xVal>
          <c:yVal>
            <c:numRef>
              <c:f>Sheet1!$B$2:$B$4</c:f>
              <c:numCache>
                <c:formatCode>General</c:formatCode>
                <c:ptCount val="3"/>
                <c:pt idx="0">
                  <c:v>0.96899999999999997</c:v>
                </c:pt>
                <c:pt idx="1">
                  <c:v>0.98299999999999998</c:v>
                </c:pt>
                <c:pt idx="2">
                  <c:v>1.1599999999999999</c:v>
                </c:pt>
              </c:numCache>
            </c:numRef>
          </c:yVal>
          <c:bubbleSize>
            <c:numRef>
              <c:f>Sheet1!$C$2:$C$4</c:f>
              <c:numCache>
                <c:formatCode>General</c:formatCode>
                <c:ptCount val="3"/>
                <c:pt idx="0">
                  <c:v>305234</c:v>
                </c:pt>
                <c:pt idx="1">
                  <c:v>282431</c:v>
                </c:pt>
                <c:pt idx="2">
                  <c:v>15804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416ED7-5F58-42A4-96A3-8276E4D21E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38898A-F258-4D52-B4F8-C6FB10F0A2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86DC7D-4B90-4CB9-8055-F42782FDDB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96A258-9FFF-49A4-AE83-47560B05CA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18DE03-4CBC-469F-A0DB-E7D9A2AA69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60D48D-B09C-4250-BCFD-AB676DF0AD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3A20D98-7F87-466B-9658-5229596684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BD8B03-D5D9-4D91-894F-401E9ED991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000000000001</c:v>
                </c:pt>
                <c:pt idx="1">
                  <c:v>6.4625000000000004</c:v>
                </c:pt>
                <c:pt idx="2">
                  <c:v>6.7061999999999999</c:v>
                </c:pt>
                <c:pt idx="3">
                  <c:v>6.0472000000000001</c:v>
                </c:pt>
                <c:pt idx="4">
                  <c:v>7.1771000000000003</c:v>
                </c:pt>
                <c:pt idx="5">
                  <c:v>6.5438000000000001</c:v>
                </c:pt>
                <c:pt idx="6">
                  <c:v>6.5370999999999997</c:v>
                </c:pt>
                <c:pt idx="7">
                  <c:v>6.8582000000000001</c:v>
                </c:pt>
              </c:numCache>
            </c:numRef>
          </c:xVal>
          <c:yVal>
            <c:numRef>
              <c:f>Sheet1!$B$2:$B$9</c:f>
              <c:numCache>
                <c:formatCode>General</c:formatCode>
                <c:ptCount val="8"/>
                <c:pt idx="0">
                  <c:v>1.0009999999999999</c:v>
                </c:pt>
                <c:pt idx="1">
                  <c:v>1.0209999999999999</c:v>
                </c:pt>
                <c:pt idx="2">
                  <c:v>0.77900000000000003</c:v>
                </c:pt>
                <c:pt idx="3">
                  <c:v>0.93</c:v>
                </c:pt>
                <c:pt idx="4">
                  <c:v>1.1639999999999999</c:v>
                </c:pt>
                <c:pt idx="5">
                  <c:v>1.1859999999999999</c:v>
                </c:pt>
                <c:pt idx="6">
                  <c:v>0.748</c:v>
                </c:pt>
                <c:pt idx="7">
                  <c:v>1.3180000000000001</c:v>
                </c:pt>
              </c:numCache>
            </c:numRef>
          </c:yVal>
          <c:bubbleSize>
            <c:numRef>
              <c:f>Sheet1!$C$2:$C$9</c:f>
              <c:numCache>
                <c:formatCode>General</c:formatCode>
                <c:ptCount val="8"/>
                <c:pt idx="0">
                  <c:v>26939241</c:v>
                </c:pt>
                <c:pt idx="1">
                  <c:v>11877367</c:v>
                </c:pt>
                <c:pt idx="2">
                  <c:v>6775215</c:v>
                </c:pt>
                <c:pt idx="3">
                  <c:v>5266419</c:v>
                </c:pt>
                <c:pt idx="4">
                  <c:v>2899520</c:v>
                </c:pt>
                <c:pt idx="5">
                  <c:v>2333478</c:v>
                </c:pt>
                <c:pt idx="6">
                  <c:v>964260</c:v>
                </c:pt>
                <c:pt idx="7">
                  <c:v>953391</c:v>
                </c:pt>
              </c:numCache>
            </c:numRef>
          </c:bubbleSize>
          <c:bubble3D val="0"/>
          <c:extLst>
            <c:ext xmlns:c15="http://schemas.microsoft.com/office/drawing/2012/chart" uri="{02D57815-91ED-43cb-92C2-25804820EDAC}">
              <c15:datalabelsRange>
                <c15:f>Sheet1!$E$2:$E$10</c15:f>
                <c15:dlblRangeCache>
                  <c:ptCount val="9"/>
                  <c:pt idx="0">
                    <c:v>Mdd</c:v>
                  </c:pt>
                  <c:pt idx="1">
                    <c:v>Ackerman</c:v>
                  </c:pt>
                  <c:pt idx="2">
                    <c:v>Melle Ladubay</c:v>
                  </c:pt>
                  <c:pt idx="3">
                    <c:v>Gratien Et Meyer</c:v>
                  </c:pt>
                  <c:pt idx="4">
                    <c:v>Chateau Moncontour</c:v>
                  </c:pt>
                  <c:pt idx="5">
                    <c:v>Lacheteau</c:v>
                  </c:pt>
                  <c:pt idx="6">
                    <c:v>Jean Marc Toussaint</c:v>
                  </c:pt>
                  <c:pt idx="7">
                    <c:v>Sca Gd Vin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9E3387-95F1-407B-B7E3-4A4A56D51F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787C67-1249-41CA-AF9D-2E97DEAC9E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22265D-3BC3-4841-B17E-DA9BEBA9BB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B1B2397-4222-4664-B464-BEDEB711F4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73FBE58-64DC-4961-A2DF-466B8A993D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1E8A9F2-85E8-4B38-A346-FDA0E1B81E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DBF154B-BD61-4583-8DE0-25F99EEACD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C2F3AA-FAF8-4935-894F-D17B68C043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8199999999999</c:v>
                </c:pt>
                <c:pt idx="1">
                  <c:v>11.792999999999999</c:v>
                </c:pt>
                <c:pt idx="2">
                  <c:v>13.5303</c:v>
                </c:pt>
              </c:numCache>
            </c:numRef>
          </c:xVal>
          <c:yVal>
            <c:numRef>
              <c:f>Sheet1!$B$2:$B$4</c:f>
              <c:numCache>
                <c:formatCode>General</c:formatCode>
                <c:ptCount val="3"/>
                <c:pt idx="0">
                  <c:v>0.97599999999999998</c:v>
                </c:pt>
                <c:pt idx="1">
                  <c:v>0.96499999999999997</c:v>
                </c:pt>
                <c:pt idx="2">
                  <c:v>1.1599999999999999</c:v>
                </c:pt>
              </c:numCache>
            </c:numRef>
          </c:yVal>
          <c:bubbleSize>
            <c:numRef>
              <c:f>Sheet1!$C$2:$C$4</c:f>
              <c:numCache>
                <c:formatCode>General</c:formatCode>
                <c:ptCount val="3"/>
                <c:pt idx="0">
                  <c:v>151528</c:v>
                </c:pt>
                <c:pt idx="1">
                  <c:v>144783</c:v>
                </c:pt>
                <c:pt idx="2">
                  <c:v>89327</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841D61-E1CE-45BE-8EA4-D745513621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D5B109-9290-474A-8FA9-0E5620660C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97AC49-24DD-423A-A88D-5B28C5B2CC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877F3D9-D357-4DCD-A750-6945087309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14D9F7C-EC5D-4683-ABA2-0739C0E613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6D320A2-5309-49B5-BA04-D211EE21FA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594C8D3-80A8-43C9-89A0-9943F8DF93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9CAE80F-8945-4E45-B8F6-9CA3310334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576</c:v>
                </c:pt>
                <c:pt idx="1">
                  <c:v>11.374499999999999</c:v>
                </c:pt>
                <c:pt idx="2">
                  <c:v>13.245200000000001</c:v>
                </c:pt>
              </c:numCache>
            </c:numRef>
          </c:xVal>
          <c:yVal>
            <c:numRef>
              <c:f>Sheet1!$B$2:$B$4</c:f>
              <c:numCache>
                <c:formatCode>General</c:formatCode>
                <c:ptCount val="3"/>
                <c:pt idx="0">
                  <c:v>0.97899999999999998</c:v>
                </c:pt>
                <c:pt idx="1">
                  <c:v>0.99399999999999999</c:v>
                </c:pt>
                <c:pt idx="2">
                  <c:v>1.159</c:v>
                </c:pt>
              </c:numCache>
            </c:numRef>
          </c:yVal>
          <c:bubbleSize>
            <c:numRef>
              <c:f>Sheet1!$C$2:$C$4</c:f>
              <c:numCache>
                <c:formatCode>General</c:formatCode>
                <c:ptCount val="3"/>
                <c:pt idx="0">
                  <c:v>61739</c:v>
                </c:pt>
                <c:pt idx="1">
                  <c:v>55678</c:v>
                </c:pt>
                <c:pt idx="2">
                  <c:v>28093</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881143-2972-43B0-B923-F90B3E196F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01046B-6B5E-46DC-90F0-FF71E8DDBA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948F6B-3EA5-4640-AAE2-BAD0406C1D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917564-C807-4208-8AF3-2FE3E8562A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B27FEE-FA16-45B3-8CCE-C56C1402A3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030FED-C9E7-4A1D-AEEF-D18A0CDA3F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CD5692-3724-4742-997C-91B4B229F1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F017973-CCD0-43CB-8022-2FEBB5B792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778700000000001</c:v>
                </c:pt>
                <c:pt idx="1">
                  <c:v>51.711100000000002</c:v>
                </c:pt>
                <c:pt idx="2">
                  <c:v>24.7149</c:v>
                </c:pt>
                <c:pt idx="3">
                  <c:v>31.674600000000002</c:v>
                </c:pt>
                <c:pt idx="4">
                  <c:v>56.167200000000001</c:v>
                </c:pt>
                <c:pt idx="5">
                  <c:v>29.235499999999998</c:v>
                </c:pt>
                <c:pt idx="6">
                  <c:v>56.559800000000003</c:v>
                </c:pt>
                <c:pt idx="7">
                  <c:v>34.003700000000002</c:v>
                </c:pt>
              </c:numCache>
            </c:numRef>
          </c:xVal>
          <c:yVal>
            <c:numRef>
              <c:f>Sheet1!$B$2:$B$9</c:f>
              <c:numCache>
                <c:formatCode>General</c:formatCode>
                <c:ptCount val="8"/>
                <c:pt idx="0">
                  <c:v>1.5740000000000001</c:v>
                </c:pt>
                <c:pt idx="1">
                  <c:v>1.115</c:v>
                </c:pt>
                <c:pt idx="2">
                  <c:v>0.55700000000000005</c:v>
                </c:pt>
                <c:pt idx="3">
                  <c:v>0.71699999999999997</c:v>
                </c:pt>
                <c:pt idx="4">
                  <c:v>1.081</c:v>
                </c:pt>
                <c:pt idx="5">
                  <c:v>0.66300000000000003</c:v>
                </c:pt>
                <c:pt idx="6">
                  <c:v>1.0740000000000001</c:v>
                </c:pt>
                <c:pt idx="7">
                  <c:v>0.746</c:v>
                </c:pt>
              </c:numCache>
            </c:numRef>
          </c:yVal>
          <c:bubbleSize>
            <c:numRef>
              <c:f>Sheet1!$C$2:$C$9</c:f>
              <c:numCache>
                <c:formatCode>General</c:formatCode>
                <c:ptCount val="8"/>
                <c:pt idx="0">
                  <c:v>878434</c:v>
                </c:pt>
                <c:pt idx="1">
                  <c:v>324746</c:v>
                </c:pt>
                <c:pt idx="2">
                  <c:v>279303</c:v>
                </c:pt>
                <c:pt idx="3">
                  <c:v>176681</c:v>
                </c:pt>
                <c:pt idx="4">
                  <c:v>160863</c:v>
                </c:pt>
                <c:pt idx="5">
                  <c:v>125888</c:v>
                </c:pt>
                <c:pt idx="6">
                  <c:v>122961</c:v>
                </c:pt>
                <c:pt idx="7">
                  <c:v>120849</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Nicolas</c:v>
                  </c:pt>
                  <c:pt idx="3">
                    <c:v>Malard</c:v>
                  </c:pt>
                  <c:pt idx="4">
                    <c:v>Laurent Perrier</c:v>
                  </c:pt>
                  <c:pt idx="5">
                    <c:v>Heidsieck &amp; Co Monopole</c:v>
                  </c:pt>
                  <c:pt idx="6">
                    <c:v>Taittinger</c:v>
                  </c:pt>
                  <c:pt idx="7">
                    <c:v>Nicolas Feuilla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2BBCC7-9B5A-4CC4-B267-C2D1D79B52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30536E-9CFE-4873-BCAB-DA963161E1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9CC94D-3597-4715-9AA7-5FBC75C980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F2F6B3A-309B-4AC0-8A3C-F07CFCA073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57C0240-402B-4A13-8789-777420F29D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29A3DC0-A2B7-4BDF-A7EF-5C1258CE8F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1703AB-9446-4030-8344-F94D3DD287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933E0F2-2A04-436B-830D-17F635ED09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099999999999</c:v>
                </c:pt>
                <c:pt idx="1">
                  <c:v>11.7385</c:v>
                </c:pt>
                <c:pt idx="2">
                  <c:v>13.419700000000001</c:v>
                </c:pt>
              </c:numCache>
            </c:numRef>
          </c:xVal>
          <c:yVal>
            <c:numRef>
              <c:f>Sheet1!$B$2:$B$4</c:f>
              <c:numCache>
                <c:formatCode>General</c:formatCode>
                <c:ptCount val="3"/>
                <c:pt idx="0">
                  <c:v>0.94699999999999995</c:v>
                </c:pt>
                <c:pt idx="1">
                  <c:v>0.93799999999999994</c:v>
                </c:pt>
                <c:pt idx="2">
                  <c:v>1.1200000000000001</c:v>
                </c:pt>
              </c:numCache>
            </c:numRef>
          </c:yVal>
          <c:bubbleSize>
            <c:numRef>
              <c:f>Sheet1!$C$2:$C$4</c:f>
              <c:numCache>
                <c:formatCode>General</c:formatCode>
                <c:ptCount val="3"/>
                <c:pt idx="0">
                  <c:v>30427</c:v>
                </c:pt>
                <c:pt idx="1">
                  <c:v>22620</c:v>
                </c:pt>
                <c:pt idx="2">
                  <c:v>18895</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078980-2134-43D8-A9F3-BD2D6F488F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720742-D0BA-42DE-A15A-C077CA7E1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3A04B5-E117-4783-8981-C5C4CC595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45C4A85-06BF-421F-8F91-E3E31E59EC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0E9AE47-FFE1-43A3-AB8F-7E538A8DCF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C3E6875-703E-42EF-856B-78EA0B1EAC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2C75CA6-B170-4D90-A91A-333021648A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444C521-AFAF-45A9-925D-8082C7F578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17299999999999</c:v>
                </c:pt>
                <c:pt idx="1">
                  <c:v>11.5405</c:v>
                </c:pt>
                <c:pt idx="2">
                  <c:v>13.3918</c:v>
                </c:pt>
              </c:numCache>
            </c:numRef>
          </c:xVal>
          <c:yVal>
            <c:numRef>
              <c:f>Sheet1!$B$2:$B$4</c:f>
              <c:numCache>
                <c:formatCode>General</c:formatCode>
                <c:ptCount val="3"/>
                <c:pt idx="0">
                  <c:v>0.95799999999999996</c:v>
                </c:pt>
                <c:pt idx="1">
                  <c:v>0.97899999999999998</c:v>
                </c:pt>
                <c:pt idx="2">
                  <c:v>1.1259999999999999</c:v>
                </c:pt>
              </c:numCache>
            </c:numRef>
          </c:yVal>
          <c:bubbleSize>
            <c:numRef>
              <c:f>Sheet1!$C$2:$C$4</c:f>
              <c:numCache>
                <c:formatCode>General</c:formatCode>
                <c:ptCount val="3"/>
                <c:pt idx="0">
                  <c:v>20314</c:v>
                </c:pt>
                <c:pt idx="1">
                  <c:v>16376</c:v>
                </c:pt>
                <c:pt idx="2">
                  <c:v>557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5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D05DB8-1E29-4F10-A952-9835D3185A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74CD8D-4E7D-4D36-97B0-43C732F5D3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37C086-53F5-4C8B-A69B-6D4300B420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BEA28D5-9D5D-4591-9744-919D15C4A2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2F22E32-5860-4651-B2DE-3BB44244BD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F10BF6-D1E0-41F3-A9F3-5C407FB6A8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D40A621-66EE-4E5A-A6CD-F35449CDF2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531970-6657-4534-831C-CB8E377214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72000000000001</c:v>
                </c:pt>
                <c:pt idx="1">
                  <c:v>11.5655</c:v>
                </c:pt>
                <c:pt idx="2">
                  <c:v>13.4473</c:v>
                </c:pt>
              </c:numCache>
            </c:numRef>
          </c:xVal>
          <c:yVal>
            <c:numRef>
              <c:f>Sheet1!$B$2:$B$4</c:f>
              <c:numCache>
                <c:formatCode>General</c:formatCode>
                <c:ptCount val="3"/>
                <c:pt idx="0">
                  <c:v>0.97799999999999998</c:v>
                </c:pt>
                <c:pt idx="1">
                  <c:v>1.0169999999999999</c:v>
                </c:pt>
                <c:pt idx="2">
                  <c:v>1.171</c:v>
                </c:pt>
              </c:numCache>
            </c:numRef>
          </c:yVal>
          <c:bubbleSize>
            <c:numRef>
              <c:f>Sheet1!$C$2:$C$4</c:f>
              <c:numCache>
                <c:formatCode>General</c:formatCode>
                <c:ptCount val="3"/>
                <c:pt idx="0">
                  <c:v>15337</c:v>
                </c:pt>
                <c:pt idx="1">
                  <c:v>8304</c:v>
                </c:pt>
                <c:pt idx="2">
                  <c:v>4720</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96B879-6FB4-44D1-A518-794D0E7B9D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0E3710-0DBC-4E57-80C7-1A880F555C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3DC434-6C0B-4433-A45C-F9AB0A3D38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2177CC4-AD8A-43E7-81FF-D17E6215B1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2C23D3-BF55-4FF0-A3EC-3D19D83E96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6CF0C17-2DC6-429C-9D20-E63A4692E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624CD3-B266-477C-B057-49920A0578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7582408-351E-44E6-9311-F396BE964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57</c:v>
                </c:pt>
                <c:pt idx="1">
                  <c:v>11.78</c:v>
                </c:pt>
                <c:pt idx="2">
                  <c:v>13.4511</c:v>
                </c:pt>
              </c:numCache>
            </c:numRef>
          </c:xVal>
          <c:yVal>
            <c:numRef>
              <c:f>Sheet1!$B$2:$B$4</c:f>
              <c:numCache>
                <c:formatCode>General</c:formatCode>
                <c:ptCount val="3"/>
                <c:pt idx="0">
                  <c:v>0.95799999999999996</c:v>
                </c:pt>
                <c:pt idx="1">
                  <c:v>0.94699999999999995</c:v>
                </c:pt>
                <c:pt idx="2">
                  <c:v>1.1299999999999999</c:v>
                </c:pt>
              </c:numCache>
            </c:numRef>
          </c:yVal>
          <c:bubbleSize>
            <c:numRef>
              <c:f>Sheet1!$C$2:$C$4</c:f>
              <c:numCache>
                <c:formatCode>General</c:formatCode>
                <c:ptCount val="3"/>
                <c:pt idx="0">
                  <c:v>224587</c:v>
                </c:pt>
                <c:pt idx="1">
                  <c:v>209943</c:v>
                </c:pt>
                <c:pt idx="2">
                  <c:v>122782</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9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51CBCA-7E71-4EB0-B3A3-1BA3A21B6B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7F0C38-24A8-4591-A728-00750670DC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AE5FDB-1B23-49CE-BE3B-F0E8154CE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C5259B3-A16C-4CF2-B070-4B5975FF29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18393E0-1B13-4C7E-9F70-5DA4743A16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223216E-32CD-489D-AD82-D38E124E4E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8040502-60A1-44B5-BF86-0744C64CDC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AA00CB4-4743-4D78-890B-1EA5984B8A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748</c:v>
                </c:pt>
                <c:pt idx="1">
                  <c:v>11.4427</c:v>
                </c:pt>
                <c:pt idx="2">
                  <c:v>13.5473</c:v>
                </c:pt>
              </c:numCache>
            </c:numRef>
          </c:xVal>
          <c:yVal>
            <c:numRef>
              <c:f>Sheet1!$B$2:$B$4</c:f>
              <c:numCache>
                <c:formatCode>General</c:formatCode>
                <c:ptCount val="3"/>
                <c:pt idx="0">
                  <c:v>0.96599999999999997</c:v>
                </c:pt>
                <c:pt idx="1">
                  <c:v>0.97499999999999998</c:v>
                </c:pt>
                <c:pt idx="2">
                  <c:v>1.1599999999999999</c:v>
                </c:pt>
              </c:numCache>
            </c:numRef>
          </c:yVal>
          <c:bubbleSize>
            <c:numRef>
              <c:f>Sheet1!$C$2:$C$4</c:f>
              <c:numCache>
                <c:formatCode>General</c:formatCode>
                <c:ptCount val="3"/>
                <c:pt idx="0">
                  <c:v>16609</c:v>
                </c:pt>
                <c:pt idx="1">
                  <c:v>12072</c:v>
                </c:pt>
                <c:pt idx="2">
                  <c:v>8589</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5660E6-512E-4759-9F1F-A0D5F580BD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E63444-4644-4740-A385-99D48EADC0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9B1F06-D1FE-4DED-A269-D393528A1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175531A-F2AE-49CD-8778-1CDA16ADCB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6FF40C1-62E4-45FD-87EC-770438BF3B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0F620BA-5D82-41EC-94B8-E9F6CBB00B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61AC2BA-13A0-4257-A8B5-8E86354E42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09774F4-8262-423C-815C-B877508666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199999999999</c:v>
                </c:pt>
                <c:pt idx="1">
                  <c:v>12.0534</c:v>
                </c:pt>
                <c:pt idx="2">
                  <c:v>13.274900000000001</c:v>
                </c:pt>
              </c:numCache>
            </c:numRef>
          </c:xVal>
          <c:yVal>
            <c:numRef>
              <c:f>Sheet1!$B$2:$B$4</c:f>
              <c:numCache>
                <c:formatCode>General</c:formatCode>
                <c:ptCount val="3"/>
                <c:pt idx="0">
                  <c:v>0.96099999999999997</c:v>
                </c:pt>
                <c:pt idx="1">
                  <c:v>0.93700000000000006</c:v>
                </c:pt>
                <c:pt idx="2">
                  <c:v>1.141</c:v>
                </c:pt>
              </c:numCache>
            </c:numRef>
          </c:yVal>
          <c:bubbleSize>
            <c:numRef>
              <c:f>Sheet1!$C$2:$C$4</c:f>
              <c:numCache>
                <c:formatCode>General</c:formatCode>
                <c:ptCount val="3"/>
                <c:pt idx="0">
                  <c:v>10707</c:v>
                </c:pt>
                <c:pt idx="1">
                  <c:v>7220</c:v>
                </c:pt>
                <c:pt idx="2">
                  <c:v>6133</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4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88ED80-F1B8-4550-92C9-8F6B4BEB74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BC3AEE-FF07-482B-BF59-BDCB1ECDFE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0F0B9A-8A27-4FE3-BA64-F97E6A566D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D4B044F-2156-4B73-8459-0C2E702AD8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7C5B235-A77D-460A-AD31-757287C79C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9EEBA71-2A65-45C0-BA28-0E6DEBA298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705C531-05D7-4F07-BE15-E2E76322BE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7A64CB-C990-45F8-B429-84CD88991C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4400000000001</c:v>
                </c:pt>
                <c:pt idx="1">
                  <c:v>11.525499999999999</c:v>
                </c:pt>
                <c:pt idx="2">
                  <c:v>13.9803</c:v>
                </c:pt>
              </c:numCache>
            </c:numRef>
          </c:xVal>
          <c:yVal>
            <c:numRef>
              <c:f>Sheet1!$B$2:$B$4</c:f>
              <c:numCache>
                <c:formatCode>General</c:formatCode>
                <c:ptCount val="3"/>
                <c:pt idx="0">
                  <c:v>0.99099999999999999</c:v>
                </c:pt>
                <c:pt idx="1">
                  <c:v>1.0349999999999999</c:v>
                </c:pt>
                <c:pt idx="2">
                  <c:v>1.2250000000000001</c:v>
                </c:pt>
              </c:numCache>
            </c:numRef>
          </c:yVal>
          <c:bubbleSize>
            <c:numRef>
              <c:f>Sheet1!$C$2:$C$4</c:f>
              <c:numCache>
                <c:formatCode>General</c:formatCode>
                <c:ptCount val="3"/>
                <c:pt idx="0">
                  <c:v>10800</c:v>
                </c:pt>
                <c:pt idx="1">
                  <c:v>5878</c:v>
                </c:pt>
                <c:pt idx="2">
                  <c:v>2125</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4F7AC0-17C5-4B40-9BBD-6AC3192242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BAB98F-9392-4540-AB6D-BBC751AC89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807A09-477A-45A1-96B7-34354C0D30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2EF5182-B57B-45C6-B1CA-C94615F41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DD196CC-4E44-41EB-BACD-1AD1139A11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4D0D110-A4E4-459F-B46E-F802BC2B42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669FB34-52D7-4969-810F-84A5848A60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2974D2B-A51A-44FB-B51D-C25F0F8015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005</c:v>
                </c:pt>
                <c:pt idx="1">
                  <c:v>13.552199999999999</c:v>
                </c:pt>
                <c:pt idx="2">
                  <c:v>13.9505</c:v>
                </c:pt>
              </c:numCache>
            </c:numRef>
          </c:xVal>
          <c:yVal>
            <c:numRef>
              <c:f>Sheet1!$B$2:$B$4</c:f>
              <c:numCache>
                <c:formatCode>General</c:formatCode>
                <c:ptCount val="3"/>
                <c:pt idx="0">
                  <c:v>1</c:v>
                </c:pt>
                <c:pt idx="1">
                  <c:v>0.97099999999999997</c:v>
                </c:pt>
                <c:pt idx="2">
                  <c:v>1.1890000000000001</c:v>
                </c:pt>
              </c:numCache>
            </c:numRef>
          </c:yVal>
          <c:bubbleSize>
            <c:numRef>
              <c:f>Sheet1!$C$2:$C$4</c:f>
              <c:numCache>
                <c:formatCode>General</c:formatCode>
                <c:ptCount val="3"/>
                <c:pt idx="0">
                  <c:v>2188</c:v>
                </c:pt>
                <c:pt idx="1">
                  <c:v>1816</c:v>
                </c:pt>
                <c:pt idx="2">
                  <c:v>1409</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8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071A20-6998-410D-9ADA-DC61D7699E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11D97D-8088-41C1-BF5E-1A5C344199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F1EFA0-095F-421E-A16D-DEEA676C01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D43365D-54E0-45F5-9136-01C300920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AD49636-70C8-4B04-8D59-DDA6879872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983FCD8-3703-4997-A763-36A0115053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58E53AA-24C2-465F-97E1-95E0AA1543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B6B2AC7-2C2A-4381-93BC-6444F2735A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108</c:v>
                </c:pt>
                <c:pt idx="1">
                  <c:v>11.7963</c:v>
                </c:pt>
                <c:pt idx="2">
                  <c:v>13.266400000000001</c:v>
                </c:pt>
              </c:numCache>
            </c:numRef>
          </c:xVal>
          <c:yVal>
            <c:numRef>
              <c:f>Sheet1!$B$2:$B$4</c:f>
              <c:numCache>
                <c:formatCode>General</c:formatCode>
                <c:ptCount val="3"/>
                <c:pt idx="0">
                  <c:v>0.95299999999999996</c:v>
                </c:pt>
                <c:pt idx="1">
                  <c:v>0.94699999999999995</c:v>
                </c:pt>
                <c:pt idx="2">
                  <c:v>1.115</c:v>
                </c:pt>
              </c:numCache>
            </c:numRef>
          </c:yVal>
          <c:bubbleSize>
            <c:numRef>
              <c:f>Sheet1!$C$2:$C$4</c:f>
              <c:numCache>
                <c:formatCode>General</c:formatCode>
                <c:ptCount val="3"/>
                <c:pt idx="0">
                  <c:v>64924</c:v>
                </c:pt>
                <c:pt idx="1">
                  <c:v>64278</c:v>
                </c:pt>
                <c:pt idx="2">
                  <c:v>37597</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B7A5EA-114D-42DB-8C0D-0536270DD5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F0B3E0-39E9-46F3-B19E-422B0EC1C1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083859-720E-482D-9E22-0AD694EE7F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299F5EA-9C2C-4D26-9CB7-BCFD32C14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A480502-EAFA-4D11-85BF-1CA9B4405A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B9C34B0-DD2E-4481-87DE-1596C4CB56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FDCE1BE-8676-481A-A8B0-7AB23AE9BF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9A39FCC-D472-4265-9242-4E5C5B2E94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388</c:v>
                </c:pt>
                <c:pt idx="1">
                  <c:v>11.379899999999999</c:v>
                </c:pt>
                <c:pt idx="2">
                  <c:v>13.565200000000001</c:v>
                </c:pt>
              </c:numCache>
            </c:numRef>
          </c:xVal>
          <c:yVal>
            <c:numRef>
              <c:f>Sheet1!$B$2:$B$4</c:f>
              <c:numCache>
                <c:formatCode>General</c:formatCode>
                <c:ptCount val="3"/>
                <c:pt idx="0">
                  <c:v>0.97599999999999998</c:v>
                </c:pt>
                <c:pt idx="1">
                  <c:v>0.98899999999999999</c:v>
                </c:pt>
                <c:pt idx="2">
                  <c:v>1.177</c:v>
                </c:pt>
              </c:numCache>
            </c:numRef>
          </c:yVal>
          <c:bubbleSize>
            <c:numRef>
              <c:f>Sheet1!$C$2:$C$4</c:f>
              <c:numCache>
                <c:formatCode>General</c:formatCode>
                <c:ptCount val="3"/>
                <c:pt idx="0">
                  <c:v>50745</c:v>
                </c:pt>
                <c:pt idx="1">
                  <c:v>43528</c:v>
                </c:pt>
                <c:pt idx="2">
                  <c:v>23088</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7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F3B6A9-3057-4804-8BA2-09CB841965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545ECE-6153-48E2-8873-F7A4D299E7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D44BA4-1AED-427C-9B8D-E787E92853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82E215-AF4C-481C-B83C-DE14EC7616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CB787B-D5B3-43ED-A582-907F7E3CB6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DAB294-1CB2-4C0F-86C5-316BFD5640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4F55D6-6E1B-4DBF-AF38-B3FA53E08C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16CE91-ECA1-4D06-9B1C-4EC884FD86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044300000000007</c:v>
                </c:pt>
                <c:pt idx="1">
                  <c:v>23.673100000000002</c:v>
                </c:pt>
                <c:pt idx="2">
                  <c:v>50.6248</c:v>
                </c:pt>
                <c:pt idx="3">
                  <c:v>31.541399999999999</c:v>
                </c:pt>
                <c:pt idx="4">
                  <c:v>52.898600000000002</c:v>
                </c:pt>
                <c:pt idx="5">
                  <c:v>33.237000000000002</c:v>
                </c:pt>
                <c:pt idx="6">
                  <c:v>30.649899999999999</c:v>
                </c:pt>
                <c:pt idx="7">
                  <c:v>30.5626</c:v>
                </c:pt>
              </c:numCache>
            </c:numRef>
          </c:xVal>
          <c:yVal>
            <c:numRef>
              <c:f>Sheet1!$B$2:$B$9</c:f>
              <c:numCache>
                <c:formatCode>General</c:formatCode>
                <c:ptCount val="8"/>
                <c:pt idx="0">
                  <c:v>1.9850000000000001</c:v>
                </c:pt>
                <c:pt idx="1">
                  <c:v>0.68300000000000005</c:v>
                </c:pt>
                <c:pt idx="2">
                  <c:v>1.4059999999999999</c:v>
                </c:pt>
                <c:pt idx="3">
                  <c:v>0.90900000000000003</c:v>
                </c:pt>
                <c:pt idx="4">
                  <c:v>1.3440000000000001</c:v>
                </c:pt>
                <c:pt idx="5">
                  <c:v>0.92100000000000004</c:v>
                </c:pt>
                <c:pt idx="6">
                  <c:v>0.88200000000000001</c:v>
                </c:pt>
                <c:pt idx="7">
                  <c:v>0.89500000000000002</c:v>
                </c:pt>
              </c:numCache>
            </c:numRef>
          </c:yVal>
          <c:bubbleSize>
            <c:numRef>
              <c:f>Sheet1!$C$2:$C$9</c:f>
              <c:numCache>
                <c:formatCode>General</c:formatCode>
                <c:ptCount val="8"/>
                <c:pt idx="0">
                  <c:v>3181414</c:v>
                </c:pt>
                <c:pt idx="1">
                  <c:v>1250034</c:v>
                </c:pt>
                <c:pt idx="2">
                  <c:v>867406</c:v>
                </c:pt>
                <c:pt idx="3">
                  <c:v>661770</c:v>
                </c:pt>
                <c:pt idx="4">
                  <c:v>505869</c:v>
                </c:pt>
                <c:pt idx="5">
                  <c:v>426896</c:v>
                </c:pt>
                <c:pt idx="6">
                  <c:v>422417</c:v>
                </c:pt>
                <c:pt idx="7">
                  <c:v>41348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De Bligny</c:v>
                  </c:pt>
                  <c:pt idx="7">
                    <c:v>Canard Duchê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9D8DF4E-EE3E-44D7-923C-03F7B9F4FC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A295B43-B894-47CA-BB62-DDDDE87CE1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4B71D4E-860C-429F-8A0B-09B3C57F54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1A1D54B-8FBF-429D-BE9A-665A73FFC8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F3CF928-F896-4191-8173-44F4E4043B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E8405D1-E34A-4C8F-9A60-E2FEF4DE7F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EA87732-F51C-46DB-92E8-180FD9A3EF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AA332CC-FBDF-4C8A-AEEC-22F32D7187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886</c:v>
                </c:pt>
                <c:pt idx="1">
                  <c:v>12.6144</c:v>
                </c:pt>
                <c:pt idx="2">
                  <c:v>9.1776</c:v>
                </c:pt>
                <c:pt idx="3">
                  <c:v>17.562100000000001</c:v>
                </c:pt>
                <c:pt idx="4">
                  <c:v>11.366199999999999</c:v>
                </c:pt>
                <c:pt idx="5">
                  <c:v>11.551</c:v>
                </c:pt>
                <c:pt idx="6">
                  <c:v>6.4760999999999997</c:v>
                </c:pt>
                <c:pt idx="7">
                  <c:v>12.0534</c:v>
                </c:pt>
              </c:numCache>
            </c:numRef>
          </c:xVal>
          <c:yVal>
            <c:numRef>
              <c:f>Sheet1!$B$2:$B$9</c:f>
              <c:numCache>
                <c:formatCode>General</c:formatCode>
                <c:ptCount val="8"/>
                <c:pt idx="0">
                  <c:v>1.1180000000000001</c:v>
                </c:pt>
                <c:pt idx="1">
                  <c:v>1.2310000000000001</c:v>
                </c:pt>
                <c:pt idx="2">
                  <c:v>0.89500000000000002</c:v>
                </c:pt>
                <c:pt idx="3">
                  <c:v>1.698</c:v>
                </c:pt>
                <c:pt idx="4">
                  <c:v>1.103</c:v>
                </c:pt>
                <c:pt idx="5">
                  <c:v>0.93899999999999995</c:v>
                </c:pt>
                <c:pt idx="6">
                  <c:v>0.629</c:v>
                </c:pt>
                <c:pt idx="7">
                  <c:v>1.0760000000000001</c:v>
                </c:pt>
              </c:numCache>
            </c:numRef>
          </c:yVal>
          <c:bubbleSize>
            <c:numRef>
              <c:f>Sheet1!$C$2:$C$9</c:f>
              <c:numCache>
                <c:formatCode>General</c:formatCode>
                <c:ptCount val="8"/>
                <c:pt idx="0">
                  <c:v>41175</c:v>
                </c:pt>
                <c:pt idx="1">
                  <c:v>33731</c:v>
                </c:pt>
                <c:pt idx="2">
                  <c:v>22788</c:v>
                </c:pt>
                <c:pt idx="3">
                  <c:v>13997</c:v>
                </c:pt>
                <c:pt idx="4">
                  <c:v>10707</c:v>
                </c:pt>
                <c:pt idx="5">
                  <c:v>8259</c:v>
                </c:pt>
                <c:pt idx="6">
                  <c:v>7726</c:v>
                </c:pt>
                <c:pt idx="7">
                  <c:v>7220</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Chateau Moncontour</c:v>
                  </c:pt>
                  <c:pt idx="5">
                    <c:v>Contarini</c:v>
                  </c:pt>
                  <c:pt idx="6">
                    <c:v>Vilaveroni</c:v>
                  </c:pt>
                  <c:pt idx="7">
                    <c:v>Bouvet-Laduba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CC0993-C269-426A-8D60-131F1F8592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7BFDFE-1573-498D-ACE8-94315DE63C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94DFD4-FB9E-4786-804C-10AF2BF7FD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6D0FA38-3FE7-4303-8AEF-ED7F4B4800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E0E8988-1887-4766-B99E-D66433400B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83E5EEF-D49B-48BF-8D72-C64C628188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B67B7D6-F571-43FE-A7A6-462351E732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FEDCC2-67D4-4EF1-8629-A7E4109570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463</c:v>
                </c:pt>
                <c:pt idx="1">
                  <c:v>11.4129</c:v>
                </c:pt>
                <c:pt idx="2">
                  <c:v>13.5061</c:v>
                </c:pt>
              </c:numCache>
            </c:numRef>
          </c:xVal>
          <c:yVal>
            <c:numRef>
              <c:f>Sheet1!$B$2:$B$4</c:f>
              <c:numCache>
                <c:formatCode>General</c:formatCode>
                <c:ptCount val="3"/>
                <c:pt idx="0">
                  <c:v>0.96699999999999997</c:v>
                </c:pt>
                <c:pt idx="1">
                  <c:v>0.97799999999999998</c:v>
                </c:pt>
                <c:pt idx="2">
                  <c:v>1.155</c:v>
                </c:pt>
              </c:numCache>
            </c:numRef>
          </c:yVal>
          <c:bubbleSize>
            <c:numRef>
              <c:f>Sheet1!$C$2:$C$4</c:f>
              <c:numCache>
                <c:formatCode>General</c:formatCode>
                <c:ptCount val="3"/>
                <c:pt idx="0">
                  <c:v>74413</c:v>
                </c:pt>
                <c:pt idx="1">
                  <c:v>70235</c:v>
                </c:pt>
                <c:pt idx="2">
                  <c:v>42355</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D74430-1948-462C-A6F8-ACEB22E77D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8015CA-B7A3-4E61-A897-8964C7259D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E37AF1-EFCF-46BA-897F-C66312D7AE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3B05BCD-D56A-4A9B-8AAA-79BB17F044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89B0EBD-BABB-46BD-8F94-113520BF70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3ADD699-5E98-41DB-9076-5C262E9522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3CDA1E3-5B80-462D-A656-E177F321D2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BFF8A86-C98D-4F3F-9872-6CD59CEC51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292</c:v>
                </c:pt>
                <c:pt idx="1">
                  <c:v>11.428000000000001</c:v>
                </c:pt>
                <c:pt idx="2">
                  <c:v>13.4643</c:v>
                </c:pt>
              </c:numCache>
            </c:numRef>
          </c:xVal>
          <c:yVal>
            <c:numRef>
              <c:f>Sheet1!$B$2:$B$4</c:f>
              <c:numCache>
                <c:formatCode>General</c:formatCode>
                <c:ptCount val="3"/>
                <c:pt idx="0">
                  <c:v>0.97</c:v>
                </c:pt>
                <c:pt idx="1">
                  <c:v>0.98399999999999999</c:v>
                </c:pt>
                <c:pt idx="2">
                  <c:v>1.1579999999999999</c:v>
                </c:pt>
              </c:numCache>
            </c:numRef>
          </c:yVal>
          <c:bubbleSize>
            <c:numRef>
              <c:f>Sheet1!$C$2:$C$4</c:f>
              <c:numCache>
                <c:formatCode>General</c:formatCode>
                <c:ptCount val="3"/>
                <c:pt idx="0">
                  <c:v>55399</c:v>
                </c:pt>
                <c:pt idx="1">
                  <c:v>53220</c:v>
                </c:pt>
                <c:pt idx="2">
                  <c:v>2787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01F16B-C9AD-4F33-8B76-13288BA5B2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91DC94-5B67-44E5-9336-BE216A1609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4B46D7-015E-47DE-B72F-90564F725D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18D0A63-5EAC-4B11-8BAC-48F4425EFE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4D6AD96-CFCF-4B5C-8B14-2A9D644148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A8B5C1-C2DF-462E-86BA-49A497C7E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A4023BB-B901-4521-89DE-F56D41D4C0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418215-FE80-42A2-84AA-A314123391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56400000000001</c:v>
                </c:pt>
                <c:pt idx="1">
                  <c:v>11.451599999999999</c:v>
                </c:pt>
                <c:pt idx="2">
                  <c:v>13.463800000000001</c:v>
                </c:pt>
              </c:numCache>
            </c:numRef>
          </c:xVal>
          <c:yVal>
            <c:numRef>
              <c:f>Sheet1!$B$2:$B$4</c:f>
              <c:numCache>
                <c:formatCode>General</c:formatCode>
                <c:ptCount val="3"/>
                <c:pt idx="0">
                  <c:v>0.98299999999999998</c:v>
                </c:pt>
                <c:pt idx="1">
                  <c:v>1.0129999999999999</c:v>
                </c:pt>
                <c:pt idx="2">
                  <c:v>1.1910000000000001</c:v>
                </c:pt>
              </c:numCache>
            </c:numRef>
          </c:yVal>
          <c:bubbleSize>
            <c:numRef>
              <c:f>Sheet1!$C$2:$C$4</c:f>
              <c:numCache>
                <c:formatCode>General</c:formatCode>
                <c:ptCount val="3"/>
                <c:pt idx="0">
                  <c:v>60420</c:v>
                </c:pt>
                <c:pt idx="1">
                  <c:v>50536</c:v>
                </c:pt>
                <c:pt idx="2">
                  <c:v>27143</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084AD2-F72C-4A55-B54A-739DF64A9B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6A252B-6582-4257-B6F0-C26789F59F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D20AF3-290F-42A5-BC9F-55F8B097C8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B591F8-4662-41B6-83E2-61A5220616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D0BE78-8149-4D61-8044-85D691B46D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CC8FE4-0E30-4476-9DAF-F4438014E1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46CDF2-76CE-4440-926B-D04BF7039B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1131FB-9C1C-48C8-BA8D-B507F1205C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000000000004</c:v>
                </c:pt>
                <c:pt idx="1">
                  <c:v>6.3410000000000002</c:v>
                </c:pt>
                <c:pt idx="2">
                  <c:v>7.1822999999999997</c:v>
                </c:pt>
                <c:pt idx="3">
                  <c:v>7.6665999999999999</c:v>
                </c:pt>
                <c:pt idx="4">
                  <c:v>7.1292999999999997</c:v>
                </c:pt>
                <c:pt idx="5">
                  <c:v>5.9306000000000001</c:v>
                </c:pt>
                <c:pt idx="6">
                  <c:v>6.8876999999999997</c:v>
                </c:pt>
                <c:pt idx="7">
                  <c:v>6.9467999999999996</c:v>
                </c:pt>
              </c:numCache>
            </c:numRef>
          </c:xVal>
          <c:yVal>
            <c:numRef>
              <c:f>Sheet1!$B$2:$B$9</c:f>
              <c:numCache>
                <c:formatCode>General</c:formatCode>
                <c:ptCount val="8"/>
                <c:pt idx="0">
                  <c:v>0.96499999999999997</c:v>
                </c:pt>
                <c:pt idx="1">
                  <c:v>1.153</c:v>
                </c:pt>
                <c:pt idx="2">
                  <c:v>1.0580000000000001</c:v>
                </c:pt>
                <c:pt idx="3">
                  <c:v>1.3049999999999999</c:v>
                </c:pt>
                <c:pt idx="4">
                  <c:v>0.96299999999999997</c:v>
                </c:pt>
                <c:pt idx="5">
                  <c:v>0.37</c:v>
                </c:pt>
                <c:pt idx="6">
                  <c:v>0.89300000000000002</c:v>
                </c:pt>
                <c:pt idx="7">
                  <c:v>0.93400000000000005</c:v>
                </c:pt>
              </c:numCache>
            </c:numRef>
          </c:yVal>
          <c:bubbleSize>
            <c:numRef>
              <c:f>Sheet1!$C$2:$C$9</c:f>
              <c:numCache>
                <c:formatCode>General</c:formatCode>
                <c:ptCount val="8"/>
                <c:pt idx="0">
                  <c:v>32603771</c:v>
                </c:pt>
                <c:pt idx="1">
                  <c:v>28541428</c:v>
                </c:pt>
                <c:pt idx="2">
                  <c:v>16692146</c:v>
                </c:pt>
                <c:pt idx="3">
                  <c:v>2899640</c:v>
                </c:pt>
                <c:pt idx="4">
                  <c:v>2432770</c:v>
                </c:pt>
                <c:pt idx="5">
                  <c:v>1442399</c:v>
                </c:pt>
                <c:pt idx="6">
                  <c:v>1348354</c:v>
                </c:pt>
                <c:pt idx="7">
                  <c:v>1286705</c:v>
                </c:pt>
              </c:numCache>
            </c:numRef>
          </c:bubbleSize>
          <c:bubble3D val="0"/>
          <c:extLst>
            <c:ext xmlns:c15="http://schemas.microsoft.com/office/drawing/2012/chart" uri="{02D57815-91ED-43cb-92C2-25804820EDAC}">
              <c15:datalabelsRange>
                <c15:f>Sheet1!$E$2:$E$10</c15:f>
                <c15:dlblRangeCache>
                  <c:ptCount val="9"/>
                  <c:pt idx="0">
                    <c:v>Wolfberger</c:v>
                  </c:pt>
                  <c:pt idx="1">
                    <c:v>Mdd</c:v>
                  </c:pt>
                  <c:pt idx="2">
                    <c:v>Arthur Metz</c:v>
                  </c:pt>
                  <c:pt idx="3">
                    <c:v>Bestheim</c:v>
                  </c:pt>
                  <c:pt idx="4">
                    <c:v>Cave Beblenheim</c:v>
                  </c:pt>
                  <c:pt idx="5">
                    <c:v>Les Quinze Arpents</c:v>
                  </c:pt>
                  <c:pt idx="6">
                    <c:v>Geiler Jean</c:v>
                  </c:pt>
                  <c:pt idx="7">
                    <c:v>Dopf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95F430-FD9E-4433-9C08-062B80F968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C2C35B1-138D-4BF6-8CBD-5F7CFAE142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9D87345-4AB3-482B-B690-2D6EC8195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78996D7-CCA2-4629-B635-7B08B0D79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AE7A52B-8B2D-4DC5-B78F-4B2F5A8DFE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FFE8728-5D47-4073-98B1-68A2DEAB0E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63E9D7A-0301-4F5D-8CF0-98098AE4BD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48EE42-E7D4-41D9-BA38-49B49399A1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328</c:v>
                </c:pt>
              </c:numCache>
            </c:numRef>
          </c:xVal>
          <c:yVal>
            <c:numRef>
              <c:f>Sheet1!$B$2:$B$2</c:f>
              <c:numCache>
                <c:formatCode>General</c:formatCode>
                <c:ptCount val="1"/>
                <c:pt idx="0">
                  <c:v>1.163</c:v>
                </c:pt>
              </c:numCache>
            </c:numRef>
          </c:yVal>
          <c:bubbleSize>
            <c:numRef>
              <c:f>Sheet1!$C$2:$C$2</c:f>
              <c:numCache>
                <c:formatCode>General</c:formatCode>
                <c:ptCount val="1"/>
                <c:pt idx="0">
                  <c:v>388332</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6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DB9164-C14D-4260-8F7D-FE47247587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FE0186-DDEF-46DC-9DB2-A4F25921C6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F2830B-7B67-4A47-8FD6-0911F4E64B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BAF800-1B82-400C-AE8F-FBC52ABC5F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EE828A-A642-4F7B-8165-790D850C62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756518D-ED1C-400C-9CCC-D414C93D01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10F8174-A410-4BC7-A566-ACA2191687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87A1D5-A352-4684-89D7-8739486895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000000000004</c:v>
                </c:pt>
                <c:pt idx="1">
                  <c:v>6.3410000000000002</c:v>
                </c:pt>
                <c:pt idx="2">
                  <c:v>7.1822999999999997</c:v>
                </c:pt>
                <c:pt idx="3">
                  <c:v>7.6665999999999999</c:v>
                </c:pt>
                <c:pt idx="4">
                  <c:v>7.1292999999999997</c:v>
                </c:pt>
                <c:pt idx="5">
                  <c:v>5.9306000000000001</c:v>
                </c:pt>
                <c:pt idx="6">
                  <c:v>6.8876999999999997</c:v>
                </c:pt>
                <c:pt idx="7">
                  <c:v>6.9467999999999996</c:v>
                </c:pt>
              </c:numCache>
            </c:numRef>
          </c:xVal>
          <c:yVal>
            <c:numRef>
              <c:f>Sheet1!$B$2:$B$9</c:f>
              <c:numCache>
                <c:formatCode>General</c:formatCode>
                <c:ptCount val="8"/>
                <c:pt idx="0">
                  <c:v>0.96799999999999997</c:v>
                </c:pt>
                <c:pt idx="1">
                  <c:v>1.157</c:v>
                </c:pt>
                <c:pt idx="2">
                  <c:v>1.0609999999999999</c:v>
                </c:pt>
                <c:pt idx="3">
                  <c:v>1.3089999999999999</c:v>
                </c:pt>
                <c:pt idx="4">
                  <c:v>0.96599999999999997</c:v>
                </c:pt>
                <c:pt idx="5">
                  <c:v>0.371</c:v>
                </c:pt>
                <c:pt idx="6">
                  <c:v>0.89600000000000002</c:v>
                </c:pt>
                <c:pt idx="7">
                  <c:v>0.93700000000000006</c:v>
                </c:pt>
              </c:numCache>
            </c:numRef>
          </c:yVal>
          <c:bubbleSize>
            <c:numRef>
              <c:f>Sheet1!$C$2:$C$9</c:f>
              <c:numCache>
                <c:formatCode>General</c:formatCode>
                <c:ptCount val="8"/>
                <c:pt idx="0">
                  <c:v>32603771</c:v>
                </c:pt>
                <c:pt idx="1">
                  <c:v>28541428</c:v>
                </c:pt>
                <c:pt idx="2">
                  <c:v>16692146</c:v>
                </c:pt>
                <c:pt idx="3">
                  <c:v>2899640</c:v>
                </c:pt>
                <c:pt idx="4">
                  <c:v>2432770</c:v>
                </c:pt>
                <c:pt idx="5">
                  <c:v>1442399</c:v>
                </c:pt>
                <c:pt idx="6">
                  <c:v>1348354</c:v>
                </c:pt>
                <c:pt idx="7">
                  <c:v>1286705</c:v>
                </c:pt>
              </c:numCache>
            </c:numRef>
          </c:bubbleSize>
          <c:bubble3D val="0"/>
          <c:extLst>
            <c:ext xmlns:c15="http://schemas.microsoft.com/office/drawing/2012/chart" uri="{02D57815-91ED-43cb-92C2-25804820EDAC}">
              <c15:datalabelsRange>
                <c15:f>Sheet1!$E$2:$E$10</c15:f>
                <c15:dlblRangeCache>
                  <c:ptCount val="9"/>
                  <c:pt idx="0">
                    <c:v>Wolfberger</c:v>
                  </c:pt>
                  <c:pt idx="1">
                    <c:v>Mdd</c:v>
                  </c:pt>
                  <c:pt idx="2">
                    <c:v>Arthur Metz</c:v>
                  </c:pt>
                  <c:pt idx="3">
                    <c:v>Bestheim</c:v>
                  </c:pt>
                  <c:pt idx="4">
                    <c:v>Cave Beblenheim</c:v>
                  </c:pt>
                  <c:pt idx="5">
                    <c:v>Les Quinze Arpents</c:v>
                  </c:pt>
                  <c:pt idx="6">
                    <c:v>Geiler Jean</c:v>
                  </c:pt>
                  <c:pt idx="7">
                    <c:v>Dopf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E41581-113E-46B2-A682-E489994172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E72A1BF-ECA3-4264-9978-560ED5E429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D540AA7-17CF-45E0-A555-54EB38C527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C535843-DC20-4065-AF13-7B7782B047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F2D0884-F9A0-4A90-A7A7-6F05E67179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A1A2D24-CD13-44C8-9105-61B9C2459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2A74A31-E28E-40F7-AB23-D17B3A4874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D785B7B-BA93-443B-B58D-08CA248927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300000000001</c:v>
                </c:pt>
              </c:numCache>
            </c:numRef>
          </c:xVal>
          <c:yVal>
            <c:numRef>
              <c:f>Sheet1!$B$2:$B$2</c:f>
              <c:numCache>
                <c:formatCode>General</c:formatCode>
                <c:ptCount val="1"/>
                <c:pt idx="0">
                  <c:v>1.1200000000000001</c:v>
                </c:pt>
              </c:numCache>
            </c:numRef>
          </c:yVal>
          <c:bubbleSize>
            <c:numRef>
              <c:f>Sheet1!$C$2:$C$2</c:f>
              <c:numCache>
                <c:formatCode>General</c:formatCode>
                <c:ptCount val="1"/>
                <c:pt idx="0">
                  <c:v>17950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84C1A9-66E6-45BD-9013-EC5BF455C7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D2E1F45-2144-42E8-B114-DBB26F3144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ACA85E3-B321-42AE-A5C7-88BB100760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9EBD5D4-1C97-4036-BE3D-41290E917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436337-F6B3-45F7-BD22-FA6BB285A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43A7B5D-6D01-4117-9B20-51C3B72BC5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0BD873C-F2E1-4977-94DB-169312E9C3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9CF1536-C87D-4489-A6C9-FB98003B4F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01599999999998</c:v>
                </c:pt>
              </c:numCache>
            </c:numRef>
          </c:xVal>
          <c:yVal>
            <c:numRef>
              <c:f>Sheet1!$B$2:$B$2</c:f>
              <c:numCache>
                <c:formatCode>General</c:formatCode>
                <c:ptCount val="1"/>
                <c:pt idx="0">
                  <c:v>1.0229999999999999</c:v>
                </c:pt>
              </c:numCache>
            </c:numRef>
          </c:yVal>
          <c:bubbleSize>
            <c:numRef>
              <c:f>Sheet1!$C$2:$C$2</c:f>
              <c:numCache>
                <c:formatCode>General</c:formatCode>
                <c:ptCount val="1"/>
                <c:pt idx="0">
                  <c:v>740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5EDFFF-4253-4BBD-A6CD-45F9A9A2F5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5940F3B-4432-423D-90A6-367CBC578F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90A18E7-4D14-4629-B351-5B56901D76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22F3626-210E-4086-A7FD-6D77300D06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99EFB5C-0F9E-4AC7-ABF1-F530005CCC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BBECCAA-34EC-4707-8264-EF5EB0727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64B04BF-B3FC-4090-BE0F-BA21DA06FF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4BBDC1-CB71-4FEA-91C3-E4AF723BF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55099999999999</c:v>
                </c:pt>
              </c:numCache>
            </c:numRef>
          </c:xVal>
          <c:yVal>
            <c:numRef>
              <c:f>Sheet1!$B$2:$B$2</c:f>
              <c:numCache>
                <c:formatCode>General</c:formatCode>
                <c:ptCount val="1"/>
                <c:pt idx="0">
                  <c:v>1.2589999999999999</c:v>
                </c:pt>
              </c:numCache>
            </c:numRef>
          </c:yVal>
          <c:bubbleSize>
            <c:numRef>
              <c:f>Sheet1!$C$2:$C$2</c:f>
              <c:numCache>
                <c:formatCode>General</c:formatCode>
                <c:ptCount val="1"/>
                <c:pt idx="0">
                  <c:v>51331</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B961BA-2AFE-4247-BFA6-254052998E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3419C31-FDCF-4CBA-9938-0AFC26EDCB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9C044D6-773F-4B16-989D-A4DE182D92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F75F97B-A189-4EB5-9212-E6AF52FDE8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CB3C4CA-B8F8-4435-9A18-64805D4F52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32A0EC1-8F75-4A43-BA62-90D18581AC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799E087-B8CC-44C9-95F6-D702E27329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B030A5-C8DB-42E8-92D1-43ADEDC26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514</c:v>
                </c:pt>
              </c:numCache>
            </c:numRef>
          </c:xVal>
          <c:yVal>
            <c:numRef>
              <c:f>Sheet1!$B$2:$B$2</c:f>
              <c:numCache>
                <c:formatCode>General</c:formatCode>
                <c:ptCount val="1"/>
                <c:pt idx="0">
                  <c:v>1</c:v>
                </c:pt>
              </c:numCache>
            </c:numRef>
          </c:yVal>
          <c:bubbleSize>
            <c:numRef>
              <c:f>Sheet1!$C$2:$C$2</c:f>
              <c:numCache>
                <c:formatCode>General</c:formatCode>
                <c:ptCount val="1"/>
                <c:pt idx="0">
                  <c:v>16893</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7BAC4A7-BFA9-4F4C-90BE-218B234DE3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8E06DD0-A818-4D8E-9DD6-8966A8E937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FA0D608E-52CA-4C7D-BE61-05D3E5531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730ACBFC-CC6B-4B6B-9318-24709CC08E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15A0EA0-34F9-4FB8-A355-257DDDD8F6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C97B49F-DA1B-4BF1-9A60-4D84972E00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B9CB6188-93B2-4051-9363-F73976BACB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1CFBFE0-42C7-43C7-A7BA-5B8691E4B4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648</c:v>
                </c:pt>
                <c:pt idx="1">
                  <c:v>11.4002</c:v>
                </c:pt>
              </c:numCache>
            </c:numRef>
          </c:xVal>
          <c:yVal>
            <c:numRef>
              <c:f>Sheet1!$B$2:$B$3</c:f>
              <c:numCache>
                <c:formatCode>General</c:formatCode>
                <c:ptCount val="2"/>
                <c:pt idx="0">
                  <c:v>1.6870000000000001</c:v>
                </c:pt>
                <c:pt idx="1">
                  <c:v>0.65200000000000002</c:v>
                </c:pt>
              </c:numCache>
            </c:numRef>
          </c:yVal>
          <c:bubbleSize>
            <c:numRef>
              <c:f>Sheet1!$C$2:$C$3</c:f>
              <c:numCache>
                <c:formatCode>General</c:formatCode>
                <c:ptCount val="2"/>
                <c:pt idx="0">
                  <c:v>18403</c:v>
                </c:pt>
                <c:pt idx="1">
                  <c:v>11081</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1D1645-BC86-4FE1-97A8-F8C45F0E83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C7E8321-4942-4073-99E6-3089D2DB36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69A3AD9-C184-48E0-ACA1-8B542E651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3D83291-0228-46FC-B106-AC1CB1B08F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D9FB12A-D4BA-4A0C-906D-A71B67E751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8F215BD-6B9A-4697-A68D-99D33BA4F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395CA02-2A8B-470D-A4EB-606171FECD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4AD1A42-15AA-42A9-88FA-7F2DF66A7A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843299999999999</c:v>
                </c:pt>
              </c:numCache>
            </c:numRef>
          </c:xVal>
          <c:yVal>
            <c:numRef>
              <c:f>Sheet1!$B$2:$B$2</c:f>
              <c:numCache>
                <c:formatCode>General</c:formatCode>
                <c:ptCount val="1"/>
                <c:pt idx="0">
                  <c:v>1.3560000000000001</c:v>
                </c:pt>
              </c:numCache>
            </c:numRef>
          </c:yVal>
          <c:bubbleSize>
            <c:numRef>
              <c:f>Sheet1!$C$2:$C$2</c:f>
              <c:numCache>
                <c:formatCode>General</c:formatCode>
                <c:ptCount val="1"/>
                <c:pt idx="0">
                  <c:v>2151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5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8EC1B1-B95D-4015-B505-4FED00DFDD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B19422F-0C95-4E54-9EE1-74AD9AE2BD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49CF01B-186B-4DFE-9604-1D6B837AD0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B8D34C1-C5C7-455E-B259-5CA8CCA73A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3BB3281-3264-4B15-99D8-FE2964C683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9E57C48-CCA4-49AB-9777-AED697DC01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8723BED-9287-4740-8211-4D20BA2F42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6AC1D0E-C806-49EE-87C6-E010D77B86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89700000000001</c:v>
                </c:pt>
              </c:numCache>
            </c:numRef>
          </c:xVal>
          <c:yVal>
            <c:numRef>
              <c:f>Sheet1!$B$2:$B$2</c:f>
              <c:numCache>
                <c:formatCode>General</c:formatCode>
                <c:ptCount val="1"/>
                <c:pt idx="0">
                  <c:v>1</c:v>
                </c:pt>
              </c:numCache>
            </c:numRef>
          </c:yVal>
          <c:bubbleSize>
            <c:numRef>
              <c:f>Sheet1!$C$2:$C$2</c:f>
              <c:numCache>
                <c:formatCode>General</c:formatCode>
                <c:ptCount val="1"/>
                <c:pt idx="0">
                  <c:v>2379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3E0F22-53E5-45C6-98F2-B2CBEBC716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966939F-80F0-4F3D-8F55-5F0E2279A0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A575619-2233-47C6-B3CC-5D01F0D69C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5E336B3-EABC-4E5C-BBC0-82EE85092E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F71A48-2ACA-4A48-8974-DE060C9C22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D14046C-9A06-4E2A-A3C8-CC2B145DB2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87E10BF-E777-4FEB-814A-B7CACB3274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1A1C62-6F6B-4307-A920-60A5B9982A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18999999999998</c:v>
                </c:pt>
              </c:numCache>
            </c:numRef>
          </c:xVal>
          <c:yVal>
            <c:numRef>
              <c:f>Sheet1!$B$2:$B$2</c:f>
              <c:numCache>
                <c:formatCode>General</c:formatCode>
                <c:ptCount val="1"/>
                <c:pt idx="0">
                  <c:v>1</c:v>
                </c:pt>
              </c:numCache>
            </c:numRef>
          </c:yVal>
          <c:bubbleSize>
            <c:numRef>
              <c:f>Sheet1!$C$2:$C$2</c:f>
              <c:numCache>
                <c:formatCode>General</c:formatCode>
                <c:ptCount val="1"/>
                <c:pt idx="0">
                  <c:v>2217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F9E944-7999-421B-8F6E-AC59551BA5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548EC8D-5172-48E6-AB53-FF463BECCD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0AEBB4E-CD2E-4839-A1E0-38B0448596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A50EA78-5293-43B6-955F-008F899FE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F6C5B7B-AB5C-4DA6-A8DE-C5C6E963DF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3CF16B7-7E9B-4AC9-8A0E-E12958D7CF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D321C04-6EA2-472C-A8A9-D497D85B7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C89A1AF-71AC-4EEF-B797-996D2576E4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62100000000001</c:v>
                </c:pt>
              </c:numCache>
            </c:numRef>
          </c:xVal>
          <c:yVal>
            <c:numRef>
              <c:f>Sheet1!$B$2:$B$2</c:f>
              <c:numCache>
                <c:formatCode>General</c:formatCode>
                <c:ptCount val="1"/>
                <c:pt idx="0">
                  <c:v>1</c:v>
                </c:pt>
              </c:numCache>
            </c:numRef>
          </c:yVal>
          <c:bubbleSize>
            <c:numRef>
              <c:f>Sheet1!$C$2:$C$2</c:f>
              <c:numCache>
                <c:formatCode>General</c:formatCode>
                <c:ptCount val="1"/>
                <c:pt idx="0">
                  <c:v>13997</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853601-597B-4BDE-A29A-7B9F924A4D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2564FC8-532B-4A60-B6BF-D9DBAA9ED9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5E6655F-584A-45E1-B5A5-632CB87765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49E3555-9245-4AAC-AE01-914DBCF76A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53599E2-832E-4412-8C69-A5877E2B09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AF140F5-ACC8-4DC8-81E8-3DDE2A4E4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4198B4-FA32-4B51-A2AC-2A43BE22D5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5461B4F-8F2C-46CA-9924-C784DD48C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818</c:v>
                </c:pt>
              </c:numCache>
            </c:numRef>
          </c:xVal>
          <c:yVal>
            <c:numRef>
              <c:f>Sheet1!$B$2:$B$2</c:f>
              <c:numCache>
                <c:formatCode>General</c:formatCode>
                <c:ptCount val="1"/>
                <c:pt idx="0">
                  <c:v>1</c:v>
                </c:pt>
              </c:numCache>
            </c:numRef>
          </c:yVal>
          <c:bubbleSize>
            <c:numRef>
              <c:f>Sheet1!$C$2:$C$2</c:f>
              <c:numCache>
                <c:formatCode>General</c:formatCode>
                <c:ptCount val="1"/>
                <c:pt idx="0">
                  <c:v>961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F5DB81-CDA6-4280-95D5-0D746FBF94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C2D6B82-B93E-4FCC-B4E1-75876FF255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70B6EEA-0508-48A9-BA14-5514FCB8B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18E4AFD-3E5B-484B-8E29-41C1C25518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C6B85CF-9C98-4B36-BFEC-777719AA3B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F54690E-5CF0-4677-8628-F143B727D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A38B99E-5F0E-49C8-B201-56ED1AC747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25FCA1A-FC7C-414B-9A24-0188079E61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33100000000002</c:v>
                </c:pt>
              </c:numCache>
            </c:numRef>
          </c:xVal>
          <c:yVal>
            <c:numRef>
              <c:f>Sheet1!$B$2:$B$2</c:f>
              <c:numCache>
                <c:formatCode>General</c:formatCode>
                <c:ptCount val="1"/>
                <c:pt idx="0">
                  <c:v>1.5169999999999999</c:v>
                </c:pt>
              </c:numCache>
            </c:numRef>
          </c:yVal>
          <c:bubbleSize>
            <c:numRef>
              <c:f>Sheet1!$C$2:$C$2</c:f>
              <c:numCache>
                <c:formatCode>General</c:formatCode>
                <c:ptCount val="1"/>
                <c:pt idx="0">
                  <c:v>68483</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08333F-0049-4FB1-9EB1-7CE6AA88E7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E8A1CCF-8BBF-4982-8E98-D5C58D56C1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359D1E9-6873-4EE4-A685-C55184AC05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4C38930-32CB-4D0E-9FD8-E3530409CD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45785E7-7466-4947-A334-321980EE20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61C0CF8-DA01-413A-892A-50BF235FEC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15E786E-007B-4D93-854C-5445CEB8AA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B407A67-594F-4F19-B681-320AA6B50E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77600000000001</c:v>
                </c:pt>
              </c:numCache>
            </c:numRef>
          </c:xVal>
          <c:yVal>
            <c:numRef>
              <c:f>Sheet1!$B$2:$B$2</c:f>
              <c:numCache>
                <c:formatCode>General</c:formatCode>
                <c:ptCount val="1"/>
                <c:pt idx="0">
                  <c:v>1</c:v>
                </c:pt>
              </c:numCache>
            </c:numRef>
          </c:yVal>
          <c:bubbleSize>
            <c:numRef>
              <c:f>Sheet1!$C$2:$C$2</c:f>
              <c:numCache>
                <c:formatCode>General</c:formatCode>
                <c:ptCount val="1"/>
                <c:pt idx="0">
                  <c:v>78512</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A96D30-87D2-4A61-B42D-DA23584D59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90DD367-0E38-41B8-BF84-6875256EE1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4FB5478-4567-4F5D-A065-159A0D09AB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156409A-2F6D-4C2B-84AF-F403BE00D5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F2A1579-A65A-4AA6-896A-FBAF0B061A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0C83CD7-C14A-4AAF-A23E-03F58BF0D5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0E1A6EB-BDC9-451A-BEEB-2777537AA8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66F458E-CA29-46F2-A1FC-1DD93F8171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600000000001</c:v>
                </c:pt>
              </c:numCache>
            </c:numRef>
          </c:xVal>
          <c:yVal>
            <c:numRef>
              <c:f>Sheet1!$B$2:$B$2</c:f>
              <c:numCache>
                <c:formatCode>General</c:formatCode>
                <c:ptCount val="1"/>
                <c:pt idx="0">
                  <c:v>1.224</c:v>
                </c:pt>
              </c:numCache>
            </c:numRef>
          </c:yVal>
          <c:bubbleSize>
            <c:numRef>
              <c:f>Sheet1!$C$2:$C$2</c:f>
              <c:numCache>
                <c:formatCode>General</c:formatCode>
                <c:ptCount val="1"/>
                <c:pt idx="0">
                  <c:v>7043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2523AC-F2B0-4D93-9B39-005CE1A6ED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7F78021-762C-4F69-B773-0D7DB1DB36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FB1B40D-97E3-4626-80FA-2B5C55E1C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BD63941-32F2-4BDD-8F5E-6F2632B881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EE24DD1-E519-432E-921A-8872817D14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38AF53-2A7B-4540-849C-52ECD61E0F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DBC04F-D477-4398-BC04-EC0C2F69C9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4A2C5B3-2BEE-47DD-A6E4-3873A43696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97300000000001</c:v>
                </c:pt>
              </c:numCache>
            </c:numRef>
          </c:xVal>
          <c:yVal>
            <c:numRef>
              <c:f>Sheet1!$B$2:$B$2</c:f>
              <c:numCache>
                <c:formatCode>General</c:formatCode>
                <c:ptCount val="1"/>
                <c:pt idx="0">
                  <c:v>1.0489999999999999</c:v>
                </c:pt>
              </c:numCache>
            </c:numRef>
          </c:yVal>
          <c:bubbleSize>
            <c:numRef>
              <c:f>Sheet1!$C$2:$C$2</c:f>
              <c:numCache>
                <c:formatCode>General</c:formatCode>
                <c:ptCount val="1"/>
                <c:pt idx="0">
                  <c:v>760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5E8FD2-D744-42FD-B68E-2C3FFE6400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AE5A4A3-3B52-4E11-84F6-58EE68F1AD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69AD9F4-2E3E-4691-9A6D-B7543BFF00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12E75E6-1667-4EF6-BDC5-36950E70FD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5AF60EB-5B31-4FBC-A72B-2C9089F8E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715852E-EF4F-4C03-89E1-FCDF5750B5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5BA1294-AE80-4654-993A-309E44DA8D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1310352-9294-4093-915D-53899DB1A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6111</c:v>
                </c:pt>
              </c:numCache>
            </c:numRef>
          </c:xVal>
          <c:yVal>
            <c:numRef>
              <c:f>Sheet1!$B$2:$B$2</c:f>
              <c:numCache>
                <c:formatCode>General</c:formatCode>
                <c:ptCount val="1"/>
                <c:pt idx="0">
                  <c:v>1.2490000000000001</c:v>
                </c:pt>
              </c:numCache>
            </c:numRef>
          </c:yVal>
          <c:bubbleSize>
            <c:numRef>
              <c:f>Sheet1!$C$2:$C$2</c:f>
              <c:numCache>
                <c:formatCode>General</c:formatCode>
                <c:ptCount val="1"/>
                <c:pt idx="0">
                  <c:v>82244</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49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552308-9CA6-44CF-B8E9-A551DBE1A2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960034-A991-4C3E-946C-D49BA53BE9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28A042-9AEF-4AF9-87F5-58AD1B95F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11E8BB-F982-44A0-AF10-E2309E5E55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EB8F40-1FCC-4C1D-B5FD-BB838CD820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D2237B-15A1-4DDD-9122-2638B8DE91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9E93439-C933-4220-9BD7-CFE4F28337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F9B272-4BFA-49AB-9D7D-0CB9CCE88F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6399999999994</c:v>
                </c:pt>
                <c:pt idx="1">
                  <c:v>23.107299999999999</c:v>
                </c:pt>
                <c:pt idx="2">
                  <c:v>50.8294</c:v>
                </c:pt>
                <c:pt idx="3">
                  <c:v>31.597000000000001</c:v>
                </c:pt>
                <c:pt idx="4">
                  <c:v>29.059000000000001</c:v>
                </c:pt>
                <c:pt idx="5">
                  <c:v>39.901000000000003</c:v>
                </c:pt>
                <c:pt idx="6">
                  <c:v>30.6097</c:v>
                </c:pt>
                <c:pt idx="7">
                  <c:v>58.011600000000001</c:v>
                </c:pt>
              </c:numCache>
            </c:numRef>
          </c:xVal>
          <c:yVal>
            <c:numRef>
              <c:f>Sheet1!$B$2:$B$9</c:f>
              <c:numCache>
                <c:formatCode>General</c:formatCode>
                <c:ptCount val="8"/>
                <c:pt idx="0">
                  <c:v>1.673</c:v>
                </c:pt>
                <c:pt idx="1">
                  <c:v>0.56699999999999995</c:v>
                </c:pt>
                <c:pt idx="2">
                  <c:v>1.204</c:v>
                </c:pt>
                <c:pt idx="3">
                  <c:v>0.77300000000000002</c:v>
                </c:pt>
                <c:pt idx="4">
                  <c:v>0.71799999999999997</c:v>
                </c:pt>
                <c:pt idx="5">
                  <c:v>0.97699999999999998</c:v>
                </c:pt>
                <c:pt idx="6">
                  <c:v>0.75</c:v>
                </c:pt>
                <c:pt idx="7">
                  <c:v>1.208</c:v>
                </c:pt>
              </c:numCache>
            </c:numRef>
          </c:yVal>
          <c:bubbleSize>
            <c:numRef>
              <c:f>Sheet1!$C$2:$C$9</c:f>
              <c:numCache>
                <c:formatCode>General</c:formatCode>
                <c:ptCount val="8"/>
                <c:pt idx="0">
                  <c:v>395087</c:v>
                </c:pt>
                <c:pt idx="1">
                  <c:v>216631</c:v>
                </c:pt>
                <c:pt idx="2">
                  <c:v>169872</c:v>
                </c:pt>
                <c:pt idx="3">
                  <c:v>95486</c:v>
                </c:pt>
                <c:pt idx="4">
                  <c:v>91042</c:v>
                </c:pt>
                <c:pt idx="5">
                  <c:v>73338</c:v>
                </c:pt>
                <c:pt idx="6">
                  <c:v>71290</c:v>
                </c:pt>
                <c:pt idx="7">
                  <c:v>6990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Heidsieck &amp; Co Monopole</c:v>
                  </c:pt>
                  <c:pt idx="5">
                    <c:v>Ayala</c:v>
                  </c:pt>
                  <c:pt idx="6">
                    <c:v>De Bligny</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B5B020-1DEE-4EE5-AB8A-AE340785C0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C9D6132-74EC-439E-BC7B-17A224EFC7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753F2FA-E1F5-4C31-8AB0-9DB0919994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A1EF2AA-D8ED-40E4-BE97-D93612B6FD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6995E2A-7B05-4FFE-AE98-94700CD2C6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AB89F4B-A9E3-430E-A8DB-17799CF84C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72AA5BF-F5B4-430A-9A13-69B7F85BC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CBB26ED-2239-41AC-859D-2EFE0F01E2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286000000000001</c:v>
                </c:pt>
              </c:numCache>
            </c:numRef>
          </c:xVal>
          <c:yVal>
            <c:numRef>
              <c:f>Sheet1!$B$2:$B$2</c:f>
              <c:numCache>
                <c:formatCode>General</c:formatCode>
                <c:ptCount val="1"/>
                <c:pt idx="0">
                  <c:v>1.224</c:v>
                </c:pt>
              </c:numCache>
            </c:numRef>
          </c:yVal>
          <c:bubbleSize>
            <c:numRef>
              <c:f>Sheet1!$C$2:$C$2</c:f>
              <c:numCache>
                <c:formatCode>General</c:formatCode>
                <c:ptCount val="1"/>
                <c:pt idx="0">
                  <c:v>8117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A45CDB-AB44-47D8-9EFD-AE11F4F344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70B26E-5372-411F-8C35-CC4681EBD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C56B63-4D47-42F4-B338-8E708BA7D3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95D3DF-CA46-4827-8FDE-CDBFE9FFF6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93AE76-5379-434F-B30E-E2556960FC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E50AF1-760B-489E-A49D-9E375EFF85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CF3DF4-6F79-4B41-9819-1B96333043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A89814-BBA5-4E55-8A93-42C60A4B03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000000000004</c:v>
                </c:pt>
                <c:pt idx="1">
                  <c:v>7.2641</c:v>
                </c:pt>
                <c:pt idx="2">
                  <c:v>6.9162999999999997</c:v>
                </c:pt>
                <c:pt idx="3">
                  <c:v>6.5225999999999997</c:v>
                </c:pt>
                <c:pt idx="4">
                  <c:v>7.99</c:v>
                </c:pt>
                <c:pt idx="5">
                  <c:v>7.0077999999999996</c:v>
                </c:pt>
                <c:pt idx="6">
                  <c:v>5.8705999999999996</c:v>
                </c:pt>
              </c:numCache>
            </c:numRef>
          </c:xVal>
          <c:yVal>
            <c:numRef>
              <c:f>Sheet1!$B$2:$B$8</c:f>
              <c:numCache>
                <c:formatCode>General</c:formatCode>
                <c:ptCount val="7"/>
                <c:pt idx="0">
                  <c:v>0.92200000000000004</c:v>
                </c:pt>
                <c:pt idx="1">
                  <c:v>1.083</c:v>
                </c:pt>
                <c:pt idx="2">
                  <c:v>1.22</c:v>
                </c:pt>
                <c:pt idx="3">
                  <c:v>0.96299999999999997</c:v>
                </c:pt>
                <c:pt idx="4">
                  <c:v>1.373</c:v>
                </c:pt>
                <c:pt idx="5">
                  <c:v>1.2350000000000001</c:v>
                </c:pt>
                <c:pt idx="6">
                  <c:v>0.29699999999999999</c:v>
                </c:pt>
              </c:numCache>
            </c:numRef>
          </c:yVal>
          <c:bubbleSize>
            <c:numRef>
              <c:f>Sheet1!$C$2:$C$8</c:f>
              <c:numCache>
                <c:formatCode>General</c:formatCode>
                <c:ptCount val="7"/>
                <c:pt idx="0">
                  <c:v>3233122</c:v>
                </c:pt>
                <c:pt idx="1">
                  <c:v>2298436</c:v>
                </c:pt>
                <c:pt idx="2">
                  <c:v>2130700</c:v>
                </c:pt>
                <c:pt idx="3">
                  <c:v>1540334</c:v>
                </c:pt>
                <c:pt idx="4">
                  <c:v>1026974</c:v>
                </c:pt>
                <c:pt idx="5">
                  <c:v>477794</c:v>
                </c:pt>
                <c:pt idx="6">
                  <c:v>162181</c:v>
                </c:pt>
              </c:numCache>
            </c:numRef>
          </c:bubbleSize>
          <c:bubble3D val="0"/>
          <c:extLst>
            <c:ext xmlns:c15="http://schemas.microsoft.com/office/drawing/2012/chart" uri="{02D57815-91ED-43cb-92C2-25804820EDAC}">
              <c15:datalabelsRange>
                <c15:f>Sheet1!$E$2:$E$10</c15:f>
                <c15:dlblRangeCache>
                  <c:ptCount val="9"/>
                  <c:pt idx="0">
                    <c:v>Mdd</c:v>
                  </c:pt>
                  <c:pt idx="1">
                    <c:v>Ballarin Jean Louis</c:v>
                  </c:pt>
                  <c:pt idx="2">
                    <c:v>Malesan</c:v>
                  </c:pt>
                  <c:pt idx="3">
                    <c:v>Jaillance</c:v>
                  </c:pt>
                  <c:pt idx="4">
                    <c:v>Sieur Gaillard</c:v>
                  </c:pt>
                  <c:pt idx="5">
                    <c:v>Les Cordeliers</c:v>
                  </c:pt>
                  <c:pt idx="6">
                    <c:v>Calv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598F73-ACB9-4426-8C3C-670B0B3551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8AB820-8866-475A-A4EB-57D8AF2AC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B99D5BC-56F6-49CA-93E6-E23AE08CD6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A898270-5554-4022-86EF-73FAB95A06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BB8BD31-38D6-49B8-8176-D2869E7A45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C4B270D-7622-4AB9-8330-0FF72098EC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1DE1AA2-434B-4F55-8DD0-361401780F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AEBDA18-AF2E-4576-8E43-D9C59E0E4F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071</c:v>
                </c:pt>
                <c:pt idx="1">
                  <c:v>9.6836000000000002</c:v>
                </c:pt>
              </c:numCache>
            </c:numRef>
          </c:xVal>
          <c:yVal>
            <c:numRef>
              <c:f>Sheet1!$B$2:$B$3</c:f>
              <c:numCache>
                <c:formatCode>General</c:formatCode>
                <c:ptCount val="2"/>
                <c:pt idx="0">
                  <c:v>1.014</c:v>
                </c:pt>
                <c:pt idx="1">
                  <c:v>0.84799999999999998</c:v>
                </c:pt>
              </c:numCache>
            </c:numRef>
          </c:yVal>
          <c:bubbleSize>
            <c:numRef>
              <c:f>Sheet1!$C$2:$C$3</c:f>
              <c:numCache>
                <c:formatCode>General</c:formatCode>
                <c:ptCount val="2"/>
                <c:pt idx="0">
                  <c:v>59904</c:v>
                </c:pt>
                <c:pt idx="1">
                  <c:v>9364</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D67313-B8DB-45D5-9635-1A18245DA6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CBF942-AED1-40C7-87F8-C671881E1B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EDB744-0AEF-4AA1-BA6A-16E2CF6C7F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8E554F-F84E-4897-AB18-6865D590D7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AAF42AA-CA5C-4AD0-A45F-6FE69D87D9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57B1C3-E24E-44B6-9220-50C851F810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3457E1-3652-4A7B-B8AB-B303011D9E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A20D1B2-22C8-406D-A3FA-C4C76FA9EA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000000000004</c:v>
                </c:pt>
                <c:pt idx="1">
                  <c:v>7.2641</c:v>
                </c:pt>
                <c:pt idx="2">
                  <c:v>6.9162999999999997</c:v>
                </c:pt>
                <c:pt idx="3">
                  <c:v>6.5225999999999997</c:v>
                </c:pt>
                <c:pt idx="4">
                  <c:v>7.99</c:v>
                </c:pt>
                <c:pt idx="5">
                  <c:v>7.0077999999999996</c:v>
                </c:pt>
                <c:pt idx="6">
                  <c:v>5.8705999999999996</c:v>
                </c:pt>
              </c:numCache>
            </c:numRef>
          </c:xVal>
          <c:yVal>
            <c:numRef>
              <c:f>Sheet1!$B$2:$B$8</c:f>
              <c:numCache>
                <c:formatCode>General</c:formatCode>
                <c:ptCount val="7"/>
                <c:pt idx="0">
                  <c:v>0.92500000000000004</c:v>
                </c:pt>
                <c:pt idx="1">
                  <c:v>1.0860000000000001</c:v>
                </c:pt>
                <c:pt idx="2">
                  <c:v>1.224</c:v>
                </c:pt>
                <c:pt idx="3">
                  <c:v>0.96599999999999997</c:v>
                </c:pt>
                <c:pt idx="4">
                  <c:v>1.377</c:v>
                </c:pt>
                <c:pt idx="5">
                  <c:v>1.2390000000000001</c:v>
                </c:pt>
                <c:pt idx="6">
                  <c:v>0.29799999999999999</c:v>
                </c:pt>
              </c:numCache>
            </c:numRef>
          </c:yVal>
          <c:bubbleSize>
            <c:numRef>
              <c:f>Sheet1!$C$2:$C$8</c:f>
              <c:numCache>
                <c:formatCode>General</c:formatCode>
                <c:ptCount val="7"/>
                <c:pt idx="0">
                  <c:v>3233122</c:v>
                </c:pt>
                <c:pt idx="1">
                  <c:v>2298436</c:v>
                </c:pt>
                <c:pt idx="2">
                  <c:v>2130700</c:v>
                </c:pt>
                <c:pt idx="3">
                  <c:v>1540327</c:v>
                </c:pt>
                <c:pt idx="4">
                  <c:v>1026974</c:v>
                </c:pt>
                <c:pt idx="5">
                  <c:v>477794</c:v>
                </c:pt>
                <c:pt idx="6">
                  <c:v>162181</c:v>
                </c:pt>
              </c:numCache>
            </c:numRef>
          </c:bubbleSize>
          <c:bubble3D val="0"/>
          <c:extLst>
            <c:ext xmlns:c15="http://schemas.microsoft.com/office/drawing/2012/chart" uri="{02D57815-91ED-43cb-92C2-25804820EDAC}">
              <c15:datalabelsRange>
                <c15:f>Sheet1!$E$2:$E$10</c15:f>
                <c15:dlblRangeCache>
                  <c:ptCount val="9"/>
                  <c:pt idx="0">
                    <c:v>Mdd</c:v>
                  </c:pt>
                  <c:pt idx="1">
                    <c:v>Ballarin Jean Louis</c:v>
                  </c:pt>
                  <c:pt idx="2">
                    <c:v>Malesan</c:v>
                  </c:pt>
                  <c:pt idx="3">
                    <c:v>Jaillance</c:v>
                  </c:pt>
                  <c:pt idx="4">
                    <c:v>Sieur Gaillard</c:v>
                  </c:pt>
                  <c:pt idx="5">
                    <c:v>Les Cordeliers</c:v>
                  </c:pt>
                  <c:pt idx="6">
                    <c:v>Calv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F1F71A-BCF2-4A4E-AB50-7CA3F423B9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86A2BE-817E-40FC-87C6-2BB6C0D06F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321136C-3785-4C9D-AAE2-940B60A760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0D22E4B-87E4-4FA7-94A5-B70AA6FC44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28426BB-1708-48A5-BB69-103DD36698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ABA26A3-1AB5-449D-827F-15CF00A086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AA587F6-04F8-452D-8DB4-3E914C29D7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3B3383C-2A3E-42BD-A9F2-99E44E3B76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256</c:v>
                </c:pt>
                <c:pt idx="1">
                  <c:v>9.5991</c:v>
                </c:pt>
              </c:numCache>
            </c:numRef>
          </c:xVal>
          <c:yVal>
            <c:numRef>
              <c:f>Sheet1!$B$2:$B$3</c:f>
              <c:numCache>
                <c:formatCode>General</c:formatCode>
                <c:ptCount val="2"/>
                <c:pt idx="0">
                  <c:v>1.014</c:v>
                </c:pt>
                <c:pt idx="1">
                  <c:v>0.89500000000000002</c:v>
                </c:pt>
              </c:numCache>
            </c:numRef>
          </c:yVal>
          <c:bubbleSize>
            <c:numRef>
              <c:f>Sheet1!$C$2:$C$3</c:f>
              <c:numCache>
                <c:formatCode>General</c:formatCode>
                <c:ptCount val="2"/>
                <c:pt idx="0">
                  <c:v>30525</c:v>
                </c:pt>
                <c:pt idx="1">
                  <c:v>411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5EE86B-6720-44BA-89BC-BFFEC35652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023BC2-3974-40E3-BA7D-9B0E436E4C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78D3693-1B3C-4027-9B81-2C870C0679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EB0577E-E6A5-4910-8ED2-A0D9EA1C03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3CB5187-DAD3-47EB-A4DD-206130BE8C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6105DA8-A0DB-4FE7-92C6-4D655B651B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843BD14-C290-4E1F-9620-4138B7D045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9C1A5F-CC93-4CBD-BEB6-27482F350E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11</c:v>
                </c:pt>
                <c:pt idx="1">
                  <c:v>9.48</c:v>
                </c:pt>
              </c:numCache>
            </c:numRef>
          </c:xVal>
          <c:yVal>
            <c:numRef>
              <c:f>Sheet1!$B$2:$B$3</c:f>
              <c:numCache>
                <c:formatCode>General</c:formatCode>
                <c:ptCount val="2"/>
                <c:pt idx="0">
                  <c:v>1.0289999999999999</c:v>
                </c:pt>
                <c:pt idx="1">
                  <c:v>0.84799999999999998</c:v>
                </c:pt>
              </c:numCache>
            </c:numRef>
          </c:yVal>
          <c:bubbleSize>
            <c:numRef>
              <c:f>Sheet1!$C$2:$C$3</c:f>
              <c:numCache>
                <c:formatCode>General</c:formatCode>
                <c:ptCount val="2"/>
                <c:pt idx="0">
                  <c:v>13303</c:v>
                </c:pt>
                <c:pt idx="1">
                  <c:v>2607</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345F56-5130-496B-B6B4-4C692BD3E5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B0C664-5B4B-453E-9509-FA08E67C8F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AD474B4-2402-41AE-9490-62C89CB011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9E426E2-8A6C-4324-88B3-673078CB57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39B39A7-494B-45D2-8FC1-D8E7F7882A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9BAC82B-3363-4292-9829-AA077F21B1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06195A9-50AF-4336-ACCE-E13FCCB6DF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204D51-B5E8-4018-9EA5-C571727577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194</c:v>
                </c:pt>
                <c:pt idx="1">
                  <c:v>9.7117000000000004</c:v>
                </c:pt>
              </c:numCache>
            </c:numRef>
          </c:xVal>
          <c:yVal>
            <c:numRef>
              <c:f>Sheet1!$B$2:$B$3</c:f>
              <c:numCache>
                <c:formatCode>General</c:formatCode>
                <c:ptCount val="2"/>
                <c:pt idx="0">
                  <c:v>1.034</c:v>
                </c:pt>
                <c:pt idx="1">
                  <c:v>0.82399999999999995</c:v>
                </c:pt>
              </c:numCache>
            </c:numRef>
          </c:yVal>
          <c:bubbleSize>
            <c:numRef>
              <c:f>Sheet1!$C$2:$C$3</c:f>
              <c:numCache>
                <c:formatCode>General</c:formatCode>
                <c:ptCount val="2"/>
                <c:pt idx="0">
                  <c:v>7043</c:v>
                </c:pt>
                <c:pt idx="1">
                  <c:v>107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3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26EBA0-1ACD-49BF-A737-6BE79BE75B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7A4066-3148-4D90-8FAE-BA5FF826A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BFFD60B-F50F-4041-B084-3308CB9D18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8D2915D-02D2-444B-858C-4F88EED465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4DC7A41-110F-4008-89D2-C7AB798854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FEC466F-6F11-473E-A5A3-24F2DDD65D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1D0C267-F8C7-4746-AF52-08323880B2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9AC9A5-C36E-450E-8756-6D5A733617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282</c:v>
                </c:pt>
                <c:pt idx="1">
                  <c:v>10.235300000000001</c:v>
                </c:pt>
              </c:numCache>
            </c:numRef>
          </c:xVal>
          <c:yVal>
            <c:numRef>
              <c:f>Sheet1!$B$2:$B$3</c:f>
              <c:numCache>
                <c:formatCode>General</c:formatCode>
                <c:ptCount val="2"/>
                <c:pt idx="0">
                  <c:v>1.0429999999999999</c:v>
                </c:pt>
                <c:pt idx="1">
                  <c:v>0.80900000000000005</c:v>
                </c:pt>
              </c:numCache>
            </c:numRef>
          </c:yVal>
          <c:bubbleSize>
            <c:numRef>
              <c:f>Sheet1!$C$2:$C$3</c:f>
              <c:numCache>
                <c:formatCode>General</c:formatCode>
                <c:ptCount val="2"/>
                <c:pt idx="0">
                  <c:v>1978</c:v>
                </c:pt>
                <c:pt idx="1">
                  <c:v>34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F796AD-F349-4691-AF5E-7A8C4F5F98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FB4F8C-CDE0-40F0-9E6B-5C99A5DE09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6D72E67-ECF9-426C-8FB8-3F8CD8C54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1F05F5F-C671-4AD6-896C-DDA1969417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BF0F128-E6B2-465F-AF72-C6F9C3005B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CE5110B-0AB9-4ACC-B657-881C7BCDC0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46CD95-5B2F-4F2C-8EDF-C9066D98BC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5C4DB45-5A7C-4CB7-B751-09837DFDD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15</c:v>
                </c:pt>
                <c:pt idx="1">
                  <c:v>10.521699999999999</c:v>
                </c:pt>
              </c:numCache>
            </c:numRef>
          </c:xVal>
          <c:yVal>
            <c:numRef>
              <c:f>Sheet1!$B$2:$B$3</c:f>
              <c:numCache>
                <c:formatCode>General</c:formatCode>
                <c:ptCount val="2"/>
                <c:pt idx="0">
                  <c:v>1.0229999999999999</c:v>
                </c:pt>
                <c:pt idx="1">
                  <c:v>0.80800000000000005</c:v>
                </c:pt>
              </c:numCache>
            </c:numRef>
          </c:yVal>
          <c:bubbleSize>
            <c:numRef>
              <c:f>Sheet1!$C$2:$C$3</c:f>
              <c:numCache>
                <c:formatCode>General</c:formatCode>
                <c:ptCount val="2"/>
                <c:pt idx="0">
                  <c:v>2512</c:v>
                </c:pt>
                <c:pt idx="1">
                  <c:v>242</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4D689B-F2CC-4ADD-B7D9-742960251F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17086E-19B4-41BD-858C-AA25C7578E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B8665FC-5D12-4006-889E-00EB309EFB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F1F2EF6-A09B-4C4C-83AD-AFE45AD59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1CF8F95-6DA3-4786-9C80-DE11D9B020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1466491-145F-4CEA-9134-7D3C998772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0FFE9CB-3900-4C99-8201-E432AC0B2D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15E20F4-B3F3-4FDF-A402-B01A16D1B8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323</c:v>
                </c:pt>
                <c:pt idx="1">
                  <c:v>9.3663000000000007</c:v>
                </c:pt>
              </c:numCache>
            </c:numRef>
          </c:xVal>
          <c:yVal>
            <c:numRef>
              <c:f>Sheet1!$B$2:$B$3</c:f>
              <c:numCache>
                <c:formatCode>General</c:formatCode>
                <c:ptCount val="2"/>
                <c:pt idx="0">
                  <c:v>1.018</c:v>
                </c:pt>
                <c:pt idx="1">
                  <c:v>0.88700000000000001</c:v>
                </c:pt>
              </c:numCache>
            </c:numRef>
          </c:yVal>
          <c:bubbleSize>
            <c:numRef>
              <c:f>Sheet1!$C$2:$C$3</c:f>
              <c:numCache>
                <c:formatCode>General</c:formatCode>
                <c:ptCount val="2"/>
                <c:pt idx="0">
                  <c:v>42865</c:v>
                </c:pt>
                <c:pt idx="1">
                  <c:v>5779</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AB9B0C4-302E-46E6-B744-8C6299F06A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39FFF8D-802C-43D7-806D-6DF933A963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DFA5759-26F8-489D-AB48-EEBF97D516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782295E-A2F0-4558-BC62-45FF95EA25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977D76C-75D3-46CE-A75B-A95C29D8F7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AFBB7FE-A024-4CE0-8F27-0674FBF26A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3782D76-0EBE-4DA0-8183-F8D80B199A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4E06980-1053-4306-AE80-1225E8914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6576</c:v>
                </c:pt>
                <c:pt idx="1">
                  <c:v>11.490399999999999</c:v>
                </c:pt>
                <c:pt idx="2">
                  <c:v>11.404400000000001</c:v>
                </c:pt>
                <c:pt idx="3">
                  <c:v>17.4818</c:v>
                </c:pt>
                <c:pt idx="4">
                  <c:v>5.8106999999999998</c:v>
                </c:pt>
                <c:pt idx="5">
                  <c:v>11.525499999999999</c:v>
                </c:pt>
                <c:pt idx="6">
                  <c:v>9.1667000000000005</c:v>
                </c:pt>
                <c:pt idx="7">
                  <c:v>10.4292</c:v>
                </c:pt>
              </c:numCache>
            </c:numRef>
          </c:xVal>
          <c:yVal>
            <c:numRef>
              <c:f>Sheet1!$B$2:$B$9</c:f>
              <c:numCache>
                <c:formatCode>General</c:formatCode>
                <c:ptCount val="8"/>
                <c:pt idx="0">
                  <c:v>1.2689999999999999</c:v>
                </c:pt>
                <c:pt idx="1">
                  <c:v>1.131</c:v>
                </c:pt>
                <c:pt idx="2">
                  <c:v>1.0940000000000001</c:v>
                </c:pt>
                <c:pt idx="3">
                  <c:v>1.7410000000000001</c:v>
                </c:pt>
                <c:pt idx="4">
                  <c:v>0.57599999999999996</c:v>
                </c:pt>
                <c:pt idx="5">
                  <c:v>1.1419999999999999</c:v>
                </c:pt>
                <c:pt idx="6">
                  <c:v>0.90500000000000003</c:v>
                </c:pt>
                <c:pt idx="7">
                  <c:v>0.97699999999999998</c:v>
                </c:pt>
              </c:numCache>
            </c:numRef>
          </c:yVal>
          <c:bubbleSize>
            <c:numRef>
              <c:f>Sheet1!$C$2:$C$9</c:f>
              <c:numCache>
                <c:formatCode>General</c:formatCode>
                <c:ptCount val="8"/>
                <c:pt idx="0">
                  <c:v>14860</c:v>
                </c:pt>
                <c:pt idx="1">
                  <c:v>13214</c:v>
                </c:pt>
                <c:pt idx="2">
                  <c:v>10800</c:v>
                </c:pt>
                <c:pt idx="3">
                  <c:v>9615</c:v>
                </c:pt>
                <c:pt idx="4">
                  <c:v>8164</c:v>
                </c:pt>
                <c:pt idx="5">
                  <c:v>5878</c:v>
                </c:pt>
                <c:pt idx="6">
                  <c:v>5555</c:v>
                </c:pt>
                <c:pt idx="7">
                  <c:v>2284</c:v>
                </c:pt>
              </c:numCache>
            </c:numRef>
          </c:bubbleSize>
          <c:bubble3D val="0"/>
          <c:extLst>
            <c:ext xmlns:c15="http://schemas.microsoft.com/office/drawing/2012/chart" uri="{02D57815-91ED-43cb-92C2-25804820EDAC}">
              <c15:datalabelsRange>
                <c15:f>Sheet1!$E$2:$E$10</c15:f>
                <c15:dlblRangeCache>
                  <c:ptCount val="9"/>
                  <c:pt idx="0">
                    <c:v>Patriarche</c:v>
                  </c:pt>
                  <c:pt idx="1">
                    <c:v>Bottega</c:v>
                  </c:pt>
                  <c:pt idx="2">
                    <c:v>Bouvet-Ladubay</c:v>
                  </c:pt>
                  <c:pt idx="3">
                    <c:v>Mure</c:v>
                  </c:pt>
                  <c:pt idx="4">
                    <c:v>Kriter</c:v>
                  </c:pt>
                  <c:pt idx="5">
                    <c:v>Chateau Moncontour</c:v>
                  </c:pt>
                  <c:pt idx="6">
                    <c:v>Savian</c:v>
                  </c:pt>
                  <c:pt idx="7">
                    <c:v>Contarin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7A56F1-8174-4C66-90F4-65C94738FC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554B6B-0778-46A2-A55A-26D0691068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894665C-BE32-4583-9834-97B9C7D0E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BF5765A-942F-46E0-BA39-B244A8C1E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FDF62AE-BAE6-489A-B537-60FFE6C419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21E844B-0016-44B4-BE52-146C73B761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14B89B-DCB2-40D6-9481-70FEC7C7B8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6FBA79-D1C4-495D-B3ED-D954F79FF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147</c:v>
                </c:pt>
                <c:pt idx="1">
                  <c:v>10.1408</c:v>
                </c:pt>
              </c:numCache>
            </c:numRef>
          </c:xVal>
          <c:yVal>
            <c:numRef>
              <c:f>Sheet1!$B$2:$B$3</c:f>
              <c:numCache>
                <c:formatCode>General</c:formatCode>
                <c:ptCount val="2"/>
                <c:pt idx="0">
                  <c:v>1.028</c:v>
                </c:pt>
                <c:pt idx="1">
                  <c:v>0.84599999999999997</c:v>
                </c:pt>
              </c:numCache>
            </c:numRef>
          </c:yVal>
          <c:bubbleSize>
            <c:numRef>
              <c:f>Sheet1!$C$2:$C$3</c:f>
              <c:numCache>
                <c:formatCode>General</c:formatCode>
                <c:ptCount val="2"/>
                <c:pt idx="0">
                  <c:v>4845</c:v>
                </c:pt>
                <c:pt idx="1">
                  <c:v>720</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8F0B76-7A6D-45F5-B9CB-DF7A303DE5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30DB38-1458-4652-AC9B-435B8554FF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EDF654E-C071-453F-9362-860890FA13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57DD838-2DCD-42B3-84E4-A15CA25765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C6B72A1-D55B-4FDD-AD6D-A73B735D58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7125F9D-57E0-4C8B-83ED-3C30EF1BA9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C837A06-B968-4F93-B136-42388A501B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D96B47-0BAA-4C83-8CDF-9EDB6C38AE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875</c:v>
                </c:pt>
                <c:pt idx="1">
                  <c:v>10.392200000000001</c:v>
                </c:pt>
              </c:numCache>
            </c:numRef>
          </c:xVal>
          <c:yVal>
            <c:numRef>
              <c:f>Sheet1!$B$2:$B$3</c:f>
              <c:numCache>
                <c:formatCode>General</c:formatCode>
                <c:ptCount val="2"/>
                <c:pt idx="0">
                  <c:v>1.046</c:v>
                </c:pt>
                <c:pt idx="1">
                  <c:v>0.83699999999999997</c:v>
                </c:pt>
              </c:numCache>
            </c:numRef>
          </c:yVal>
          <c:bubbleSize>
            <c:numRef>
              <c:f>Sheet1!$C$2:$C$3</c:f>
              <c:numCache>
                <c:formatCode>General</c:formatCode>
                <c:ptCount val="2"/>
                <c:pt idx="0">
                  <c:v>2327</c:v>
                </c:pt>
                <c:pt idx="1">
                  <c:v>530</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7E9CE6-A268-4299-ADC3-F38029BCAD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BA6032-82AB-4EF7-A907-A740EAF26B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05383E1-C49D-43BA-992D-6D623EDFD2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4A437F7-D1E1-49E5-A071-B9A00AC405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83ACFB0-3730-4C7C-868E-7AA535AAB4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00F830A-80C7-45BD-A286-FE636FDBD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F4D23E8-31CA-473A-904C-223E007D52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A71D64B-5A64-486A-A46A-B28A076053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453</c:v>
                </c:pt>
                <c:pt idx="1">
                  <c:v>10.7027</c:v>
                </c:pt>
              </c:numCache>
            </c:numRef>
          </c:xVal>
          <c:yVal>
            <c:numRef>
              <c:f>Sheet1!$B$2:$B$3</c:f>
              <c:numCache>
                <c:formatCode>General</c:formatCode>
                <c:ptCount val="2"/>
                <c:pt idx="0">
                  <c:v>0.9</c:v>
                </c:pt>
                <c:pt idx="1">
                  <c:v>0.81599999999999995</c:v>
                </c:pt>
              </c:numCache>
            </c:numRef>
          </c:yVal>
          <c:bubbleSize>
            <c:numRef>
              <c:f>Sheet1!$C$2:$C$3</c:f>
              <c:numCache>
                <c:formatCode>General</c:formatCode>
                <c:ptCount val="2"/>
                <c:pt idx="0">
                  <c:v>2200</c:v>
                </c:pt>
                <c:pt idx="1">
                  <c:v>396</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00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3046FE-9F9C-4C71-BA34-9C40AC0C0B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252B19-C0D7-44E6-941D-4A3A5DA336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283F8F4-5BD1-4E53-9E8E-3FA1433CF6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38A5A8C-1B5F-44AA-B68D-B086782F45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F9B7D70-7E82-42FD-8888-1FDB2C3DB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52269BB-DE32-4B25-8BD0-0AE7541BE0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44D6995-8AB8-417C-992A-118D1A01CC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3C9360E-B00C-41B0-9D5B-FA8EE5ED9F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212400000000001</c:v>
                </c:pt>
                <c:pt idx="1">
                  <c:v>9.5396999999999998</c:v>
                </c:pt>
              </c:numCache>
            </c:numRef>
          </c:xVal>
          <c:yVal>
            <c:numRef>
              <c:f>Sheet1!$B$2:$B$3</c:f>
              <c:numCache>
                <c:formatCode>General</c:formatCode>
                <c:ptCount val="2"/>
                <c:pt idx="0">
                  <c:v>1.097</c:v>
                </c:pt>
                <c:pt idx="1">
                  <c:v>0.84199999999999997</c:v>
                </c:pt>
              </c:numCache>
            </c:numRef>
          </c:yVal>
          <c:bubbleSize>
            <c:numRef>
              <c:f>Sheet1!$C$2:$C$3</c:f>
              <c:numCache>
                <c:formatCode>General</c:formatCode>
                <c:ptCount val="2"/>
                <c:pt idx="0">
                  <c:v>1267</c:v>
                </c:pt>
                <c:pt idx="1">
                  <c:v>60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983462-B79A-401D-875B-922BD010E1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31CF05-A036-4466-93B0-3156B453A4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CF2B721-D203-45C2-8054-018C5E0681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47F5EB6-3EEB-4FCE-A567-0FA127099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F6405E3-5FF8-4F8A-851B-15AF587B1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4E05039-64CA-400B-B705-44155A317D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068196F-60B0-4419-8688-61A84CFE96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36F806F-DB7D-4202-97B2-B5CB281FE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51099999999999</c:v>
                </c:pt>
                <c:pt idx="1">
                  <c:v>9.6081000000000003</c:v>
                </c:pt>
              </c:numCache>
            </c:numRef>
          </c:xVal>
          <c:yVal>
            <c:numRef>
              <c:f>Sheet1!$B$2:$B$3</c:f>
              <c:numCache>
                <c:formatCode>General</c:formatCode>
                <c:ptCount val="2"/>
                <c:pt idx="0">
                  <c:v>1.014</c:v>
                </c:pt>
                <c:pt idx="1">
                  <c:v>0.78600000000000003</c:v>
                </c:pt>
              </c:numCache>
            </c:numRef>
          </c:yVal>
          <c:bubbleSize>
            <c:numRef>
              <c:f>Sheet1!$C$2:$C$3</c:f>
              <c:numCache>
                <c:formatCode>General</c:formatCode>
                <c:ptCount val="2"/>
                <c:pt idx="0">
                  <c:v>14041</c:v>
                </c:pt>
                <c:pt idx="1">
                  <c:v>71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66A723-80FE-443D-B03F-D688F3264C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1DA2AE-1047-4CB0-90DA-2E51CEBCAD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B16057E-DA6C-4B9E-95DD-786E23CF4D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D0B62E8-CBC5-46FB-89F6-3BB11040EF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5B4F10C-8034-44FC-87E1-077F4F2BEB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8706A38-1F5F-40EC-9EB7-86B4909703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3BC2ED6-5C37-4BDB-BF4D-06A8BC9CAD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36B47C8-8521-46DE-8B78-7CCA9A6A46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694</c:v>
                </c:pt>
                <c:pt idx="1">
                  <c:v>10.2857</c:v>
                </c:pt>
              </c:numCache>
            </c:numRef>
          </c:xVal>
          <c:yVal>
            <c:numRef>
              <c:f>Sheet1!$B$2:$B$3</c:f>
              <c:numCache>
                <c:formatCode>General</c:formatCode>
                <c:ptCount val="2"/>
                <c:pt idx="0">
                  <c:v>1.0129999999999999</c:v>
                </c:pt>
                <c:pt idx="1">
                  <c:v>0.81699999999999995</c:v>
                </c:pt>
              </c:numCache>
            </c:numRef>
          </c:yVal>
          <c:bubbleSize>
            <c:numRef>
              <c:f>Sheet1!$C$2:$C$3</c:f>
              <c:numCache>
                <c:formatCode>General</c:formatCode>
                <c:ptCount val="2"/>
                <c:pt idx="0">
                  <c:v>10392</c:v>
                </c:pt>
                <c:pt idx="1">
                  <c:v>576</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81226A-17CB-467D-95A0-9D868E1121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8A42F8-6227-4990-BD4C-68367068F9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80AF869-A86C-4EF9-A2A5-C88693EC8D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B6AFB0C-6034-4BAA-B565-41660CDEC8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432A8B6-A6F3-43FD-B699-4319C45244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4DC84DC-DA5B-4BF0-9001-73A6A4E8C2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851008E-7174-4A16-A122-BEA360B3EA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5D9DF88-5E2B-4598-A13F-AE8CF88856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94</c:v>
                </c:pt>
                <c:pt idx="1">
                  <c:v>9.81</c:v>
                </c:pt>
              </c:numCache>
            </c:numRef>
          </c:xVal>
          <c:yVal>
            <c:numRef>
              <c:f>Sheet1!$B$2:$B$3</c:f>
              <c:numCache>
                <c:formatCode>General</c:formatCode>
                <c:ptCount val="2"/>
                <c:pt idx="0">
                  <c:v>0.98399999999999999</c:v>
                </c:pt>
                <c:pt idx="1">
                  <c:v>0.84399999999999997</c:v>
                </c:pt>
              </c:numCache>
            </c:numRef>
          </c:yVal>
          <c:bubbleSize>
            <c:numRef>
              <c:f>Sheet1!$C$2:$C$3</c:f>
              <c:numCache>
                <c:formatCode>General</c:formatCode>
                <c:ptCount val="2"/>
                <c:pt idx="0">
                  <c:v>13985</c:v>
                </c:pt>
                <c:pt idx="1">
                  <c:v>1962</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8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C1F79E-3058-4A77-98D9-9564E2E84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8E0276-A7C3-4527-BC0E-3A3E48AF28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90EC90B-ED5E-4D95-8E43-8C41692C07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0C69CF3-B2C0-4B90-9477-AD1EDE473D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ABC9419-8187-4452-9D51-A4F5421B18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00604C-86B6-466A-A6EC-D2830A421A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2C97CF0-C545-4DAC-ACF7-D3956857D0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247FB91-48F3-45AB-B7C3-37511F2D37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54</c:v>
                </c:pt>
                <c:pt idx="1">
                  <c:v>9.6069999999999993</c:v>
                </c:pt>
              </c:numCache>
            </c:numRef>
          </c:xVal>
          <c:yVal>
            <c:numRef>
              <c:f>Sheet1!$B$2:$B$3</c:f>
              <c:numCache>
                <c:formatCode>General</c:formatCode>
                <c:ptCount val="2"/>
                <c:pt idx="0">
                  <c:v>1.036</c:v>
                </c:pt>
                <c:pt idx="1">
                  <c:v>0.84399999999999997</c:v>
                </c:pt>
              </c:numCache>
            </c:numRef>
          </c:yVal>
          <c:bubbleSize>
            <c:numRef>
              <c:f>Sheet1!$C$2:$C$3</c:f>
              <c:numCache>
                <c:formatCode>General</c:formatCode>
                <c:ptCount val="2"/>
                <c:pt idx="0">
                  <c:v>10509</c:v>
                </c:pt>
                <c:pt idx="1">
                  <c:v>193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3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76E174-C5C9-466F-9B1F-C5086D6691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E16817-B0AC-4D2A-BF10-88277BFECE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D6AEA23-CAA4-44D5-8ADE-90A117DB37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DD42D52-A554-4C5D-818E-EFDDC50F24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F80ED0C-A52E-48FF-8C7C-E489833B63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7741DEA-3033-4901-B012-3E86F6569C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9BA40DA-22EE-4A1A-B95E-B8488BBBBD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F56B9EE-28D3-4D3B-8B7C-748995251C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89099999999999</c:v>
                </c:pt>
                <c:pt idx="1">
                  <c:v>9.4672999999999998</c:v>
                </c:pt>
              </c:numCache>
            </c:numRef>
          </c:xVal>
          <c:yVal>
            <c:numRef>
              <c:f>Sheet1!$B$2:$B$3</c:f>
              <c:numCache>
                <c:formatCode>General</c:formatCode>
                <c:ptCount val="2"/>
                <c:pt idx="0">
                  <c:v>1.0269999999999999</c:v>
                </c:pt>
                <c:pt idx="1">
                  <c:v>0.90300000000000002</c:v>
                </c:pt>
              </c:numCache>
            </c:numRef>
          </c:yVal>
          <c:bubbleSize>
            <c:numRef>
              <c:f>Sheet1!$C$2:$C$3</c:f>
              <c:numCache>
                <c:formatCode>General</c:formatCode>
                <c:ptCount val="2"/>
                <c:pt idx="0">
                  <c:v>10998</c:v>
                </c:pt>
                <c:pt idx="1">
                  <c:v>4194</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62BAAF-EEAA-4B98-A819-26DCBC0D4F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1B69AA-C4AC-47B4-A86C-21E103DF9A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FFA709-1B99-439E-8EA0-DB5D7E1A66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F52FD6-DE4C-4EDB-87E3-F1A3E0803E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6B1F6D-A58A-403C-BF5F-2240B4B1AA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FEB205-33FF-4903-95B9-178D8B16BA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EC9AB1A-6B56-4BD8-BFD3-F4BBC387A8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8A1BB8-D1FE-450E-9D91-10592C008F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6292</c:v>
                </c:pt>
                <c:pt idx="1">
                  <c:v>4.4177999999999997</c:v>
                </c:pt>
                <c:pt idx="2">
                  <c:v>24.2057</c:v>
                </c:pt>
                <c:pt idx="3">
                  <c:v>49.430599999999998</c:v>
                </c:pt>
                <c:pt idx="4">
                  <c:v>31.427199999999999</c:v>
                </c:pt>
                <c:pt idx="5">
                  <c:v>26.736799999999999</c:v>
                </c:pt>
                <c:pt idx="6">
                  <c:v>5.8342000000000001</c:v>
                </c:pt>
                <c:pt idx="7">
                  <c:v>7.1054000000000004</c:v>
                </c:pt>
              </c:numCache>
            </c:numRef>
          </c:xVal>
          <c:yVal>
            <c:numRef>
              <c:f>Sheet1!$B$2:$B$9</c:f>
              <c:numCache>
                <c:formatCode>General</c:formatCode>
                <c:ptCount val="8"/>
                <c:pt idx="0">
                  <c:v>0.497</c:v>
                </c:pt>
                <c:pt idx="1">
                  <c:v>0.67100000000000004</c:v>
                </c:pt>
                <c:pt idx="2">
                  <c:v>1.903</c:v>
                </c:pt>
                <c:pt idx="3">
                  <c:v>7.4939999999999998</c:v>
                </c:pt>
                <c:pt idx="4">
                  <c:v>4.7279999999999998</c:v>
                </c:pt>
                <c:pt idx="5">
                  <c:v>4.0090000000000003</c:v>
                </c:pt>
                <c:pt idx="6">
                  <c:v>0.77700000000000002</c:v>
                </c:pt>
                <c:pt idx="7">
                  <c:v>0.78900000000000003</c:v>
                </c:pt>
              </c:numCache>
            </c:numRef>
          </c:yVal>
          <c:bubbleSize>
            <c:numRef>
              <c:f>Sheet1!$C$2:$C$9</c:f>
              <c:numCache>
                <c:formatCode>General</c:formatCode>
                <c:ptCount val="8"/>
                <c:pt idx="0">
                  <c:v>147470793</c:v>
                </c:pt>
                <c:pt idx="1">
                  <c:v>135378958</c:v>
                </c:pt>
                <c:pt idx="2">
                  <c:v>77348654</c:v>
                </c:pt>
                <c:pt idx="3">
                  <c:v>69626376</c:v>
                </c:pt>
                <c:pt idx="4">
                  <c:v>41308441</c:v>
                </c:pt>
                <c:pt idx="5">
                  <c:v>38917245</c:v>
                </c:pt>
                <c:pt idx="6">
                  <c:v>35427059</c:v>
                </c:pt>
                <c:pt idx="7">
                  <c:v>32603771</c:v>
                </c:pt>
              </c:numCache>
            </c:numRef>
          </c:bubbleSize>
          <c:bubble3D val="0"/>
          <c:extLst>
            <c:ext xmlns:c15="http://schemas.microsoft.com/office/drawing/2012/chart" uri="{02D57815-91ED-43cb-92C2-25804820EDAC}">
              <c15:datalabelsRange>
                <c15:f>Sheet1!$E$2:$E$10</c15:f>
                <c15:dlblRangeCache>
                  <c:ptCount val="9"/>
                  <c:pt idx="0">
                    <c:v>Cfgv</c:v>
                  </c:pt>
                  <c:pt idx="1">
                    <c:v>Mdd</c:v>
                  </c:pt>
                  <c:pt idx="2">
                    <c:v>Vranken Pommery</c:v>
                  </c:pt>
                  <c:pt idx="3">
                    <c:v>Mhcs</c:v>
                  </c:pt>
                  <c:pt idx="4">
                    <c:v>Pernod Ricard</c:v>
                  </c:pt>
                  <c:pt idx="5">
                    <c:v>C&amp;C Sas France</c:v>
                  </c:pt>
                  <c:pt idx="6">
                    <c:v>Freixenet</c:v>
                  </c:pt>
                  <c:pt idx="7">
                    <c:v>Wolfber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6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C118C0F-40E3-4EF9-8761-6AA480C654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A13919B-86B6-40A3-9883-23A57811BD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20AC52CF-B374-45EA-985B-BEB6A5DF7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52F772A-8AD0-4AD7-AC5E-C93EF106E0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F7C3900-DB1E-44DA-A29B-1B5CAB2F5C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51CC472-452B-47F4-9A54-C63F83CF63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EF9B5C8-0C77-4179-A17D-B4B2993E77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5B0E8DC-84E4-4B08-BB59-286DAE6BA8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628900000000002</c:v>
                </c:pt>
                <c:pt idx="1">
                  <c:v>11.506600000000001</c:v>
                </c:pt>
              </c:numCache>
            </c:numRef>
          </c:xVal>
          <c:yVal>
            <c:numRef>
              <c:f>Sheet1!$B$2:$B$3</c:f>
              <c:numCache>
                <c:formatCode>General</c:formatCode>
                <c:ptCount val="2"/>
                <c:pt idx="0">
                  <c:v>1.8049999999999999</c:v>
                </c:pt>
                <c:pt idx="1">
                  <c:v>0.71299999999999997</c:v>
                </c:pt>
              </c:numCache>
            </c:numRef>
          </c:yVal>
          <c:bubbleSize>
            <c:numRef>
              <c:f>Sheet1!$C$2:$C$3</c:f>
              <c:numCache>
                <c:formatCode>General</c:formatCode>
                <c:ptCount val="2"/>
                <c:pt idx="0">
                  <c:v>9422</c:v>
                </c:pt>
                <c:pt idx="1">
                  <c:v>7859</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DD9217-E8D9-4D6E-A2E0-A6C9597F79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F7FBAC-2A58-421B-B46F-32C98C6EBD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D91515-A8E0-43C7-AF22-A6F4ACCA68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842CD1-43BE-4C6A-9C77-FFB82C49DD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82829F-B6AC-490D-8020-433AAA1885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42D845-9C70-45A8-B3AA-DB469598AB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A1076B-0D2A-41B1-9A74-09A605FEE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85EB5B-719C-4C6F-A4DE-268CE90B21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92600000000002</c:v>
                </c:pt>
                <c:pt idx="1">
                  <c:v>55.808999999999997</c:v>
                </c:pt>
                <c:pt idx="2">
                  <c:v>23.577300000000001</c:v>
                </c:pt>
                <c:pt idx="3">
                  <c:v>32.814900000000002</c:v>
                </c:pt>
                <c:pt idx="4">
                  <c:v>47.6738</c:v>
                </c:pt>
                <c:pt idx="5">
                  <c:v>53.084499999999998</c:v>
                </c:pt>
                <c:pt idx="6">
                  <c:v>31.571200000000001</c:v>
                </c:pt>
                <c:pt idx="7">
                  <c:v>40.583799999999997</c:v>
                </c:pt>
              </c:numCache>
            </c:numRef>
          </c:xVal>
          <c:yVal>
            <c:numRef>
              <c:f>Sheet1!$B$2:$B$9</c:f>
              <c:numCache>
                <c:formatCode>General</c:formatCode>
                <c:ptCount val="8"/>
                <c:pt idx="0">
                  <c:v>1.9419999999999999</c:v>
                </c:pt>
                <c:pt idx="1">
                  <c:v>1.5389999999999999</c:v>
                </c:pt>
                <c:pt idx="2">
                  <c:v>0.66400000000000003</c:v>
                </c:pt>
                <c:pt idx="3">
                  <c:v>0.96099999999999997</c:v>
                </c:pt>
                <c:pt idx="4">
                  <c:v>1.31</c:v>
                </c:pt>
                <c:pt idx="5">
                  <c:v>1.333</c:v>
                </c:pt>
                <c:pt idx="6">
                  <c:v>0.88600000000000001</c:v>
                </c:pt>
                <c:pt idx="7">
                  <c:v>1.2030000000000001</c:v>
                </c:pt>
              </c:numCache>
            </c:numRef>
          </c:yVal>
          <c:bubbleSize>
            <c:numRef>
              <c:f>Sheet1!$C$2:$C$9</c:f>
              <c:numCache>
                <c:formatCode>General</c:formatCode>
                <c:ptCount val="8"/>
                <c:pt idx="0">
                  <c:v>19282258</c:v>
                </c:pt>
                <c:pt idx="1">
                  <c:v>7038688</c:v>
                </c:pt>
                <c:pt idx="2">
                  <c:v>5682202</c:v>
                </c:pt>
                <c:pt idx="3">
                  <c:v>4507482</c:v>
                </c:pt>
                <c:pt idx="4">
                  <c:v>3447720</c:v>
                </c:pt>
                <c:pt idx="5">
                  <c:v>3314753</c:v>
                </c:pt>
                <c:pt idx="6">
                  <c:v>3234970</c:v>
                </c:pt>
                <c:pt idx="7">
                  <c:v>2362992</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7753CF-0A34-4731-BD65-89629B6D23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EA23F7-2618-4066-8F1E-B041F42010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88E793-0420-48B3-8E7A-03709A8952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141E90-3B0B-49B0-B6FB-658D0EBB51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19BD67-1231-4098-835B-910FD4288C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594B58-761F-41F3-9DC6-13851718E3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C5932D-FC4F-4AE8-85B0-6107A1F69E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3940F4-4DB0-460D-9656-C6BE0C077F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5476000000000001</c:v>
                </c:pt>
                <c:pt idx="1">
                  <c:v>4.4177999999999997</c:v>
                </c:pt>
                <c:pt idx="2">
                  <c:v>23.8249</c:v>
                </c:pt>
                <c:pt idx="3">
                  <c:v>44.508600000000001</c:v>
                </c:pt>
                <c:pt idx="4">
                  <c:v>31.101600000000001</c:v>
                </c:pt>
                <c:pt idx="5">
                  <c:v>26.586600000000001</c:v>
                </c:pt>
                <c:pt idx="6">
                  <c:v>5.8342000000000001</c:v>
                </c:pt>
                <c:pt idx="7">
                  <c:v>7.1054000000000004</c:v>
                </c:pt>
              </c:numCache>
            </c:numRef>
          </c:xVal>
          <c:yVal>
            <c:numRef>
              <c:f>Sheet1!$B$2:$B$9</c:f>
              <c:numCache>
                <c:formatCode>General</c:formatCode>
                <c:ptCount val="8"/>
                <c:pt idx="0">
                  <c:v>0.51500000000000001</c:v>
                </c:pt>
                <c:pt idx="1">
                  <c:v>0.70499999999999996</c:v>
                </c:pt>
                <c:pt idx="2">
                  <c:v>1.923</c:v>
                </c:pt>
                <c:pt idx="3">
                  <c:v>7.0439999999999996</c:v>
                </c:pt>
                <c:pt idx="4">
                  <c:v>4.9130000000000003</c:v>
                </c:pt>
                <c:pt idx="5">
                  <c:v>4.1760000000000002</c:v>
                </c:pt>
                <c:pt idx="6">
                  <c:v>0.81599999999999995</c:v>
                </c:pt>
                <c:pt idx="7">
                  <c:v>0.82899999999999996</c:v>
                </c:pt>
              </c:numCache>
            </c:numRef>
          </c:yVal>
          <c:bubbleSize>
            <c:numRef>
              <c:f>Sheet1!$C$2:$C$9</c:f>
              <c:numCache>
                <c:formatCode>General</c:formatCode>
                <c:ptCount val="8"/>
                <c:pt idx="0">
                  <c:v>145204678</c:v>
                </c:pt>
                <c:pt idx="1">
                  <c:v>135378958</c:v>
                </c:pt>
                <c:pt idx="2">
                  <c:v>72856877</c:v>
                </c:pt>
                <c:pt idx="3">
                  <c:v>50422962</c:v>
                </c:pt>
                <c:pt idx="4">
                  <c:v>40350066</c:v>
                </c:pt>
                <c:pt idx="5">
                  <c:v>37152564</c:v>
                </c:pt>
                <c:pt idx="6">
                  <c:v>35427059</c:v>
                </c:pt>
                <c:pt idx="7">
                  <c:v>32603771</c:v>
                </c:pt>
              </c:numCache>
            </c:numRef>
          </c:bubbleSize>
          <c:bubble3D val="0"/>
          <c:extLst>
            <c:ext xmlns:c15="http://schemas.microsoft.com/office/drawing/2012/chart" uri="{02D57815-91ED-43cb-92C2-25804820EDAC}">
              <c15:datalabelsRange>
                <c15:f>Sheet1!$E$2:$E$10</c15:f>
                <c15:dlblRangeCache>
                  <c:ptCount val="9"/>
                  <c:pt idx="0">
                    <c:v>Cfgv</c:v>
                  </c:pt>
                  <c:pt idx="1">
                    <c:v>Mdd</c:v>
                  </c:pt>
                  <c:pt idx="2">
                    <c:v>Vranken Pommery</c:v>
                  </c:pt>
                  <c:pt idx="3">
                    <c:v>Mhcs</c:v>
                  </c:pt>
                  <c:pt idx="4">
                    <c:v>Pernod Ricard</c:v>
                  </c:pt>
                  <c:pt idx="5">
                    <c:v>C&amp;C Sas France</c:v>
                  </c:pt>
                  <c:pt idx="6">
                    <c:v>Freixenet</c:v>
                  </c:pt>
                  <c:pt idx="7">
                    <c:v>Wolfber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243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CAF763-16DE-49FA-BA64-04A406974E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9216DC-E521-47D2-8697-3B8C6A302C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08C7E3-6553-4F74-A7BF-6D8C1FEDEF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09EE64-F7EF-4527-B238-984311667D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72319A-F7D2-4B9D-BAF6-64D7EF7C7B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A68201-DCBF-432D-AB01-38CD3A2842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3806373-F477-48D8-BEE6-D1FE975A52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4B6EF4-6085-4835-BB92-96807B8CC0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314300000000003</c:v>
                </c:pt>
                <c:pt idx="1">
                  <c:v>53.895200000000003</c:v>
                </c:pt>
                <c:pt idx="2">
                  <c:v>23.5701</c:v>
                </c:pt>
                <c:pt idx="3">
                  <c:v>32.425899999999999</c:v>
                </c:pt>
                <c:pt idx="4">
                  <c:v>46.163699999999999</c:v>
                </c:pt>
                <c:pt idx="5">
                  <c:v>31.455500000000001</c:v>
                </c:pt>
                <c:pt idx="6">
                  <c:v>51.310200000000002</c:v>
                </c:pt>
                <c:pt idx="7">
                  <c:v>39.283900000000003</c:v>
                </c:pt>
              </c:numCache>
            </c:numRef>
          </c:xVal>
          <c:yVal>
            <c:numRef>
              <c:f>Sheet1!$B$2:$B$9</c:f>
              <c:numCache>
                <c:formatCode>General</c:formatCode>
                <c:ptCount val="8"/>
                <c:pt idx="0">
                  <c:v>1.958</c:v>
                </c:pt>
                <c:pt idx="1">
                  <c:v>1.5760000000000001</c:v>
                </c:pt>
                <c:pt idx="2">
                  <c:v>0.69399999999999995</c:v>
                </c:pt>
                <c:pt idx="3">
                  <c:v>0.98699999999999999</c:v>
                </c:pt>
                <c:pt idx="4">
                  <c:v>1.33</c:v>
                </c:pt>
                <c:pt idx="5">
                  <c:v>0.92</c:v>
                </c:pt>
                <c:pt idx="6">
                  <c:v>1.3540000000000001</c:v>
                </c:pt>
                <c:pt idx="7">
                  <c:v>1.2190000000000001</c:v>
                </c:pt>
              </c:numCache>
            </c:numRef>
          </c:yVal>
          <c:bubbleSize>
            <c:numRef>
              <c:f>Sheet1!$C$2:$C$9</c:f>
              <c:numCache>
                <c:formatCode>General</c:formatCode>
                <c:ptCount val="8"/>
                <c:pt idx="0">
                  <c:v>7393532</c:v>
                </c:pt>
                <c:pt idx="1">
                  <c:v>3103288</c:v>
                </c:pt>
                <c:pt idx="2">
                  <c:v>2507011</c:v>
                </c:pt>
                <c:pt idx="3">
                  <c:v>2078207</c:v>
                </c:pt>
                <c:pt idx="4">
                  <c:v>1572704</c:v>
                </c:pt>
                <c:pt idx="5">
                  <c:v>1556133</c:v>
                </c:pt>
                <c:pt idx="6">
                  <c:v>1443254</c:v>
                </c:pt>
                <c:pt idx="7">
                  <c:v>110297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45D23A-E0F6-4626-8798-7827BCB51C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045D1B-678C-42AC-920D-30EC99463F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F35C2A-2836-4DF4-BFD8-51AF1C7A4D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F2FF71-BAA2-425C-8364-47072D1459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E2351E-F102-493C-BE9C-CA598E5F5B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55BB54-972C-493E-B23B-483225DB8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437C04-21F8-46E3-88D2-12A89BE17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94FEA8-0AD0-4B9E-ADDC-E3A96F7CE7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690100000000001</c:v>
                </c:pt>
                <c:pt idx="1">
                  <c:v>23.5991</c:v>
                </c:pt>
                <c:pt idx="2">
                  <c:v>55.277700000000003</c:v>
                </c:pt>
                <c:pt idx="3">
                  <c:v>33.554200000000002</c:v>
                </c:pt>
                <c:pt idx="4">
                  <c:v>31.541399999999999</c:v>
                </c:pt>
                <c:pt idx="5">
                  <c:v>47.192599999999999</c:v>
                </c:pt>
                <c:pt idx="6">
                  <c:v>52.898600000000002</c:v>
                </c:pt>
                <c:pt idx="7">
                  <c:v>40.997399999999999</c:v>
                </c:pt>
              </c:numCache>
            </c:numRef>
          </c:xVal>
          <c:yVal>
            <c:numRef>
              <c:f>Sheet1!$B$2:$B$9</c:f>
              <c:numCache>
                <c:formatCode>General</c:formatCode>
                <c:ptCount val="8"/>
                <c:pt idx="0">
                  <c:v>1.9790000000000001</c:v>
                </c:pt>
                <c:pt idx="1">
                  <c:v>0.68100000000000005</c:v>
                </c:pt>
                <c:pt idx="2">
                  <c:v>1.54</c:v>
                </c:pt>
                <c:pt idx="3">
                  <c:v>0.99399999999999999</c:v>
                </c:pt>
                <c:pt idx="4">
                  <c:v>0.90900000000000003</c:v>
                </c:pt>
                <c:pt idx="5">
                  <c:v>1.329</c:v>
                </c:pt>
                <c:pt idx="6">
                  <c:v>1.3440000000000001</c:v>
                </c:pt>
                <c:pt idx="7">
                  <c:v>1.2490000000000001</c:v>
                </c:pt>
              </c:numCache>
            </c:numRef>
          </c:yVal>
          <c:bubbleSize>
            <c:numRef>
              <c:f>Sheet1!$C$2:$C$9</c:f>
              <c:numCache>
                <c:formatCode>General</c:formatCode>
                <c:ptCount val="8"/>
                <c:pt idx="0">
                  <c:v>3730439</c:v>
                </c:pt>
                <c:pt idx="1">
                  <c:v>1245017</c:v>
                </c:pt>
                <c:pt idx="2">
                  <c:v>1195712</c:v>
                </c:pt>
                <c:pt idx="3">
                  <c:v>925492</c:v>
                </c:pt>
                <c:pt idx="4">
                  <c:v>661770</c:v>
                </c:pt>
                <c:pt idx="5">
                  <c:v>609539</c:v>
                </c:pt>
                <c:pt idx="6">
                  <c:v>505869</c:v>
                </c:pt>
                <c:pt idx="7">
                  <c:v>480407</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Roederer</c:v>
                  </c:pt>
                  <c:pt idx="3">
                    <c:v>Vranken Pommery</c:v>
                  </c:pt>
                  <c:pt idx="4">
                    <c:v>Malard</c:v>
                  </c:pt>
                  <c:pt idx="5">
                    <c:v>Bollinger</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7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8FF931-4431-4DEB-ABEA-E25FF847C0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652A74-04C2-4DC8-BAFE-4E16C5EDD8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094603-569A-4316-9CD8-7097C96F35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6ECE2C-72FF-42AA-A26B-62A2C7F0B5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AAE36A-0E20-4A91-BF31-64A65A46C7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3768B1-127A-47B0-8317-C19E61D1E2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443A05-E028-40C0-80CE-EBA44DED71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D7282E-0322-4810-B0D5-830C18B4F3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93500000000003</c:v>
                </c:pt>
                <c:pt idx="1">
                  <c:v>58.051400000000001</c:v>
                </c:pt>
                <c:pt idx="2">
                  <c:v>23.420200000000001</c:v>
                </c:pt>
                <c:pt idx="3">
                  <c:v>54.731400000000001</c:v>
                </c:pt>
                <c:pt idx="4">
                  <c:v>32.419899999999998</c:v>
                </c:pt>
                <c:pt idx="5">
                  <c:v>50.2986</c:v>
                </c:pt>
                <c:pt idx="6">
                  <c:v>31.674299999999999</c:v>
                </c:pt>
                <c:pt idx="7">
                  <c:v>33.087600000000002</c:v>
                </c:pt>
              </c:numCache>
            </c:numRef>
          </c:xVal>
          <c:yVal>
            <c:numRef>
              <c:f>Sheet1!$B$2:$B$9</c:f>
              <c:numCache>
                <c:formatCode>General</c:formatCode>
                <c:ptCount val="8"/>
                <c:pt idx="0">
                  <c:v>1.8560000000000001</c:v>
                </c:pt>
                <c:pt idx="1">
                  <c:v>1.522</c:v>
                </c:pt>
                <c:pt idx="2">
                  <c:v>0.627</c:v>
                </c:pt>
                <c:pt idx="3">
                  <c:v>1.3169999999999999</c:v>
                </c:pt>
                <c:pt idx="4">
                  <c:v>0.93600000000000005</c:v>
                </c:pt>
                <c:pt idx="5">
                  <c:v>1.2929999999999999</c:v>
                </c:pt>
                <c:pt idx="6">
                  <c:v>0.84099999999999997</c:v>
                </c:pt>
                <c:pt idx="7">
                  <c:v>0.86799999999999999</c:v>
                </c:pt>
              </c:numCache>
            </c:numRef>
          </c:yVal>
          <c:bubbleSize>
            <c:numRef>
              <c:f>Sheet1!$C$2:$C$9</c:f>
              <c:numCache>
                <c:formatCode>General</c:formatCode>
                <c:ptCount val="8"/>
                <c:pt idx="0">
                  <c:v>2338049</c:v>
                </c:pt>
                <c:pt idx="1">
                  <c:v>873732</c:v>
                </c:pt>
                <c:pt idx="2">
                  <c:v>607941</c:v>
                </c:pt>
                <c:pt idx="3">
                  <c:v>520550</c:v>
                </c:pt>
                <c:pt idx="4">
                  <c:v>463702</c:v>
                </c:pt>
                <c:pt idx="5">
                  <c:v>444438</c:v>
                </c:pt>
                <c:pt idx="6">
                  <c:v>355481</c:v>
                </c:pt>
                <c:pt idx="7">
                  <c:v>28693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Laurent Perrier</c:v>
                  </c:pt>
                  <c:pt idx="4">
                    <c:v>Vranken Pommery</c:v>
                  </c:pt>
                  <c:pt idx="5">
                    <c:v>Bollinger</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56E8AC-1AA7-4514-8B05-3EE817B1E8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DE6F33-2BF6-4E6A-9B68-54F5C6DE8E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FED714-0D23-4F4D-9665-F0366F7CE5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0CD98A-1FAD-47A9-8B56-23C0A8094F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9D34A4-E823-4780-9DA4-E4CEF50A2D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E47E2B-A3FE-47BA-98A5-2BF93BAC40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2A60E5-FF8D-47BC-BD14-6775DD6A6A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6C1C09-B259-4891-8F85-A69385AC6A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226200000000006</c:v>
                </c:pt>
                <c:pt idx="1">
                  <c:v>60.1402</c:v>
                </c:pt>
                <c:pt idx="2">
                  <c:v>54.381100000000004</c:v>
                </c:pt>
                <c:pt idx="3">
                  <c:v>23.583600000000001</c:v>
                </c:pt>
                <c:pt idx="4">
                  <c:v>49.535800000000002</c:v>
                </c:pt>
                <c:pt idx="5">
                  <c:v>32.756</c:v>
                </c:pt>
                <c:pt idx="6">
                  <c:v>31.808399999999999</c:v>
                </c:pt>
                <c:pt idx="7">
                  <c:v>32.778799999999997</c:v>
                </c:pt>
              </c:numCache>
            </c:numRef>
          </c:xVal>
          <c:yVal>
            <c:numRef>
              <c:f>Sheet1!$B$2:$B$9</c:f>
              <c:numCache>
                <c:formatCode>General</c:formatCode>
                <c:ptCount val="8"/>
                <c:pt idx="0">
                  <c:v>1.7230000000000001</c:v>
                </c:pt>
                <c:pt idx="1">
                  <c:v>1.3779999999999999</c:v>
                </c:pt>
                <c:pt idx="2">
                  <c:v>1.147</c:v>
                </c:pt>
                <c:pt idx="3">
                  <c:v>0.55600000000000005</c:v>
                </c:pt>
                <c:pt idx="4">
                  <c:v>1.133</c:v>
                </c:pt>
                <c:pt idx="5">
                  <c:v>0.81200000000000006</c:v>
                </c:pt>
                <c:pt idx="6">
                  <c:v>0.745</c:v>
                </c:pt>
                <c:pt idx="7">
                  <c:v>0.751</c:v>
                </c:pt>
              </c:numCache>
            </c:numRef>
          </c:yVal>
          <c:bubbleSize>
            <c:numRef>
              <c:f>Sheet1!$C$2:$C$9</c:f>
              <c:numCache>
                <c:formatCode>General</c:formatCode>
                <c:ptCount val="8"/>
                <c:pt idx="0">
                  <c:v>2105129</c:v>
                </c:pt>
                <c:pt idx="1">
                  <c:v>659076</c:v>
                </c:pt>
                <c:pt idx="2">
                  <c:v>376426</c:v>
                </c:pt>
                <c:pt idx="3">
                  <c:v>341726</c:v>
                </c:pt>
                <c:pt idx="4">
                  <c:v>299345</c:v>
                </c:pt>
                <c:pt idx="5">
                  <c:v>279016</c:v>
                </c:pt>
                <c:pt idx="6">
                  <c:v>210031</c:v>
                </c:pt>
                <c:pt idx="7">
                  <c:v>19900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Laurent Perrier</c:v>
                  </c:pt>
                  <c:pt idx="3">
                    <c:v>Malard Nicolas</c:v>
                  </c:pt>
                  <c:pt idx="4">
                    <c:v>Bollinger</c:v>
                  </c:pt>
                  <c:pt idx="5">
                    <c:v>Vranken Pommery</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2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3112D6-1ADB-49E3-A420-D324EE2566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4BD894-E741-4EC7-9AC8-194C4B4863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B51D96-EC1D-47BC-B50A-DD91329DD1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0E7A4B-09D8-4731-B3F8-2B69A3293E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62D930-AAF2-4CA5-BACB-3E82927404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4771E5-08B1-4C3B-B291-33D0CD3AEA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DEB19AC-AF65-4327-AD01-AC74404F87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E61308-74F3-4FAF-BCA0-CBFD5ECF54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020300000000006</c:v>
                </c:pt>
                <c:pt idx="1">
                  <c:v>57.9754</c:v>
                </c:pt>
                <c:pt idx="2">
                  <c:v>23.845400000000001</c:v>
                </c:pt>
                <c:pt idx="3">
                  <c:v>33.848300000000002</c:v>
                </c:pt>
                <c:pt idx="4">
                  <c:v>31.915800000000001</c:v>
                </c:pt>
                <c:pt idx="5">
                  <c:v>52.681399999999996</c:v>
                </c:pt>
                <c:pt idx="6">
                  <c:v>56.263100000000001</c:v>
                </c:pt>
                <c:pt idx="7">
                  <c:v>33.282400000000003</c:v>
                </c:pt>
              </c:numCache>
            </c:numRef>
          </c:xVal>
          <c:yVal>
            <c:numRef>
              <c:f>Sheet1!$B$2:$B$9</c:f>
              <c:numCache>
                <c:formatCode>General</c:formatCode>
                <c:ptCount val="8"/>
                <c:pt idx="0">
                  <c:v>1.9430000000000001</c:v>
                </c:pt>
                <c:pt idx="1">
                  <c:v>1.472</c:v>
                </c:pt>
                <c:pt idx="2">
                  <c:v>0.63300000000000001</c:v>
                </c:pt>
                <c:pt idx="3">
                  <c:v>0.95</c:v>
                </c:pt>
                <c:pt idx="4">
                  <c:v>0.84699999999999998</c:v>
                </c:pt>
                <c:pt idx="5">
                  <c:v>1.3680000000000001</c:v>
                </c:pt>
                <c:pt idx="6">
                  <c:v>1.28</c:v>
                </c:pt>
                <c:pt idx="7">
                  <c:v>0.86199999999999999</c:v>
                </c:pt>
              </c:numCache>
            </c:numRef>
          </c:yVal>
          <c:bubbleSize>
            <c:numRef>
              <c:f>Sheet1!$C$2:$C$9</c:f>
              <c:numCache>
                <c:formatCode>General</c:formatCode>
                <c:ptCount val="8"/>
                <c:pt idx="0">
                  <c:v>1282674</c:v>
                </c:pt>
                <c:pt idx="1">
                  <c:v>337127</c:v>
                </c:pt>
                <c:pt idx="2">
                  <c:v>244415</c:v>
                </c:pt>
                <c:pt idx="3">
                  <c:v>207084</c:v>
                </c:pt>
                <c:pt idx="4">
                  <c:v>135355</c:v>
                </c:pt>
                <c:pt idx="5">
                  <c:v>131124</c:v>
                </c:pt>
                <c:pt idx="6">
                  <c:v>127436</c:v>
                </c:pt>
                <c:pt idx="7">
                  <c:v>107702</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Malard</c:v>
                  </c:pt>
                  <c:pt idx="5">
                    <c:v>Bollinger</c:v>
                  </c:pt>
                  <c:pt idx="6">
                    <c:v>Laurent Perrier</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3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98486D-C035-4467-84D9-BD7F3EE582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377F0D-6F7F-4C3E-B7EF-E8B947F4D2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40C375-FC2E-4C70-A9C0-D3469ED6A7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9AE375-4CBD-4E87-81AC-BF3FD3F5F9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D0E957-99CC-4206-984E-828FCA53BA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75D434-BCD1-490B-A718-AFE17F0722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03820D8-5A11-4BA6-8149-18E83AA63D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AA182A-95E6-4918-BBB4-658188F90A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956500000000005</c:v>
                </c:pt>
                <c:pt idx="1">
                  <c:v>55.317399999999999</c:v>
                </c:pt>
                <c:pt idx="2">
                  <c:v>23.517700000000001</c:v>
                </c:pt>
                <c:pt idx="3">
                  <c:v>32.700099999999999</c:v>
                </c:pt>
                <c:pt idx="4">
                  <c:v>52.257300000000001</c:v>
                </c:pt>
                <c:pt idx="5">
                  <c:v>47.410200000000003</c:v>
                </c:pt>
                <c:pt idx="6">
                  <c:v>31.525200000000002</c:v>
                </c:pt>
                <c:pt idx="7">
                  <c:v>40.2515</c:v>
                </c:pt>
              </c:numCache>
            </c:numRef>
          </c:xVal>
          <c:yVal>
            <c:numRef>
              <c:f>Sheet1!$B$2:$B$9</c:f>
              <c:numCache>
                <c:formatCode>General</c:formatCode>
                <c:ptCount val="8"/>
                <c:pt idx="0">
                  <c:v>1.895</c:v>
                </c:pt>
                <c:pt idx="1">
                  <c:v>1.5209999999999999</c:v>
                </c:pt>
                <c:pt idx="2">
                  <c:v>0.65400000000000003</c:v>
                </c:pt>
                <c:pt idx="3">
                  <c:v>0.94499999999999995</c:v>
                </c:pt>
                <c:pt idx="4">
                  <c:v>1.3049999999999999</c:v>
                </c:pt>
                <c:pt idx="5">
                  <c:v>1.2849999999999999</c:v>
                </c:pt>
                <c:pt idx="6">
                  <c:v>0.871</c:v>
                </c:pt>
                <c:pt idx="7">
                  <c:v>1.175</c:v>
                </c:pt>
              </c:numCache>
            </c:numRef>
          </c:yVal>
          <c:bubbleSize>
            <c:numRef>
              <c:f>Sheet1!$C$2:$C$9</c:f>
              <c:numCache>
                <c:formatCode>General</c:formatCode>
                <c:ptCount val="8"/>
                <c:pt idx="0">
                  <c:v>13357496</c:v>
                </c:pt>
                <c:pt idx="1">
                  <c:v>4898521</c:v>
                </c:pt>
                <c:pt idx="2">
                  <c:v>3777041</c:v>
                </c:pt>
                <c:pt idx="3">
                  <c:v>3042742</c:v>
                </c:pt>
                <c:pt idx="4">
                  <c:v>2432264</c:v>
                </c:pt>
                <c:pt idx="5">
                  <c:v>2388003</c:v>
                </c:pt>
                <c:pt idx="6">
                  <c:v>2351274</c:v>
                </c:pt>
                <c:pt idx="7">
                  <c:v>167953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95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4F2002-7155-4916-96DA-8CCDE9F3EF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D2FDF0-3220-4B70-BD42-AA3FECBB40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056447-B7AA-493D-B51B-DFCD27E56F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5E97DF-8832-4EA5-9F6F-3B21344CF9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1C9F24F-2E82-4ECA-9E86-605C8AD206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446FE5-5BB4-4933-91DF-3B82DF0AD0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AF8C35-E860-41EF-AE51-ABBBCBBFF0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879BF9-45CE-4CB4-9AAD-D3ACAE5C12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842799999999997</c:v>
                </c:pt>
                <c:pt idx="1">
                  <c:v>58.642800000000001</c:v>
                </c:pt>
                <c:pt idx="2">
                  <c:v>23.5246</c:v>
                </c:pt>
                <c:pt idx="3">
                  <c:v>32.865099999999998</c:v>
                </c:pt>
                <c:pt idx="4">
                  <c:v>54.3947</c:v>
                </c:pt>
                <c:pt idx="5">
                  <c:v>50.677700000000002</c:v>
                </c:pt>
                <c:pt idx="6">
                  <c:v>31.468499999999999</c:v>
                </c:pt>
                <c:pt idx="7">
                  <c:v>57.941000000000003</c:v>
                </c:pt>
              </c:numCache>
            </c:numRef>
          </c:xVal>
          <c:yVal>
            <c:numRef>
              <c:f>Sheet1!$B$2:$B$9</c:f>
              <c:numCache>
                <c:formatCode>General</c:formatCode>
                <c:ptCount val="8"/>
                <c:pt idx="0">
                  <c:v>1.887</c:v>
                </c:pt>
                <c:pt idx="1">
                  <c:v>1.4570000000000001</c:v>
                </c:pt>
                <c:pt idx="2">
                  <c:v>0.61399999999999999</c:v>
                </c:pt>
                <c:pt idx="3">
                  <c:v>0.89400000000000002</c:v>
                </c:pt>
                <c:pt idx="4">
                  <c:v>1.2789999999999999</c:v>
                </c:pt>
                <c:pt idx="5">
                  <c:v>1.288</c:v>
                </c:pt>
                <c:pt idx="6">
                  <c:v>0.82399999999999995</c:v>
                </c:pt>
                <c:pt idx="7">
                  <c:v>1.2969999999999999</c:v>
                </c:pt>
              </c:numCache>
            </c:numRef>
          </c:yVal>
          <c:bubbleSize>
            <c:numRef>
              <c:f>Sheet1!$C$2:$C$9</c:f>
              <c:numCache>
                <c:formatCode>General</c:formatCode>
                <c:ptCount val="8"/>
                <c:pt idx="0">
                  <c:v>2321247</c:v>
                </c:pt>
                <c:pt idx="1">
                  <c:v>726291</c:v>
                </c:pt>
                <c:pt idx="2">
                  <c:v>627165</c:v>
                </c:pt>
                <c:pt idx="3">
                  <c:v>457943</c:v>
                </c:pt>
                <c:pt idx="4">
                  <c:v>344699</c:v>
                </c:pt>
                <c:pt idx="5">
                  <c:v>289167</c:v>
                </c:pt>
                <c:pt idx="6">
                  <c:v>211311</c:v>
                </c:pt>
                <c:pt idx="7">
                  <c:v>18077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7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8F6473-6CC9-4138-8EC8-AC80839361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BE73EA-6C48-4593-BD4E-27962303D2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15A0E0-7F4B-4964-8133-2D7A5CFBA5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731D2B-5882-487B-A1F2-2D911D4626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A28EA1-C92F-4C7B-A3EB-218691D976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D8658E-4E9B-4AC6-80E1-F65BE1E4BB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0F4A173-81CF-4AB5-9D1B-7E13411AD1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664DD5-BB9D-41FD-9E5A-3AB677D881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195400000000006</c:v>
                </c:pt>
                <c:pt idx="1">
                  <c:v>55.173999999999999</c:v>
                </c:pt>
                <c:pt idx="2">
                  <c:v>24.571100000000001</c:v>
                </c:pt>
                <c:pt idx="3">
                  <c:v>32.592799999999997</c:v>
                </c:pt>
                <c:pt idx="4">
                  <c:v>47.9236</c:v>
                </c:pt>
                <c:pt idx="5">
                  <c:v>31.674600000000002</c:v>
                </c:pt>
                <c:pt idx="6">
                  <c:v>56.163400000000003</c:v>
                </c:pt>
                <c:pt idx="7">
                  <c:v>40.958199999999998</c:v>
                </c:pt>
              </c:numCache>
            </c:numRef>
          </c:xVal>
          <c:yVal>
            <c:numRef>
              <c:f>Sheet1!$B$2:$B$9</c:f>
              <c:numCache>
                <c:formatCode>General</c:formatCode>
                <c:ptCount val="8"/>
                <c:pt idx="0">
                  <c:v>2.0489999999999999</c:v>
                </c:pt>
                <c:pt idx="1">
                  <c:v>1.5309999999999999</c:v>
                </c:pt>
                <c:pt idx="2">
                  <c:v>0.70499999999999996</c:v>
                </c:pt>
                <c:pt idx="3">
                  <c:v>0.98499999999999999</c:v>
                </c:pt>
                <c:pt idx="4">
                  <c:v>1.3560000000000001</c:v>
                </c:pt>
                <c:pt idx="5">
                  <c:v>0.91300000000000003</c:v>
                </c:pt>
                <c:pt idx="6">
                  <c:v>1.377</c:v>
                </c:pt>
                <c:pt idx="7">
                  <c:v>1.252</c:v>
                </c:pt>
              </c:numCache>
            </c:numRef>
          </c:yVal>
          <c:bubbleSize>
            <c:numRef>
              <c:f>Sheet1!$C$2:$C$9</c:f>
              <c:numCache>
                <c:formatCode>General</c:formatCode>
                <c:ptCount val="8"/>
                <c:pt idx="0">
                  <c:v>1062933</c:v>
                </c:pt>
                <c:pt idx="1">
                  <c:v>426385</c:v>
                </c:pt>
                <c:pt idx="2">
                  <c:v>277285</c:v>
                </c:pt>
                <c:pt idx="3">
                  <c:v>254713</c:v>
                </c:pt>
                <c:pt idx="4">
                  <c:v>211918</c:v>
                </c:pt>
                <c:pt idx="5">
                  <c:v>176681</c:v>
                </c:pt>
                <c:pt idx="6">
                  <c:v>160908</c:v>
                </c:pt>
                <c:pt idx="7">
                  <c:v>12627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49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932860-DF71-4E7E-AE95-B2A921154E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20D433-5B18-4269-AA1B-F83B66C0F2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68C29D-8F29-4DEA-9F57-A960B2508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383FFC-AF86-4920-8420-CC8CFFDD5A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CDC53C-7444-4348-BA5A-2DB1ED1963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5D2BF0-C8D0-4ABA-B0B2-81642A4C93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48070F-A940-473E-9259-5DECD70D1B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AABEB3-4D02-4C13-BB67-D76620F937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62499999999997</c:v>
                </c:pt>
                <c:pt idx="1">
                  <c:v>23.236599999999999</c:v>
                </c:pt>
                <c:pt idx="2">
                  <c:v>52.527299999999997</c:v>
                </c:pt>
                <c:pt idx="3">
                  <c:v>32.034199999999998</c:v>
                </c:pt>
                <c:pt idx="4">
                  <c:v>55.900500000000001</c:v>
                </c:pt>
                <c:pt idx="5">
                  <c:v>70.223500000000001</c:v>
                </c:pt>
                <c:pt idx="6">
                  <c:v>34.026000000000003</c:v>
                </c:pt>
                <c:pt idx="7">
                  <c:v>40.881700000000002</c:v>
                </c:pt>
              </c:numCache>
            </c:numRef>
          </c:xVal>
          <c:yVal>
            <c:numRef>
              <c:f>Sheet1!$B$2:$B$9</c:f>
              <c:numCache>
                <c:formatCode>General</c:formatCode>
                <c:ptCount val="8"/>
                <c:pt idx="0">
                  <c:v>1.6930000000000001</c:v>
                </c:pt>
                <c:pt idx="1">
                  <c:v>0.57899999999999996</c:v>
                </c:pt>
                <c:pt idx="2">
                  <c:v>1.266</c:v>
                </c:pt>
                <c:pt idx="3">
                  <c:v>0.79800000000000004</c:v>
                </c:pt>
                <c:pt idx="4">
                  <c:v>1.1919999999999999</c:v>
                </c:pt>
                <c:pt idx="5">
                  <c:v>1.6040000000000001</c:v>
                </c:pt>
                <c:pt idx="6">
                  <c:v>0.84699999999999998</c:v>
                </c:pt>
                <c:pt idx="7">
                  <c:v>1.012</c:v>
                </c:pt>
              </c:numCache>
            </c:numRef>
          </c:yVal>
          <c:bubbleSize>
            <c:numRef>
              <c:f>Sheet1!$C$2:$C$9</c:f>
              <c:numCache>
                <c:formatCode>General</c:formatCode>
                <c:ptCount val="8"/>
                <c:pt idx="0">
                  <c:v>300199</c:v>
                </c:pt>
                <c:pt idx="1">
                  <c:v>152037</c:v>
                </c:pt>
                <c:pt idx="2">
                  <c:v>101798</c:v>
                </c:pt>
                <c:pt idx="3">
                  <c:v>71244</c:v>
                </c:pt>
                <c:pt idx="4">
                  <c:v>66298</c:v>
                </c:pt>
                <c:pt idx="5">
                  <c:v>50280</c:v>
                </c:pt>
                <c:pt idx="6">
                  <c:v>49678</c:v>
                </c:pt>
                <c:pt idx="7">
                  <c:v>4942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Bollinger</c:v>
                  </c:pt>
                  <c:pt idx="6">
                    <c:v>Canard Duchên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A9F04B-D634-4D10-B990-412B1D71EC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B95C0E-59C6-4CF0-8293-586962450C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A49251-EDEC-4770-8F1B-F1292EE842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50882C-2707-42C1-A983-35B00A5C2C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1F5322-49D3-4FAA-9BB5-EF68F120C8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0847DB-5563-48D2-9F4E-082D841803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6483B2-B9B4-42A5-A0C0-4BC0A38599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E6375F-DDD2-4BE7-AE94-3BADB1215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899100000000004</c:v>
                </c:pt>
                <c:pt idx="1">
                  <c:v>54.712299999999999</c:v>
                </c:pt>
                <c:pt idx="2">
                  <c:v>23.0381</c:v>
                </c:pt>
                <c:pt idx="3">
                  <c:v>32.217399999999998</c:v>
                </c:pt>
                <c:pt idx="4">
                  <c:v>46.205500000000001</c:v>
                </c:pt>
                <c:pt idx="5">
                  <c:v>31.597000000000001</c:v>
                </c:pt>
                <c:pt idx="6">
                  <c:v>42.406300000000002</c:v>
                </c:pt>
                <c:pt idx="7">
                  <c:v>30.6097</c:v>
                </c:pt>
              </c:numCache>
            </c:numRef>
          </c:xVal>
          <c:yVal>
            <c:numRef>
              <c:f>Sheet1!$B$2:$B$9</c:f>
              <c:numCache>
                <c:formatCode>General</c:formatCode>
                <c:ptCount val="8"/>
                <c:pt idx="0">
                  <c:v>2.0630000000000002</c:v>
                </c:pt>
                <c:pt idx="1">
                  <c:v>1.5860000000000001</c:v>
                </c:pt>
                <c:pt idx="2">
                  <c:v>0.68500000000000005</c:v>
                </c:pt>
                <c:pt idx="3">
                  <c:v>0.98099999999999998</c:v>
                </c:pt>
                <c:pt idx="4">
                  <c:v>1.349</c:v>
                </c:pt>
                <c:pt idx="5">
                  <c:v>0.93600000000000005</c:v>
                </c:pt>
                <c:pt idx="6">
                  <c:v>1.306</c:v>
                </c:pt>
                <c:pt idx="7">
                  <c:v>0.90900000000000003</c:v>
                </c:pt>
              </c:numCache>
            </c:numRef>
          </c:yVal>
          <c:bubbleSize>
            <c:numRef>
              <c:f>Sheet1!$C$2:$C$9</c:f>
              <c:numCache>
                <c:formatCode>General</c:formatCode>
                <c:ptCount val="8"/>
                <c:pt idx="0">
                  <c:v>463893</c:v>
                </c:pt>
                <c:pt idx="1">
                  <c:v>228424</c:v>
                </c:pt>
                <c:pt idx="2">
                  <c:v>215798</c:v>
                </c:pt>
                <c:pt idx="3">
                  <c:v>155127</c:v>
                </c:pt>
                <c:pt idx="4">
                  <c:v>112418</c:v>
                </c:pt>
                <c:pt idx="5">
                  <c:v>95486</c:v>
                </c:pt>
                <c:pt idx="6">
                  <c:v>75568</c:v>
                </c:pt>
                <c:pt idx="7">
                  <c:v>7129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nson-Bcc</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63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CC43ED-0BB2-43A6-B5D2-F3BDDB0FF1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26251E-F381-4CD5-B0B3-3E2D21255F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32E437-6F55-4254-8A12-469C84A81C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D6B938-B60C-475C-9D7D-BB6B47B7C4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06C83A-69ED-4CD0-A8C2-ABE4CF177B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F61086-F367-41A1-A0EF-3D07926762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B4DDAD-1EDA-4162-94C2-3CCCBF4A36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2DB925-DE32-49E9-8362-6434C40B86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3499999999997</c:v>
                </c:pt>
                <c:pt idx="1">
                  <c:v>23.1036</c:v>
                </c:pt>
                <c:pt idx="2">
                  <c:v>57.791600000000003</c:v>
                </c:pt>
                <c:pt idx="3">
                  <c:v>35.407400000000003</c:v>
                </c:pt>
                <c:pt idx="4">
                  <c:v>51.795299999999997</c:v>
                </c:pt>
                <c:pt idx="5">
                  <c:v>32.034199999999998</c:v>
                </c:pt>
                <c:pt idx="6">
                  <c:v>17.333100000000002</c:v>
                </c:pt>
                <c:pt idx="7">
                  <c:v>55.900500000000001</c:v>
                </c:pt>
              </c:numCache>
            </c:numRef>
          </c:xVal>
          <c:yVal>
            <c:numRef>
              <c:f>Sheet1!$B$2:$B$9</c:f>
              <c:numCache>
                <c:formatCode>General</c:formatCode>
                <c:ptCount val="8"/>
                <c:pt idx="0">
                  <c:v>2.181</c:v>
                </c:pt>
                <c:pt idx="1">
                  <c:v>0.748</c:v>
                </c:pt>
                <c:pt idx="2">
                  <c:v>1.8049999999999999</c:v>
                </c:pt>
                <c:pt idx="3">
                  <c:v>1.206</c:v>
                </c:pt>
                <c:pt idx="4">
                  <c:v>1.613</c:v>
                </c:pt>
                <c:pt idx="5">
                  <c:v>1.034</c:v>
                </c:pt>
                <c:pt idx="6">
                  <c:v>0.59699999999999998</c:v>
                </c:pt>
                <c:pt idx="7">
                  <c:v>1.546</c:v>
                </c:pt>
              </c:numCache>
            </c:numRef>
          </c:yVal>
          <c:bubbleSize>
            <c:numRef>
              <c:f>Sheet1!$C$2:$C$9</c:f>
              <c:numCache>
                <c:formatCode>General</c:formatCode>
                <c:ptCount val="8"/>
                <c:pt idx="0">
                  <c:v>368107</c:v>
                </c:pt>
                <c:pt idx="1">
                  <c:v>151005</c:v>
                </c:pt>
                <c:pt idx="2">
                  <c:v>145057</c:v>
                </c:pt>
                <c:pt idx="3">
                  <c:v>100557</c:v>
                </c:pt>
                <c:pt idx="4">
                  <c:v>99706</c:v>
                </c:pt>
                <c:pt idx="5">
                  <c:v>71244</c:v>
                </c:pt>
                <c:pt idx="6">
                  <c:v>68483</c:v>
                </c:pt>
                <c:pt idx="7">
                  <c:v>66298</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Roederer</c:v>
                  </c:pt>
                  <c:pt idx="3">
                    <c:v>Vranken Pommery</c:v>
                  </c:pt>
                  <c:pt idx="4">
                    <c:v>Bollinger</c:v>
                  </c:pt>
                  <c:pt idx="5">
                    <c:v>Malard</c:v>
                  </c:pt>
                  <c:pt idx="6">
                    <c:v>Mure</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8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BF2E8B-4C17-479A-849F-5872FF63BC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DDD924-B95A-4878-B7DE-7038BEEC6C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135E41-2D61-4C2F-A8CF-93107E7557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75F698-B511-4620-82AE-52DCACA9A2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FA6EDE-3CAA-4B88-A983-3D76B1F391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BAA64A-CFFB-4B04-8DB7-5DE0680CCA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BE7DF8-DD9E-4D31-9F11-8BA7CCDE9D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2B1EAFD-3CAE-4D5D-8963-DD89AEC636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257900000000006</c:v>
                </c:pt>
                <c:pt idx="1">
                  <c:v>59.653399999999998</c:v>
                </c:pt>
                <c:pt idx="2">
                  <c:v>23.547599999999999</c:v>
                </c:pt>
                <c:pt idx="3">
                  <c:v>32.562199999999997</c:v>
                </c:pt>
                <c:pt idx="4">
                  <c:v>54.731099999999998</c:v>
                </c:pt>
                <c:pt idx="5">
                  <c:v>49.309899999999999</c:v>
                </c:pt>
                <c:pt idx="6">
                  <c:v>31.505700000000001</c:v>
                </c:pt>
                <c:pt idx="7">
                  <c:v>32.752200000000002</c:v>
                </c:pt>
              </c:numCache>
            </c:numRef>
          </c:xVal>
          <c:yVal>
            <c:numRef>
              <c:f>Sheet1!$B$2:$B$9</c:f>
              <c:numCache>
                <c:formatCode>General</c:formatCode>
                <c:ptCount val="8"/>
                <c:pt idx="0">
                  <c:v>1.889</c:v>
                </c:pt>
                <c:pt idx="1">
                  <c:v>1.53</c:v>
                </c:pt>
                <c:pt idx="2">
                  <c:v>0.61299999999999999</c:v>
                </c:pt>
                <c:pt idx="3">
                  <c:v>0.89400000000000002</c:v>
                </c:pt>
                <c:pt idx="4">
                  <c:v>1.2789999999999999</c:v>
                </c:pt>
                <c:pt idx="5">
                  <c:v>1.2470000000000001</c:v>
                </c:pt>
                <c:pt idx="6">
                  <c:v>0.81699999999999995</c:v>
                </c:pt>
                <c:pt idx="7">
                  <c:v>0.83899999999999997</c:v>
                </c:pt>
              </c:numCache>
            </c:numRef>
          </c:yVal>
          <c:bubbleSize>
            <c:numRef>
              <c:f>Sheet1!$C$2:$C$9</c:f>
              <c:numCache>
                <c:formatCode>General</c:formatCode>
                <c:ptCount val="8"/>
                <c:pt idx="0">
                  <c:v>6310000</c:v>
                </c:pt>
                <c:pt idx="1">
                  <c:v>2210575</c:v>
                </c:pt>
                <c:pt idx="2">
                  <c:v>1456865</c:v>
                </c:pt>
                <c:pt idx="3">
                  <c:v>1190148</c:v>
                </c:pt>
                <c:pt idx="4">
                  <c:v>1142622</c:v>
                </c:pt>
                <c:pt idx="5">
                  <c:v>1020320</c:v>
                </c:pt>
                <c:pt idx="6">
                  <c:v>828914</c:v>
                </c:pt>
                <c:pt idx="7">
                  <c:v>63486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E3AB66-97BD-4F9A-8514-E17428686C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1DCFA5-164E-477C-A619-F4F40FB6FE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5DB706-E1FA-4EDF-957C-1F9986A88D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5A81C9-5738-4196-A3B0-A1B42725E7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7D7263-9D8B-4C53-B493-A6E30E5A4F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D7AA23-48E7-4335-8CE0-3229923E13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95F2504-E5C0-4D5C-A047-8C03612FE0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E7FD5D-9369-4CED-A8EC-8351989B4F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626400000000004</c:v>
                </c:pt>
                <c:pt idx="1">
                  <c:v>53.305</c:v>
                </c:pt>
                <c:pt idx="2">
                  <c:v>23.331199999999999</c:v>
                </c:pt>
                <c:pt idx="3">
                  <c:v>32.874699999999997</c:v>
                </c:pt>
                <c:pt idx="4">
                  <c:v>51.434100000000001</c:v>
                </c:pt>
                <c:pt idx="5">
                  <c:v>46.979399999999998</c:v>
                </c:pt>
                <c:pt idx="6">
                  <c:v>31.512499999999999</c:v>
                </c:pt>
                <c:pt idx="7">
                  <c:v>40.131700000000002</c:v>
                </c:pt>
              </c:numCache>
            </c:numRef>
          </c:xVal>
          <c:yVal>
            <c:numRef>
              <c:f>Sheet1!$B$2:$B$9</c:f>
              <c:numCache>
                <c:formatCode>General</c:formatCode>
                <c:ptCount val="8"/>
                <c:pt idx="0">
                  <c:v>1.9330000000000001</c:v>
                </c:pt>
                <c:pt idx="1">
                  <c:v>1.5269999999999999</c:v>
                </c:pt>
                <c:pt idx="2">
                  <c:v>0.67800000000000005</c:v>
                </c:pt>
                <c:pt idx="3">
                  <c:v>0.98399999999999999</c:v>
                </c:pt>
                <c:pt idx="4">
                  <c:v>1.341</c:v>
                </c:pt>
                <c:pt idx="5">
                  <c:v>1.331</c:v>
                </c:pt>
                <c:pt idx="6">
                  <c:v>0.91100000000000003</c:v>
                </c:pt>
                <c:pt idx="7">
                  <c:v>1.2330000000000001</c:v>
                </c:pt>
              </c:numCache>
            </c:numRef>
          </c:yVal>
          <c:bubbleSize>
            <c:numRef>
              <c:f>Sheet1!$C$2:$C$9</c:f>
              <c:numCache>
                <c:formatCode>General</c:formatCode>
                <c:ptCount val="8"/>
                <c:pt idx="0">
                  <c:v>2621943</c:v>
                </c:pt>
                <c:pt idx="1">
                  <c:v>1039074</c:v>
                </c:pt>
                <c:pt idx="2">
                  <c:v>846597</c:v>
                </c:pt>
                <c:pt idx="3">
                  <c:v>661800</c:v>
                </c:pt>
                <c:pt idx="4">
                  <c:v>525811</c:v>
                </c:pt>
                <c:pt idx="5">
                  <c:v>476747</c:v>
                </c:pt>
                <c:pt idx="6">
                  <c:v>464085</c:v>
                </c:pt>
                <c:pt idx="7">
                  <c:v>34517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3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F552FE-09B7-4399-8E72-6D147C28BF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954C8F-088C-4BCB-A3D9-E3B8D4725D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63CB63-54B9-4D08-97F5-8E54B11150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BC907E-E757-4952-B9ED-893C016C17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F88BC2-40CC-464D-B12E-7B8C9439CE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9A04FA0-7489-445B-BCEB-48E08935DB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748DF9-F7E5-4D88-8DC6-289B47E47B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C5EB96-AB32-4A8C-BC3C-CCF91EE511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836399999999998</c:v>
                </c:pt>
                <c:pt idx="1">
                  <c:v>54.970700000000001</c:v>
                </c:pt>
                <c:pt idx="2">
                  <c:v>23.511199999999999</c:v>
                </c:pt>
                <c:pt idx="3">
                  <c:v>32.854700000000001</c:v>
                </c:pt>
                <c:pt idx="4">
                  <c:v>46.3675</c:v>
                </c:pt>
                <c:pt idx="5">
                  <c:v>31.48</c:v>
                </c:pt>
                <c:pt idx="6">
                  <c:v>52.412700000000001</c:v>
                </c:pt>
                <c:pt idx="7">
                  <c:v>40.483800000000002</c:v>
                </c:pt>
              </c:numCache>
            </c:numRef>
          </c:xVal>
          <c:yVal>
            <c:numRef>
              <c:f>Sheet1!$B$2:$B$9</c:f>
              <c:numCache>
                <c:formatCode>General</c:formatCode>
                <c:ptCount val="8"/>
                <c:pt idx="0">
                  <c:v>1.9470000000000001</c:v>
                </c:pt>
                <c:pt idx="1">
                  <c:v>1.5429999999999999</c:v>
                </c:pt>
                <c:pt idx="2">
                  <c:v>0.67600000000000005</c:v>
                </c:pt>
                <c:pt idx="3">
                  <c:v>0.97599999999999998</c:v>
                </c:pt>
                <c:pt idx="4">
                  <c:v>1.304</c:v>
                </c:pt>
                <c:pt idx="5">
                  <c:v>0.90100000000000002</c:v>
                </c:pt>
                <c:pt idx="6">
                  <c:v>1.34</c:v>
                </c:pt>
                <c:pt idx="7">
                  <c:v>1.2210000000000001</c:v>
                </c:pt>
              </c:numCache>
            </c:numRef>
          </c:yVal>
          <c:bubbleSize>
            <c:numRef>
              <c:f>Sheet1!$C$2:$C$9</c:f>
              <c:numCache>
                <c:formatCode>General</c:formatCode>
                <c:ptCount val="8"/>
                <c:pt idx="0">
                  <c:v>4168455</c:v>
                </c:pt>
                <c:pt idx="1">
                  <c:v>1504989</c:v>
                </c:pt>
                <c:pt idx="2">
                  <c:v>1311876</c:v>
                </c:pt>
                <c:pt idx="3">
                  <c:v>1024081</c:v>
                </c:pt>
                <c:pt idx="4">
                  <c:v>791865</c:v>
                </c:pt>
                <c:pt idx="5">
                  <c:v>730304</c:v>
                </c:pt>
                <c:pt idx="6">
                  <c:v>682885</c:v>
                </c:pt>
                <c:pt idx="7">
                  <c:v>528597</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7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C468C8-8404-421E-BAD2-A1B2641D43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37FC93-CD69-4CF7-BCDF-8047E0E6E7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B6C733-CE2F-44D2-B2F3-9DF15CA5F7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4B39B0-D541-4F74-AB54-89ED1648BE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1AEF92-C7C6-4059-80CD-6D244C4B6F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D5A161-FCE3-4F33-A52E-4E92D53797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736322-FC6B-49D2-9950-5E3C304AF9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228D7A-B439-43A9-94E1-7194BC4156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467699999999994</c:v>
                </c:pt>
                <c:pt idx="1">
                  <c:v>53.702399999999997</c:v>
                </c:pt>
                <c:pt idx="2">
                  <c:v>23.655200000000001</c:v>
                </c:pt>
                <c:pt idx="3">
                  <c:v>32.689100000000003</c:v>
                </c:pt>
                <c:pt idx="4">
                  <c:v>31.5063</c:v>
                </c:pt>
                <c:pt idx="5">
                  <c:v>47.947299999999998</c:v>
                </c:pt>
                <c:pt idx="6">
                  <c:v>52.280799999999999</c:v>
                </c:pt>
                <c:pt idx="7">
                  <c:v>40.0745</c:v>
                </c:pt>
              </c:numCache>
            </c:numRef>
          </c:xVal>
          <c:yVal>
            <c:numRef>
              <c:f>Sheet1!$B$2:$B$9</c:f>
              <c:numCache>
                <c:formatCode>General</c:formatCode>
                <c:ptCount val="8"/>
                <c:pt idx="0">
                  <c:v>1.9550000000000001</c:v>
                </c:pt>
                <c:pt idx="1">
                  <c:v>1.5209999999999999</c:v>
                </c:pt>
                <c:pt idx="2">
                  <c:v>0.68700000000000006</c:v>
                </c:pt>
                <c:pt idx="3">
                  <c:v>0.98399999999999999</c:v>
                </c:pt>
                <c:pt idx="4">
                  <c:v>0.91100000000000003</c:v>
                </c:pt>
                <c:pt idx="5">
                  <c:v>1.3540000000000001</c:v>
                </c:pt>
                <c:pt idx="6">
                  <c:v>1.335</c:v>
                </c:pt>
                <c:pt idx="7">
                  <c:v>1.2210000000000001</c:v>
                </c:pt>
              </c:numCache>
            </c:numRef>
          </c:yVal>
          <c:bubbleSize>
            <c:numRef>
              <c:f>Sheet1!$C$2:$C$9</c:f>
              <c:numCache>
                <c:formatCode>General</c:formatCode>
                <c:ptCount val="8"/>
                <c:pt idx="0">
                  <c:v>3276523</c:v>
                </c:pt>
                <c:pt idx="1">
                  <c:v>1220549</c:v>
                </c:pt>
                <c:pt idx="2">
                  <c:v>1019585</c:v>
                </c:pt>
                <c:pt idx="3">
                  <c:v>838932</c:v>
                </c:pt>
                <c:pt idx="4">
                  <c:v>627069</c:v>
                </c:pt>
                <c:pt idx="5">
                  <c:v>586875</c:v>
                </c:pt>
                <c:pt idx="6">
                  <c:v>511724</c:v>
                </c:pt>
                <c:pt idx="7">
                  <c:v>49251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Malard</c:v>
                  </c:pt>
                  <c:pt idx="5">
                    <c:v>Bollinger</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5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4D6F7C-A847-4008-A5B2-CAEA2FEB72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273A29-BBD0-402F-9814-0BA3334601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97133B-ABA6-474A-95DD-93070487CC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7FCB543-D06A-4800-BA30-6E57A0443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C0E34F-A31B-495D-BE25-46FAEB459E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3D9377-B3B1-4F65-AD0E-2848C573B4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6075D6-13C1-4990-AA8D-11983F13CC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A558CA-ED45-467A-9E9A-58DCEF2DAF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668199999999999</c:v>
                </c:pt>
                <c:pt idx="1">
                  <c:v>54.089399999999998</c:v>
                </c:pt>
                <c:pt idx="2">
                  <c:v>23.724799999999998</c:v>
                </c:pt>
                <c:pt idx="3">
                  <c:v>32.999400000000001</c:v>
                </c:pt>
                <c:pt idx="4">
                  <c:v>31.6996</c:v>
                </c:pt>
                <c:pt idx="5">
                  <c:v>46.7316</c:v>
                </c:pt>
                <c:pt idx="6">
                  <c:v>52.491900000000001</c:v>
                </c:pt>
                <c:pt idx="7">
                  <c:v>40.946800000000003</c:v>
                </c:pt>
              </c:numCache>
            </c:numRef>
          </c:xVal>
          <c:yVal>
            <c:numRef>
              <c:f>Sheet1!$B$2:$B$9</c:f>
              <c:numCache>
                <c:formatCode>General</c:formatCode>
                <c:ptCount val="8"/>
                <c:pt idx="0">
                  <c:v>1.9870000000000001</c:v>
                </c:pt>
                <c:pt idx="1">
                  <c:v>1.552</c:v>
                </c:pt>
                <c:pt idx="2">
                  <c:v>0.70699999999999996</c:v>
                </c:pt>
                <c:pt idx="3">
                  <c:v>1.01</c:v>
                </c:pt>
                <c:pt idx="4">
                  <c:v>0.94199999999999995</c:v>
                </c:pt>
                <c:pt idx="5">
                  <c:v>1.363</c:v>
                </c:pt>
                <c:pt idx="6">
                  <c:v>1.3859999999999999</c:v>
                </c:pt>
                <c:pt idx="7">
                  <c:v>1.2829999999999999</c:v>
                </c:pt>
              </c:numCache>
            </c:numRef>
          </c:yVal>
          <c:bubbleSize>
            <c:numRef>
              <c:f>Sheet1!$C$2:$C$9</c:f>
              <c:numCache>
                <c:formatCode>General</c:formatCode>
                <c:ptCount val="8"/>
                <c:pt idx="0">
                  <c:v>2905740</c:v>
                </c:pt>
                <c:pt idx="1">
                  <c:v>1063669</c:v>
                </c:pt>
                <c:pt idx="2">
                  <c:v>1047473</c:v>
                </c:pt>
                <c:pt idx="3">
                  <c:v>792679</c:v>
                </c:pt>
                <c:pt idx="4">
                  <c:v>584730</c:v>
                </c:pt>
                <c:pt idx="5">
                  <c:v>571995</c:v>
                </c:pt>
                <c:pt idx="6">
                  <c:v>451798</c:v>
                </c:pt>
                <c:pt idx="7">
                  <c:v>40394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Malard</c:v>
                  </c:pt>
                  <c:pt idx="5">
                    <c:v>Bollinger</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BDC92D-E89C-4729-9E9D-AFA11C1C10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DDE212-EA63-41ED-8990-E9EB784E99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4ADE1B-E349-41A3-BCAA-4B03730387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5C3DCB-E98E-46AA-83B6-E13CAAD42B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D2E325-7C62-4002-8BB8-6051E7C619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C83DEF-0E76-4E33-B4CD-901BE893B7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F546F2-3328-4483-8816-9D37DDDAF0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D96E49-953A-41A4-90D0-72B00F5A13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111</c:v>
                </c:pt>
                <c:pt idx="1">
                  <c:v>24.206</c:v>
                </c:pt>
                <c:pt idx="2">
                  <c:v>49.430599999999998</c:v>
                </c:pt>
                <c:pt idx="3">
                  <c:v>31.427199999999999</c:v>
                </c:pt>
                <c:pt idx="4">
                  <c:v>26.736799999999999</c:v>
                </c:pt>
                <c:pt idx="5">
                  <c:v>24.309100000000001</c:v>
                </c:pt>
                <c:pt idx="6">
                  <c:v>31.042200000000001</c:v>
                </c:pt>
                <c:pt idx="7">
                  <c:v>26.580300000000001</c:v>
                </c:pt>
              </c:numCache>
            </c:numRef>
          </c:xVal>
          <c:yVal>
            <c:numRef>
              <c:f>Sheet1!$B$2:$B$9</c:f>
              <c:numCache>
                <c:formatCode>General</c:formatCode>
                <c:ptCount val="8"/>
                <c:pt idx="0">
                  <c:v>1.0429999999999999</c:v>
                </c:pt>
                <c:pt idx="1">
                  <c:v>0.57499999999999996</c:v>
                </c:pt>
                <c:pt idx="2">
                  <c:v>2.2639999999999998</c:v>
                </c:pt>
                <c:pt idx="3">
                  <c:v>1.4279999999999999</c:v>
                </c:pt>
                <c:pt idx="4">
                  <c:v>1.2110000000000001</c:v>
                </c:pt>
                <c:pt idx="5">
                  <c:v>1.038</c:v>
                </c:pt>
                <c:pt idx="6">
                  <c:v>1.458</c:v>
                </c:pt>
                <c:pt idx="7">
                  <c:v>1.1359999999999999</c:v>
                </c:pt>
              </c:numCache>
            </c:numRef>
          </c:yVal>
          <c:bubbleSize>
            <c:numRef>
              <c:f>Sheet1!$C$2:$C$9</c:f>
              <c:numCache>
                <c:formatCode>General</c:formatCode>
                <c:ptCount val="8"/>
                <c:pt idx="0">
                  <c:v>83416559</c:v>
                </c:pt>
                <c:pt idx="1">
                  <c:v>77348257</c:v>
                </c:pt>
                <c:pt idx="2">
                  <c:v>69626376</c:v>
                </c:pt>
                <c:pt idx="3">
                  <c:v>41308441</c:v>
                </c:pt>
                <c:pt idx="4">
                  <c:v>38917245</c:v>
                </c:pt>
                <c:pt idx="5">
                  <c:v>28145421</c:v>
                </c:pt>
                <c:pt idx="6">
                  <c:v>27725856</c:v>
                </c:pt>
                <c:pt idx="7">
                  <c:v>23472209</c:v>
                </c:pt>
              </c:numCache>
            </c:numRef>
          </c:bubbleSize>
          <c:bubble3D val="0"/>
          <c:extLst>
            <c:ext xmlns:c15="http://schemas.microsoft.com/office/drawing/2012/chart" uri="{02D57815-91ED-43cb-92C2-25804820EDAC}">
              <c15:datalabelsRange>
                <c15:f>Sheet1!$E$2:$E$10</c15:f>
                <c15:dlblRangeCache>
                  <c:ptCount val="9"/>
                  <c:pt idx="0">
                    <c:v>Cfgv</c:v>
                  </c:pt>
                  <c:pt idx="1">
                    <c:v>Vranken Pommery</c:v>
                  </c:pt>
                  <c:pt idx="2">
                    <c:v>Mhcs</c:v>
                  </c:pt>
                  <c:pt idx="3">
                    <c:v>Pernod Ricard</c:v>
                  </c:pt>
                  <c:pt idx="4">
                    <c:v>C&amp;C Sas France</c:v>
                  </c:pt>
                  <c:pt idx="5">
                    <c:v>Maison Burtin</c:v>
                  </c:pt>
                  <c:pt idx="6">
                    <c:v>Lanson-Bcc</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4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343ABB-35E4-4847-8EDD-FE785E1161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E6F27C-2047-4BF4-9768-31C62EC3DC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DAEC1E-AFA6-4291-82AC-FAFA44D9FD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1C4BB4-735B-4FC1-A8A3-60840A133D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04C143-A000-4EFE-8C30-EF6B15E92B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5177C3-77DD-4FA9-834A-49F61D8E64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4BBB1F-83F9-46A1-891C-3758EA9D75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DF501A-CA97-44B6-948D-30302F7440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892600000000002</c:v>
                </c:pt>
                <c:pt idx="1">
                  <c:v>55.808999999999997</c:v>
                </c:pt>
                <c:pt idx="2">
                  <c:v>23.577300000000001</c:v>
                </c:pt>
                <c:pt idx="3">
                  <c:v>32.814900000000002</c:v>
                </c:pt>
                <c:pt idx="4">
                  <c:v>47.6738</c:v>
                </c:pt>
                <c:pt idx="5">
                  <c:v>53.084499999999998</c:v>
                </c:pt>
                <c:pt idx="6">
                  <c:v>31.571200000000001</c:v>
                </c:pt>
                <c:pt idx="7">
                  <c:v>40.583799999999997</c:v>
                </c:pt>
              </c:numCache>
            </c:numRef>
          </c:xVal>
          <c:yVal>
            <c:numRef>
              <c:f>Sheet1!$B$2:$B$9</c:f>
              <c:numCache>
                <c:formatCode>General</c:formatCode>
                <c:ptCount val="8"/>
                <c:pt idx="0">
                  <c:v>1.6020000000000001</c:v>
                </c:pt>
                <c:pt idx="1">
                  <c:v>1.2689999999999999</c:v>
                </c:pt>
                <c:pt idx="2">
                  <c:v>0.54800000000000004</c:v>
                </c:pt>
                <c:pt idx="3">
                  <c:v>0.79200000000000004</c:v>
                </c:pt>
                <c:pt idx="4">
                  <c:v>1.081</c:v>
                </c:pt>
                <c:pt idx="5">
                  <c:v>1.1000000000000001</c:v>
                </c:pt>
                <c:pt idx="6">
                  <c:v>0.73099999999999998</c:v>
                </c:pt>
                <c:pt idx="7">
                  <c:v>0.99199999999999999</c:v>
                </c:pt>
              </c:numCache>
            </c:numRef>
          </c:yVal>
          <c:bubbleSize>
            <c:numRef>
              <c:f>Sheet1!$C$2:$C$9</c:f>
              <c:numCache>
                <c:formatCode>General</c:formatCode>
                <c:ptCount val="8"/>
                <c:pt idx="0">
                  <c:v>19282258</c:v>
                </c:pt>
                <c:pt idx="1">
                  <c:v>7038688</c:v>
                </c:pt>
                <c:pt idx="2">
                  <c:v>5682202</c:v>
                </c:pt>
                <c:pt idx="3">
                  <c:v>4507482</c:v>
                </c:pt>
                <c:pt idx="4">
                  <c:v>3447720</c:v>
                </c:pt>
                <c:pt idx="5">
                  <c:v>3314753</c:v>
                </c:pt>
                <c:pt idx="6">
                  <c:v>3234970</c:v>
                </c:pt>
                <c:pt idx="7">
                  <c:v>2362992</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2E79CD-BDA0-4735-86D8-C199486BF1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705F25-584F-4B2B-BF50-E0EBD579E3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FD5816-BB01-42D7-A3CB-C444A56EA1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7E20C0-48CB-4983-A6AF-1C0C1BE8C8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420906-E2E7-4286-BE86-40ACB02CC8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4C0E68-6D41-42F2-B0CE-ED53356589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118181-EACF-4069-BD73-F104213CB8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CC5F1D-5129-4D86-B20E-46DABA279E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946400000000001</c:v>
                </c:pt>
                <c:pt idx="1">
                  <c:v>23.825199999999999</c:v>
                </c:pt>
                <c:pt idx="2">
                  <c:v>44.508600000000001</c:v>
                </c:pt>
                <c:pt idx="3">
                  <c:v>31.101600000000001</c:v>
                </c:pt>
                <c:pt idx="4">
                  <c:v>26.586600000000001</c:v>
                </c:pt>
                <c:pt idx="5">
                  <c:v>24.309100000000001</c:v>
                </c:pt>
                <c:pt idx="6">
                  <c:v>30.3916</c:v>
                </c:pt>
                <c:pt idx="7">
                  <c:v>24.575700000000001</c:v>
                </c:pt>
              </c:numCache>
            </c:numRef>
          </c:xVal>
          <c:yVal>
            <c:numRef>
              <c:f>Sheet1!$B$2:$B$9</c:f>
              <c:numCache>
                <c:formatCode>General</c:formatCode>
                <c:ptCount val="8"/>
                <c:pt idx="0">
                  <c:v>1.099</c:v>
                </c:pt>
                <c:pt idx="1">
                  <c:v>0.58799999999999997</c:v>
                </c:pt>
                <c:pt idx="2">
                  <c:v>2.1539999999999999</c:v>
                </c:pt>
                <c:pt idx="3">
                  <c:v>1.5029999999999999</c:v>
                </c:pt>
                <c:pt idx="4">
                  <c:v>1.2769999999999999</c:v>
                </c:pt>
                <c:pt idx="5">
                  <c:v>1.1040000000000001</c:v>
                </c:pt>
                <c:pt idx="6">
                  <c:v>1.5109999999999999</c:v>
                </c:pt>
                <c:pt idx="7">
                  <c:v>1.117</c:v>
                </c:pt>
              </c:numCache>
            </c:numRef>
          </c:yVal>
          <c:bubbleSize>
            <c:numRef>
              <c:f>Sheet1!$C$2:$C$9</c:f>
              <c:numCache>
                <c:formatCode>General</c:formatCode>
                <c:ptCount val="8"/>
                <c:pt idx="0">
                  <c:v>81150444</c:v>
                </c:pt>
                <c:pt idx="1">
                  <c:v>72856480</c:v>
                </c:pt>
                <c:pt idx="2">
                  <c:v>50422962</c:v>
                </c:pt>
                <c:pt idx="3">
                  <c:v>40350066</c:v>
                </c:pt>
                <c:pt idx="4">
                  <c:v>37152564</c:v>
                </c:pt>
                <c:pt idx="5">
                  <c:v>28145421</c:v>
                </c:pt>
                <c:pt idx="6">
                  <c:v>25366337</c:v>
                </c:pt>
                <c:pt idx="7">
                  <c:v>20162778</c:v>
                </c:pt>
              </c:numCache>
            </c:numRef>
          </c:bubbleSize>
          <c:bubble3D val="0"/>
          <c:extLst>
            <c:ext xmlns:c15="http://schemas.microsoft.com/office/drawing/2012/chart" uri="{02D57815-91ED-43cb-92C2-25804820EDAC}">
              <c15:datalabelsRange>
                <c15:f>Sheet1!$E$2:$E$10</c15:f>
                <c15:dlblRangeCache>
                  <c:ptCount val="9"/>
                  <c:pt idx="0">
                    <c:v>Cfgv</c:v>
                  </c:pt>
                  <c:pt idx="1">
                    <c:v>Vranken Pommery</c:v>
                  </c:pt>
                  <c:pt idx="2">
                    <c:v>Mhcs</c:v>
                  </c:pt>
                  <c:pt idx="3">
                    <c:v>Pernod Ricard</c:v>
                  </c:pt>
                  <c:pt idx="4">
                    <c:v>C&amp;C Sas France</c:v>
                  </c:pt>
                  <c:pt idx="5">
                    <c:v>Maison Burtin</c:v>
                  </c:pt>
                  <c:pt idx="6">
                    <c:v>Lanson-Bcc</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54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F816B5F-453C-4DE7-8009-F27C334056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DE1FA49-6346-47F2-8E9F-EB3B9AD224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881B638-B70A-4408-B6ED-6390D90B3A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8D2F607-FFD0-49A0-BDAD-6975D90793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1761999-3D99-4DC3-92C7-34243CE614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AA6C0A8F-F8A1-4C37-A0F9-7F7EB10267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E166B1E0-41D9-4C50-BB34-CA3840E42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A84A45CC-9228-4D5A-8ADD-2DA448C26B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333100000000002</c:v>
                </c:pt>
                <c:pt idx="1">
                  <c:v>12.973800000000001</c:v>
                </c:pt>
                <c:pt idx="2">
                  <c:v>9.0344999999999995</c:v>
                </c:pt>
                <c:pt idx="3">
                  <c:v>11.645300000000001</c:v>
                </c:pt>
                <c:pt idx="4">
                  <c:v>11.7005</c:v>
                </c:pt>
              </c:numCache>
            </c:numRef>
          </c:xVal>
          <c:yVal>
            <c:numRef>
              <c:f>Sheet1!$B$2:$B$6</c:f>
              <c:numCache>
                <c:formatCode>General</c:formatCode>
                <c:ptCount val="5"/>
                <c:pt idx="0">
                  <c:v>1.5960000000000001</c:v>
                </c:pt>
                <c:pt idx="1">
                  <c:v>1.091</c:v>
                </c:pt>
                <c:pt idx="2">
                  <c:v>0.78300000000000003</c:v>
                </c:pt>
                <c:pt idx="3">
                  <c:v>0.97099999999999997</c:v>
                </c:pt>
                <c:pt idx="4">
                  <c:v>0.98399999999999999</c:v>
                </c:pt>
              </c:numCache>
            </c:numRef>
          </c:yVal>
          <c:bubbleSize>
            <c:numRef>
              <c:f>Sheet1!$C$2:$C$6</c:f>
              <c:numCache>
                <c:formatCode>General</c:formatCode>
                <c:ptCount val="5"/>
                <c:pt idx="0">
                  <c:v>68483</c:v>
                </c:pt>
                <c:pt idx="1">
                  <c:v>3957</c:v>
                </c:pt>
                <c:pt idx="2">
                  <c:v>3930</c:v>
                </c:pt>
                <c:pt idx="3">
                  <c:v>3447</c:v>
                </c:pt>
                <c:pt idx="4">
                  <c:v>2188</c:v>
                </c:pt>
              </c:numCache>
            </c:numRef>
          </c:bubbleSize>
          <c:bubble3D val="0"/>
          <c:extLst>
            <c:ext xmlns:c15="http://schemas.microsoft.com/office/drawing/2012/chart" uri="{02D57815-91ED-43cb-92C2-25804820EDAC}">
              <c15:datalabelsRange>
                <c15:f>Sheet1!$E$2:$E$10</c15:f>
                <c15:dlblRangeCache>
                  <c:ptCount val="9"/>
                  <c:pt idx="0">
                    <c:v>Mure</c:v>
                  </c:pt>
                  <c:pt idx="1">
                    <c:v>Patriarche</c:v>
                  </c:pt>
                  <c:pt idx="2">
                    <c:v>Savian</c:v>
                  </c:pt>
                  <c:pt idx="3">
                    <c:v>Bottega</c:v>
                  </c:pt>
                  <c:pt idx="4">
                    <c:v>Chateau Moncontou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D8169B-2656-440F-AE2B-E0BC040640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7F2B29-64EC-4A58-8C21-149BFC2492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1BF868-84C8-46DD-8990-92DC0DFA0C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48BBB4-EE3C-4EFA-803C-A182196805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47AE1A-C65A-4FD5-8CE0-B10143BBE3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7AB367-C9DC-42D1-B1CA-D0972F38A7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3495B1-1A04-48CF-8B0E-87E24E02F4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A0F5D2-EADC-4E01-9672-D891A231C9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314300000000003</c:v>
                </c:pt>
                <c:pt idx="1">
                  <c:v>53.895200000000003</c:v>
                </c:pt>
                <c:pt idx="2">
                  <c:v>23.5701</c:v>
                </c:pt>
                <c:pt idx="3">
                  <c:v>32.425899999999999</c:v>
                </c:pt>
                <c:pt idx="4">
                  <c:v>46.163699999999999</c:v>
                </c:pt>
                <c:pt idx="5">
                  <c:v>31.455500000000001</c:v>
                </c:pt>
                <c:pt idx="6">
                  <c:v>51.310200000000002</c:v>
                </c:pt>
                <c:pt idx="7">
                  <c:v>39.283900000000003</c:v>
                </c:pt>
              </c:numCache>
            </c:numRef>
          </c:xVal>
          <c:yVal>
            <c:numRef>
              <c:f>Sheet1!$B$2:$B$9</c:f>
              <c:numCache>
                <c:formatCode>General</c:formatCode>
                <c:ptCount val="8"/>
                <c:pt idx="0">
                  <c:v>1.601</c:v>
                </c:pt>
                <c:pt idx="1">
                  <c:v>1.2889999999999999</c:v>
                </c:pt>
                <c:pt idx="2">
                  <c:v>0.56699999999999995</c:v>
                </c:pt>
                <c:pt idx="3">
                  <c:v>0.80700000000000005</c:v>
                </c:pt>
                <c:pt idx="4">
                  <c:v>1.0880000000000001</c:v>
                </c:pt>
                <c:pt idx="5">
                  <c:v>0.753</c:v>
                </c:pt>
                <c:pt idx="6">
                  <c:v>1.107</c:v>
                </c:pt>
                <c:pt idx="7">
                  <c:v>0.997</c:v>
                </c:pt>
              </c:numCache>
            </c:numRef>
          </c:yVal>
          <c:bubbleSize>
            <c:numRef>
              <c:f>Sheet1!$C$2:$C$9</c:f>
              <c:numCache>
                <c:formatCode>General</c:formatCode>
                <c:ptCount val="8"/>
                <c:pt idx="0">
                  <c:v>7393532</c:v>
                </c:pt>
                <c:pt idx="1">
                  <c:v>3103288</c:v>
                </c:pt>
                <c:pt idx="2">
                  <c:v>2507011</c:v>
                </c:pt>
                <c:pt idx="3">
                  <c:v>2078207</c:v>
                </c:pt>
                <c:pt idx="4">
                  <c:v>1572704</c:v>
                </c:pt>
                <c:pt idx="5">
                  <c:v>1556133</c:v>
                </c:pt>
                <c:pt idx="6">
                  <c:v>1443254</c:v>
                </c:pt>
                <c:pt idx="7">
                  <c:v>110297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926471-A1EB-4751-A281-5AE693740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3F1298-0684-4DD1-A552-5B007C054C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B61631-D0F5-447D-B1B1-E999281496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E359CC-42AD-40A9-8527-DE32B25C42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8B4157-B192-43DA-9B3A-FB30EB8820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1FDD64-19C7-48C6-BF13-E7B6883FDA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795754-7DA7-463B-A76D-C9DEF3E798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FD3324-51D4-482B-AFE1-3421636410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690100000000001</c:v>
                </c:pt>
                <c:pt idx="1">
                  <c:v>23.5991</c:v>
                </c:pt>
                <c:pt idx="2">
                  <c:v>55.277700000000003</c:v>
                </c:pt>
                <c:pt idx="3">
                  <c:v>33.554200000000002</c:v>
                </c:pt>
                <c:pt idx="4">
                  <c:v>31.541399999999999</c:v>
                </c:pt>
                <c:pt idx="5">
                  <c:v>47.192599999999999</c:v>
                </c:pt>
                <c:pt idx="6">
                  <c:v>52.898600000000002</c:v>
                </c:pt>
                <c:pt idx="7">
                  <c:v>40.997399999999999</c:v>
                </c:pt>
              </c:numCache>
            </c:numRef>
          </c:xVal>
          <c:yVal>
            <c:numRef>
              <c:f>Sheet1!$B$2:$B$9</c:f>
              <c:numCache>
                <c:formatCode>General</c:formatCode>
                <c:ptCount val="8"/>
                <c:pt idx="0">
                  <c:v>1.6439999999999999</c:v>
                </c:pt>
                <c:pt idx="1">
                  <c:v>0.56599999999999995</c:v>
                </c:pt>
                <c:pt idx="2">
                  <c:v>1.28</c:v>
                </c:pt>
                <c:pt idx="3">
                  <c:v>0.82599999999999996</c:v>
                </c:pt>
                <c:pt idx="4">
                  <c:v>0.755</c:v>
                </c:pt>
                <c:pt idx="5">
                  <c:v>1.105</c:v>
                </c:pt>
                <c:pt idx="6">
                  <c:v>1.117</c:v>
                </c:pt>
                <c:pt idx="7">
                  <c:v>1.038</c:v>
                </c:pt>
              </c:numCache>
            </c:numRef>
          </c:yVal>
          <c:bubbleSize>
            <c:numRef>
              <c:f>Sheet1!$C$2:$C$9</c:f>
              <c:numCache>
                <c:formatCode>General</c:formatCode>
                <c:ptCount val="8"/>
                <c:pt idx="0">
                  <c:v>3730439</c:v>
                </c:pt>
                <c:pt idx="1">
                  <c:v>1245017</c:v>
                </c:pt>
                <c:pt idx="2">
                  <c:v>1195712</c:v>
                </c:pt>
                <c:pt idx="3">
                  <c:v>925492</c:v>
                </c:pt>
                <c:pt idx="4">
                  <c:v>661770</c:v>
                </c:pt>
                <c:pt idx="5">
                  <c:v>609539</c:v>
                </c:pt>
                <c:pt idx="6">
                  <c:v>505869</c:v>
                </c:pt>
                <c:pt idx="7">
                  <c:v>480407</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Roederer</c:v>
                  </c:pt>
                  <c:pt idx="3">
                    <c:v>Vranken Pommery</c:v>
                  </c:pt>
                  <c:pt idx="4">
                    <c:v>Malard</c:v>
                  </c:pt>
                  <c:pt idx="5">
                    <c:v>Bollinger</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99A717-3FAD-4956-A84E-1FE2EC5E2B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254A63-A764-43AA-B87C-5A15C4A6D8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0AFC03-7B96-49AD-86A0-A075049C13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B51D10-20CE-4AA7-822B-7B539F9A33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F98292-435A-47FA-84D0-E96F541A58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197DA2-937A-4ED8-A584-93241F2D76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4E955B-E31F-4BAB-A36F-492928E553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4869C9-9770-489C-BA6E-B3CE6D0EE9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93500000000003</c:v>
                </c:pt>
                <c:pt idx="1">
                  <c:v>58.051400000000001</c:v>
                </c:pt>
                <c:pt idx="2">
                  <c:v>23.420200000000001</c:v>
                </c:pt>
                <c:pt idx="3">
                  <c:v>54.731400000000001</c:v>
                </c:pt>
                <c:pt idx="4">
                  <c:v>32.419899999999998</c:v>
                </c:pt>
                <c:pt idx="5">
                  <c:v>50.2986</c:v>
                </c:pt>
                <c:pt idx="6">
                  <c:v>31.674299999999999</c:v>
                </c:pt>
                <c:pt idx="7">
                  <c:v>33.087600000000002</c:v>
                </c:pt>
              </c:numCache>
            </c:numRef>
          </c:xVal>
          <c:yVal>
            <c:numRef>
              <c:f>Sheet1!$B$2:$B$9</c:f>
              <c:numCache>
                <c:formatCode>General</c:formatCode>
                <c:ptCount val="8"/>
                <c:pt idx="0">
                  <c:v>1.554</c:v>
                </c:pt>
                <c:pt idx="1">
                  <c:v>1.274</c:v>
                </c:pt>
                <c:pt idx="2">
                  <c:v>0.52500000000000002</c:v>
                </c:pt>
                <c:pt idx="3">
                  <c:v>1.103</c:v>
                </c:pt>
                <c:pt idx="4">
                  <c:v>0.78400000000000003</c:v>
                </c:pt>
                <c:pt idx="5">
                  <c:v>1.083</c:v>
                </c:pt>
                <c:pt idx="6">
                  <c:v>0.70399999999999996</c:v>
                </c:pt>
                <c:pt idx="7">
                  <c:v>0.72699999999999998</c:v>
                </c:pt>
              </c:numCache>
            </c:numRef>
          </c:yVal>
          <c:bubbleSize>
            <c:numRef>
              <c:f>Sheet1!$C$2:$C$9</c:f>
              <c:numCache>
                <c:formatCode>General</c:formatCode>
                <c:ptCount val="8"/>
                <c:pt idx="0">
                  <c:v>2338049</c:v>
                </c:pt>
                <c:pt idx="1">
                  <c:v>873732</c:v>
                </c:pt>
                <c:pt idx="2">
                  <c:v>607941</c:v>
                </c:pt>
                <c:pt idx="3">
                  <c:v>520550</c:v>
                </c:pt>
                <c:pt idx="4">
                  <c:v>463702</c:v>
                </c:pt>
                <c:pt idx="5">
                  <c:v>444438</c:v>
                </c:pt>
                <c:pt idx="6">
                  <c:v>355481</c:v>
                </c:pt>
                <c:pt idx="7">
                  <c:v>28693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Laurent Perrier</c:v>
                  </c:pt>
                  <c:pt idx="4">
                    <c:v>Vranken Pommery</c:v>
                  </c:pt>
                  <c:pt idx="5">
                    <c:v>Bollinger</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5FA12F-8BA9-4B95-AB61-62C13550B1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49CE54-7965-4045-AEB0-A41186EA39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87A0F0-6466-442B-BF14-A05A39EA1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E53048-CD44-4547-93BC-5948B19627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D542F9-3113-4E84-A247-C33275A76D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CD0A03-E8C7-4B68-8DD8-43C6172B9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8078E8-98E7-43AB-9F02-EDD749424C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BE4E7D-5FF9-43BE-8719-44B6CA26BC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226200000000006</c:v>
                </c:pt>
                <c:pt idx="1">
                  <c:v>60.1402</c:v>
                </c:pt>
                <c:pt idx="2">
                  <c:v>54.381100000000004</c:v>
                </c:pt>
                <c:pt idx="3">
                  <c:v>23.583600000000001</c:v>
                </c:pt>
                <c:pt idx="4">
                  <c:v>49.535800000000002</c:v>
                </c:pt>
                <c:pt idx="5">
                  <c:v>32.756</c:v>
                </c:pt>
                <c:pt idx="6">
                  <c:v>31.808399999999999</c:v>
                </c:pt>
                <c:pt idx="7">
                  <c:v>32.778799999999997</c:v>
                </c:pt>
              </c:numCache>
            </c:numRef>
          </c:xVal>
          <c:yVal>
            <c:numRef>
              <c:f>Sheet1!$B$2:$B$9</c:f>
              <c:numCache>
                <c:formatCode>General</c:formatCode>
                <c:ptCount val="8"/>
                <c:pt idx="0">
                  <c:v>1.51</c:v>
                </c:pt>
                <c:pt idx="1">
                  <c:v>1.208</c:v>
                </c:pt>
                <c:pt idx="2">
                  <c:v>1.0049999999999999</c:v>
                </c:pt>
                <c:pt idx="3">
                  <c:v>0.48799999999999999</c:v>
                </c:pt>
                <c:pt idx="4">
                  <c:v>0.99299999999999999</c:v>
                </c:pt>
                <c:pt idx="5">
                  <c:v>0.71199999999999997</c:v>
                </c:pt>
                <c:pt idx="6">
                  <c:v>0.65300000000000002</c:v>
                </c:pt>
                <c:pt idx="7">
                  <c:v>0.65900000000000003</c:v>
                </c:pt>
              </c:numCache>
            </c:numRef>
          </c:yVal>
          <c:bubbleSize>
            <c:numRef>
              <c:f>Sheet1!$C$2:$C$9</c:f>
              <c:numCache>
                <c:formatCode>General</c:formatCode>
                <c:ptCount val="8"/>
                <c:pt idx="0">
                  <c:v>2105129</c:v>
                </c:pt>
                <c:pt idx="1">
                  <c:v>659076</c:v>
                </c:pt>
                <c:pt idx="2">
                  <c:v>376426</c:v>
                </c:pt>
                <c:pt idx="3">
                  <c:v>341726</c:v>
                </c:pt>
                <c:pt idx="4">
                  <c:v>299345</c:v>
                </c:pt>
                <c:pt idx="5">
                  <c:v>279016</c:v>
                </c:pt>
                <c:pt idx="6">
                  <c:v>210031</c:v>
                </c:pt>
                <c:pt idx="7">
                  <c:v>19900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Laurent Perrier</c:v>
                  </c:pt>
                  <c:pt idx="3">
                    <c:v>Malard Nicolas</c:v>
                  </c:pt>
                  <c:pt idx="4">
                    <c:v>Bollinger</c:v>
                  </c:pt>
                  <c:pt idx="5">
                    <c:v>Vranken Pommery</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67626E-C526-4933-B7D4-6425E90F97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FD6780-B372-4833-BCBE-9EC44DB9D1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7439CD-92B7-44F7-BF13-A69C13C65F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B497D5-AE52-449A-A9A7-CA682AC9FB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C62DAD-96CF-49D1-97CC-712D455E54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640FED-5D8E-4CAB-A880-B0C3999248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1C5C9B2-63BB-414B-9B29-51F8AAA356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07BF41-95DE-4B33-8798-9A9DEAA3B8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020300000000006</c:v>
                </c:pt>
                <c:pt idx="1">
                  <c:v>57.9754</c:v>
                </c:pt>
                <c:pt idx="2">
                  <c:v>23.845400000000001</c:v>
                </c:pt>
                <c:pt idx="3">
                  <c:v>33.848300000000002</c:v>
                </c:pt>
                <c:pt idx="4">
                  <c:v>31.915800000000001</c:v>
                </c:pt>
                <c:pt idx="5">
                  <c:v>52.681399999999996</c:v>
                </c:pt>
                <c:pt idx="6">
                  <c:v>56.263100000000001</c:v>
                </c:pt>
                <c:pt idx="7">
                  <c:v>33.282400000000003</c:v>
                </c:pt>
              </c:numCache>
            </c:numRef>
          </c:xVal>
          <c:yVal>
            <c:numRef>
              <c:f>Sheet1!$B$2:$B$9</c:f>
              <c:numCache>
                <c:formatCode>General</c:formatCode>
                <c:ptCount val="8"/>
                <c:pt idx="0">
                  <c:v>1.552</c:v>
                </c:pt>
                <c:pt idx="1">
                  <c:v>1.1759999999999999</c:v>
                </c:pt>
                <c:pt idx="2">
                  <c:v>0.505</c:v>
                </c:pt>
                <c:pt idx="3">
                  <c:v>0.75900000000000001</c:v>
                </c:pt>
                <c:pt idx="4">
                  <c:v>0.67700000000000005</c:v>
                </c:pt>
                <c:pt idx="5">
                  <c:v>1.093</c:v>
                </c:pt>
                <c:pt idx="6">
                  <c:v>1.022</c:v>
                </c:pt>
                <c:pt idx="7">
                  <c:v>0.68799999999999994</c:v>
                </c:pt>
              </c:numCache>
            </c:numRef>
          </c:yVal>
          <c:bubbleSize>
            <c:numRef>
              <c:f>Sheet1!$C$2:$C$9</c:f>
              <c:numCache>
                <c:formatCode>General</c:formatCode>
                <c:ptCount val="8"/>
                <c:pt idx="0">
                  <c:v>1282674</c:v>
                </c:pt>
                <c:pt idx="1">
                  <c:v>337127</c:v>
                </c:pt>
                <c:pt idx="2">
                  <c:v>244415</c:v>
                </c:pt>
                <c:pt idx="3">
                  <c:v>207084</c:v>
                </c:pt>
                <c:pt idx="4">
                  <c:v>135355</c:v>
                </c:pt>
                <c:pt idx="5">
                  <c:v>131124</c:v>
                </c:pt>
                <c:pt idx="6">
                  <c:v>127436</c:v>
                </c:pt>
                <c:pt idx="7">
                  <c:v>107702</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Malard</c:v>
                  </c:pt>
                  <c:pt idx="5">
                    <c:v>Bollinger</c:v>
                  </c:pt>
                  <c:pt idx="6">
                    <c:v>Laurent Perrier</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D81F99-02AA-4D33-8319-A44246267C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441340-E4B3-4E68-A847-8F1173A086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DDB388-D74C-4272-B340-EF1D87438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86F6DF-E42A-4084-98CD-477ACE5043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397619-222F-487F-B541-A672626BB1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E55412-99C1-438B-9713-20F5DA6ABF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AC12ED-951F-441E-B3A3-13699BF528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5E8DF8-9CFB-422F-9426-6F7A6A7FC1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956500000000005</c:v>
                </c:pt>
                <c:pt idx="1">
                  <c:v>55.317399999999999</c:v>
                </c:pt>
                <c:pt idx="2">
                  <c:v>23.517700000000001</c:v>
                </c:pt>
                <c:pt idx="3">
                  <c:v>32.700099999999999</c:v>
                </c:pt>
                <c:pt idx="4">
                  <c:v>52.257300000000001</c:v>
                </c:pt>
                <c:pt idx="5">
                  <c:v>47.410200000000003</c:v>
                </c:pt>
                <c:pt idx="6">
                  <c:v>31.525200000000002</c:v>
                </c:pt>
                <c:pt idx="7">
                  <c:v>40.2515</c:v>
                </c:pt>
              </c:numCache>
            </c:numRef>
          </c:xVal>
          <c:yVal>
            <c:numRef>
              <c:f>Sheet1!$B$2:$B$9</c:f>
              <c:numCache>
                <c:formatCode>General</c:formatCode>
                <c:ptCount val="8"/>
                <c:pt idx="0">
                  <c:v>1.5860000000000001</c:v>
                </c:pt>
                <c:pt idx="1">
                  <c:v>1.2729999999999999</c:v>
                </c:pt>
                <c:pt idx="2">
                  <c:v>0.54800000000000004</c:v>
                </c:pt>
                <c:pt idx="3">
                  <c:v>0.79</c:v>
                </c:pt>
                <c:pt idx="4">
                  <c:v>1.0920000000000001</c:v>
                </c:pt>
                <c:pt idx="5">
                  <c:v>1.0760000000000001</c:v>
                </c:pt>
                <c:pt idx="6">
                  <c:v>0.72899999999999998</c:v>
                </c:pt>
                <c:pt idx="7">
                  <c:v>0.98299999999999998</c:v>
                </c:pt>
              </c:numCache>
            </c:numRef>
          </c:yVal>
          <c:bubbleSize>
            <c:numRef>
              <c:f>Sheet1!$C$2:$C$9</c:f>
              <c:numCache>
                <c:formatCode>General</c:formatCode>
                <c:ptCount val="8"/>
                <c:pt idx="0">
                  <c:v>13357496</c:v>
                </c:pt>
                <c:pt idx="1">
                  <c:v>4898521</c:v>
                </c:pt>
                <c:pt idx="2">
                  <c:v>3777041</c:v>
                </c:pt>
                <c:pt idx="3">
                  <c:v>3042742</c:v>
                </c:pt>
                <c:pt idx="4">
                  <c:v>2432264</c:v>
                </c:pt>
                <c:pt idx="5">
                  <c:v>2388003</c:v>
                </c:pt>
                <c:pt idx="6">
                  <c:v>2351274</c:v>
                </c:pt>
                <c:pt idx="7">
                  <c:v>167953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82D10E-75BD-4C1C-9362-972EAD3C0C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775C3A-0129-444D-9BF4-D7989499E2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9E93B4-8D0B-457F-977D-6E2C298016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C31CCC-63E9-445E-B287-4F9651830C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A2C3F0-6DCE-425D-AE96-CEC42A9F50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65AD86-E580-43FB-B3E9-22486D6CD1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AF53395-DBDC-4F74-906A-84C0C65834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1C0B7D-6D01-4AB0-9D98-57206D1FF9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842799999999997</c:v>
                </c:pt>
                <c:pt idx="1">
                  <c:v>58.642800000000001</c:v>
                </c:pt>
                <c:pt idx="2">
                  <c:v>23.5246</c:v>
                </c:pt>
                <c:pt idx="3">
                  <c:v>32.865099999999998</c:v>
                </c:pt>
                <c:pt idx="4">
                  <c:v>54.3947</c:v>
                </c:pt>
                <c:pt idx="5">
                  <c:v>50.677700000000002</c:v>
                </c:pt>
                <c:pt idx="6">
                  <c:v>31.468499999999999</c:v>
                </c:pt>
                <c:pt idx="7">
                  <c:v>57.941000000000003</c:v>
                </c:pt>
              </c:numCache>
            </c:numRef>
          </c:xVal>
          <c:yVal>
            <c:numRef>
              <c:f>Sheet1!$B$2:$B$9</c:f>
              <c:numCache>
                <c:formatCode>General</c:formatCode>
                <c:ptCount val="8"/>
                <c:pt idx="0">
                  <c:v>1.583</c:v>
                </c:pt>
                <c:pt idx="1">
                  <c:v>1.222</c:v>
                </c:pt>
                <c:pt idx="2">
                  <c:v>0.51500000000000001</c:v>
                </c:pt>
                <c:pt idx="3">
                  <c:v>0.75</c:v>
                </c:pt>
                <c:pt idx="4">
                  <c:v>1.073</c:v>
                </c:pt>
                <c:pt idx="5">
                  <c:v>1.08</c:v>
                </c:pt>
                <c:pt idx="6">
                  <c:v>0.69099999999999995</c:v>
                </c:pt>
                <c:pt idx="7">
                  <c:v>1.0880000000000001</c:v>
                </c:pt>
              </c:numCache>
            </c:numRef>
          </c:yVal>
          <c:bubbleSize>
            <c:numRef>
              <c:f>Sheet1!$C$2:$C$9</c:f>
              <c:numCache>
                <c:formatCode>General</c:formatCode>
                <c:ptCount val="8"/>
                <c:pt idx="0">
                  <c:v>2321247</c:v>
                </c:pt>
                <c:pt idx="1">
                  <c:v>726291</c:v>
                </c:pt>
                <c:pt idx="2">
                  <c:v>627165</c:v>
                </c:pt>
                <c:pt idx="3">
                  <c:v>457943</c:v>
                </c:pt>
                <c:pt idx="4">
                  <c:v>344699</c:v>
                </c:pt>
                <c:pt idx="5">
                  <c:v>289167</c:v>
                </c:pt>
                <c:pt idx="6">
                  <c:v>211311</c:v>
                </c:pt>
                <c:pt idx="7">
                  <c:v>18077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9EAD93-0DCD-4F56-9010-41EB0DC187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1F4758-D3D9-407F-BEC4-C46BFE4BD8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469CFE-F324-4239-A7C6-3EDEECFCD4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E73115-5BF7-4BCB-BBF4-1F1C18E866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B6F877-50AB-47D0-A057-BA1CE100FA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FC2377-C412-4636-B7BD-569F89C4B5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91336D4-7D24-4E97-B94B-652458EC3A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5E0194-7979-4355-86B1-B16EDC44A9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195400000000006</c:v>
                </c:pt>
                <c:pt idx="1">
                  <c:v>55.173999999999999</c:v>
                </c:pt>
                <c:pt idx="2">
                  <c:v>24.571100000000001</c:v>
                </c:pt>
                <c:pt idx="3">
                  <c:v>32.592799999999997</c:v>
                </c:pt>
                <c:pt idx="4">
                  <c:v>47.9236</c:v>
                </c:pt>
                <c:pt idx="5">
                  <c:v>31.674600000000002</c:v>
                </c:pt>
                <c:pt idx="6">
                  <c:v>56.163400000000003</c:v>
                </c:pt>
                <c:pt idx="7">
                  <c:v>40.958199999999998</c:v>
                </c:pt>
              </c:numCache>
            </c:numRef>
          </c:xVal>
          <c:yVal>
            <c:numRef>
              <c:f>Sheet1!$B$2:$B$9</c:f>
              <c:numCache>
                <c:formatCode>General</c:formatCode>
                <c:ptCount val="8"/>
                <c:pt idx="0">
                  <c:v>1.609</c:v>
                </c:pt>
                <c:pt idx="1">
                  <c:v>1.202</c:v>
                </c:pt>
                <c:pt idx="2">
                  <c:v>0.55300000000000005</c:v>
                </c:pt>
                <c:pt idx="3">
                  <c:v>0.77300000000000002</c:v>
                </c:pt>
                <c:pt idx="4">
                  <c:v>1.0640000000000001</c:v>
                </c:pt>
                <c:pt idx="5">
                  <c:v>0.71699999999999997</c:v>
                </c:pt>
                <c:pt idx="6">
                  <c:v>1.081</c:v>
                </c:pt>
                <c:pt idx="7">
                  <c:v>0.98299999999999998</c:v>
                </c:pt>
              </c:numCache>
            </c:numRef>
          </c:yVal>
          <c:bubbleSize>
            <c:numRef>
              <c:f>Sheet1!$C$2:$C$9</c:f>
              <c:numCache>
                <c:formatCode>General</c:formatCode>
                <c:ptCount val="8"/>
                <c:pt idx="0">
                  <c:v>1062933</c:v>
                </c:pt>
                <c:pt idx="1">
                  <c:v>426385</c:v>
                </c:pt>
                <c:pt idx="2">
                  <c:v>277285</c:v>
                </c:pt>
                <c:pt idx="3">
                  <c:v>254713</c:v>
                </c:pt>
                <c:pt idx="4">
                  <c:v>211918</c:v>
                </c:pt>
                <c:pt idx="5">
                  <c:v>176681</c:v>
                </c:pt>
                <c:pt idx="6">
                  <c:v>160908</c:v>
                </c:pt>
                <c:pt idx="7">
                  <c:v>12627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3E5385-51C9-413A-BFDD-66A590DF8B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C4F8E9-45FA-4D09-BD77-F1D9874518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3FF7B3-AE68-435F-A0F6-6522A30FB3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B3CB77-B024-4EFA-9E4A-6C32D367A4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FB33A6-C77D-4F27-9C52-ABD6AFCEE6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32E014-6AF3-4A59-9A66-9634F9E9AF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85AD7A-DCC4-4BD2-ACF0-A1CE45CD3E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0038E0-19B1-4F53-906D-C6F86CCBE5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899100000000004</c:v>
                </c:pt>
                <c:pt idx="1">
                  <c:v>54.712299999999999</c:v>
                </c:pt>
                <c:pt idx="2">
                  <c:v>23.0381</c:v>
                </c:pt>
                <c:pt idx="3">
                  <c:v>32.217399999999998</c:v>
                </c:pt>
                <c:pt idx="4">
                  <c:v>46.205500000000001</c:v>
                </c:pt>
                <c:pt idx="5">
                  <c:v>31.597000000000001</c:v>
                </c:pt>
                <c:pt idx="6">
                  <c:v>42.406300000000002</c:v>
                </c:pt>
                <c:pt idx="7">
                  <c:v>30.6097</c:v>
                </c:pt>
              </c:numCache>
            </c:numRef>
          </c:xVal>
          <c:yVal>
            <c:numRef>
              <c:f>Sheet1!$B$2:$B$9</c:f>
              <c:numCache>
                <c:formatCode>General</c:formatCode>
                <c:ptCount val="8"/>
                <c:pt idx="0">
                  <c:v>1.7030000000000001</c:v>
                </c:pt>
                <c:pt idx="1">
                  <c:v>1.3089999999999999</c:v>
                </c:pt>
                <c:pt idx="2">
                  <c:v>0.56599999999999995</c:v>
                </c:pt>
                <c:pt idx="3">
                  <c:v>0.81</c:v>
                </c:pt>
                <c:pt idx="4">
                  <c:v>1.113</c:v>
                </c:pt>
                <c:pt idx="5">
                  <c:v>0.77300000000000002</c:v>
                </c:pt>
                <c:pt idx="6">
                  <c:v>1.077</c:v>
                </c:pt>
                <c:pt idx="7">
                  <c:v>0.75</c:v>
                </c:pt>
              </c:numCache>
            </c:numRef>
          </c:yVal>
          <c:bubbleSize>
            <c:numRef>
              <c:f>Sheet1!$C$2:$C$9</c:f>
              <c:numCache>
                <c:formatCode>General</c:formatCode>
                <c:ptCount val="8"/>
                <c:pt idx="0">
                  <c:v>463893</c:v>
                </c:pt>
                <c:pt idx="1">
                  <c:v>228424</c:v>
                </c:pt>
                <c:pt idx="2">
                  <c:v>215798</c:v>
                </c:pt>
                <c:pt idx="3">
                  <c:v>155127</c:v>
                </c:pt>
                <c:pt idx="4">
                  <c:v>112418</c:v>
                </c:pt>
                <c:pt idx="5">
                  <c:v>95486</c:v>
                </c:pt>
                <c:pt idx="6">
                  <c:v>75568</c:v>
                </c:pt>
                <c:pt idx="7">
                  <c:v>7129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nson-Bcc</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DDA7DB-8683-4E0A-932B-7008795545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40CBE5-977E-4BF7-8845-A1EEADCD72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26B609-71AF-4587-818A-B0834BD2E1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AE5C54-0AB7-44F0-89A9-1AA3A14C5B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5686BC-F418-49F9-A798-C78B26C0A6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4ECEBE-2897-4339-BCAE-C12133A457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ABAF98-7AA2-4B46-B475-1C4F3B0CA3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598249-2B03-4920-9C27-747AFCE19A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493499999999997</c:v>
                </c:pt>
                <c:pt idx="1">
                  <c:v>23.1036</c:v>
                </c:pt>
                <c:pt idx="2">
                  <c:v>57.791600000000003</c:v>
                </c:pt>
                <c:pt idx="3">
                  <c:v>35.407400000000003</c:v>
                </c:pt>
                <c:pt idx="4">
                  <c:v>51.795299999999997</c:v>
                </c:pt>
                <c:pt idx="5">
                  <c:v>32.034199999999998</c:v>
                </c:pt>
                <c:pt idx="6">
                  <c:v>55.900500000000001</c:v>
                </c:pt>
                <c:pt idx="7">
                  <c:v>41.172800000000002</c:v>
                </c:pt>
              </c:numCache>
            </c:numRef>
          </c:xVal>
          <c:yVal>
            <c:numRef>
              <c:f>Sheet1!$B$2:$B$9</c:f>
              <c:numCache>
                <c:formatCode>General</c:formatCode>
                <c:ptCount val="8"/>
                <c:pt idx="0">
                  <c:v>1.681</c:v>
                </c:pt>
                <c:pt idx="1">
                  <c:v>0.57599999999999996</c:v>
                </c:pt>
                <c:pt idx="2">
                  <c:v>1.391</c:v>
                </c:pt>
                <c:pt idx="3">
                  <c:v>0.93</c:v>
                </c:pt>
                <c:pt idx="4">
                  <c:v>1.244</c:v>
                </c:pt>
                <c:pt idx="5">
                  <c:v>0.79800000000000004</c:v>
                </c:pt>
                <c:pt idx="6">
                  <c:v>1.1919999999999999</c:v>
                </c:pt>
                <c:pt idx="7">
                  <c:v>1.0780000000000001</c:v>
                </c:pt>
              </c:numCache>
            </c:numRef>
          </c:yVal>
          <c:bubbleSize>
            <c:numRef>
              <c:f>Sheet1!$C$2:$C$9</c:f>
              <c:numCache>
                <c:formatCode>General</c:formatCode>
                <c:ptCount val="8"/>
                <c:pt idx="0">
                  <c:v>368107</c:v>
                </c:pt>
                <c:pt idx="1">
                  <c:v>151005</c:v>
                </c:pt>
                <c:pt idx="2">
                  <c:v>145057</c:v>
                </c:pt>
                <c:pt idx="3">
                  <c:v>100557</c:v>
                </c:pt>
                <c:pt idx="4">
                  <c:v>99706</c:v>
                </c:pt>
                <c:pt idx="5">
                  <c:v>71244</c:v>
                </c:pt>
                <c:pt idx="6">
                  <c:v>66298</c:v>
                </c:pt>
                <c:pt idx="7">
                  <c:v>66000</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Roederer</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C447C7A-A222-46AF-B546-176EED3C96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6612F93-4A03-4797-A14F-BCE93F07DC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19B0D53-9F8C-4C57-A2FF-4E76E14648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129A1241-1B9F-4FF7-9D67-13171E173A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FE9971F-498E-4F5A-8C1A-30BBD93430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CEA5436-4453-44F7-A5A6-ED92BF380E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113D89E-C398-4F15-9E30-19BEB31E70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B29D664-C622-4464-AE49-E5271F0C28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984000000000002</c:v>
                </c:pt>
                <c:pt idx="1">
                  <c:v>11.5024</c:v>
                </c:pt>
              </c:numCache>
            </c:numRef>
          </c:xVal>
          <c:yVal>
            <c:numRef>
              <c:f>Sheet1!$B$2:$B$3</c:f>
              <c:numCache>
                <c:formatCode>General</c:formatCode>
                <c:ptCount val="2"/>
                <c:pt idx="0">
                  <c:v>1.706</c:v>
                </c:pt>
                <c:pt idx="1">
                  <c:v>0.68300000000000005</c:v>
                </c:pt>
              </c:numCache>
            </c:numRef>
          </c:yVal>
          <c:bubbleSize>
            <c:numRef>
              <c:f>Sheet1!$C$2:$C$3</c:f>
              <c:numCache>
                <c:formatCode>General</c:formatCode>
                <c:ptCount val="2"/>
                <c:pt idx="0">
                  <c:v>5637</c:v>
                </c:pt>
                <c:pt idx="1">
                  <c:v>4716</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8F634A-EB01-4F6E-A6DA-2B4742CC39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39B997-6F3A-44BF-9129-80D1EA7B87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6D45D8-2D45-44EF-BE34-31D897F44B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E6AEF2-73A3-4C5F-91F3-38135356C3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6907EA-9B13-4AC6-A88D-2591EF70CA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ADE64B-D224-4F3D-8F90-B33AC9D09C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CC4011-E6E9-4F33-AD70-D2DF6CBBEB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F9F64B-2CD4-48A0-9ADD-3D5B307F29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257900000000006</c:v>
                </c:pt>
                <c:pt idx="1">
                  <c:v>59.653399999999998</c:v>
                </c:pt>
                <c:pt idx="2">
                  <c:v>23.547599999999999</c:v>
                </c:pt>
                <c:pt idx="3">
                  <c:v>32.562199999999997</c:v>
                </c:pt>
                <c:pt idx="4">
                  <c:v>54.731099999999998</c:v>
                </c:pt>
                <c:pt idx="5">
                  <c:v>49.309899999999999</c:v>
                </c:pt>
                <c:pt idx="6">
                  <c:v>31.505700000000001</c:v>
                </c:pt>
                <c:pt idx="7">
                  <c:v>32.752200000000002</c:v>
                </c:pt>
              </c:numCache>
            </c:numRef>
          </c:xVal>
          <c:yVal>
            <c:numRef>
              <c:f>Sheet1!$B$2:$B$9</c:f>
              <c:numCache>
                <c:formatCode>General</c:formatCode>
                <c:ptCount val="8"/>
                <c:pt idx="0">
                  <c:v>1.5860000000000001</c:v>
                </c:pt>
                <c:pt idx="1">
                  <c:v>1.284</c:v>
                </c:pt>
                <c:pt idx="2">
                  <c:v>0.51500000000000001</c:v>
                </c:pt>
                <c:pt idx="3">
                  <c:v>0.751</c:v>
                </c:pt>
                <c:pt idx="4">
                  <c:v>1.0740000000000001</c:v>
                </c:pt>
                <c:pt idx="5">
                  <c:v>1.0469999999999999</c:v>
                </c:pt>
                <c:pt idx="6">
                  <c:v>0.68600000000000005</c:v>
                </c:pt>
                <c:pt idx="7">
                  <c:v>0.70499999999999996</c:v>
                </c:pt>
              </c:numCache>
            </c:numRef>
          </c:yVal>
          <c:bubbleSize>
            <c:numRef>
              <c:f>Sheet1!$C$2:$C$9</c:f>
              <c:numCache>
                <c:formatCode>General</c:formatCode>
                <c:ptCount val="8"/>
                <c:pt idx="0">
                  <c:v>6310000</c:v>
                </c:pt>
                <c:pt idx="1">
                  <c:v>2210575</c:v>
                </c:pt>
                <c:pt idx="2">
                  <c:v>1456865</c:v>
                </c:pt>
                <c:pt idx="3">
                  <c:v>1190148</c:v>
                </c:pt>
                <c:pt idx="4">
                  <c:v>1142622</c:v>
                </c:pt>
                <c:pt idx="5">
                  <c:v>1020320</c:v>
                </c:pt>
                <c:pt idx="6">
                  <c:v>828914</c:v>
                </c:pt>
                <c:pt idx="7">
                  <c:v>63486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06F6CB-315D-4A95-8B1F-9CDF0DC5EA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5B48E3-33AB-4562-8418-FE0F7CB33A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D92552-E620-49FB-9687-9F508E7D58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70BC5B-66A7-4363-A7DF-E995264178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23B769-7278-47E8-ACD7-B7FFA62A73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EB4DD4-5FA5-4B1A-A9CE-E6B753ABB6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FC3D22-646A-4389-9A9F-D7EA293078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B790D0A-B7BC-4352-BA41-85A9D86F58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626400000000004</c:v>
                </c:pt>
                <c:pt idx="1">
                  <c:v>53.305</c:v>
                </c:pt>
                <c:pt idx="2">
                  <c:v>23.331199999999999</c:v>
                </c:pt>
                <c:pt idx="3">
                  <c:v>32.874699999999997</c:v>
                </c:pt>
                <c:pt idx="4">
                  <c:v>51.434100000000001</c:v>
                </c:pt>
                <c:pt idx="5">
                  <c:v>46.979399999999998</c:v>
                </c:pt>
                <c:pt idx="6">
                  <c:v>31.512499999999999</c:v>
                </c:pt>
                <c:pt idx="7">
                  <c:v>40.131700000000002</c:v>
                </c:pt>
              </c:numCache>
            </c:numRef>
          </c:xVal>
          <c:yVal>
            <c:numRef>
              <c:f>Sheet1!$B$2:$B$9</c:f>
              <c:numCache>
                <c:formatCode>General</c:formatCode>
                <c:ptCount val="8"/>
                <c:pt idx="0">
                  <c:v>1.585</c:v>
                </c:pt>
                <c:pt idx="1">
                  <c:v>1.252</c:v>
                </c:pt>
                <c:pt idx="2">
                  <c:v>0.55600000000000005</c:v>
                </c:pt>
                <c:pt idx="3">
                  <c:v>0.80700000000000005</c:v>
                </c:pt>
                <c:pt idx="4">
                  <c:v>1.1000000000000001</c:v>
                </c:pt>
                <c:pt idx="5">
                  <c:v>1.091</c:v>
                </c:pt>
                <c:pt idx="6">
                  <c:v>0.747</c:v>
                </c:pt>
                <c:pt idx="7">
                  <c:v>1.0109999999999999</c:v>
                </c:pt>
              </c:numCache>
            </c:numRef>
          </c:yVal>
          <c:bubbleSize>
            <c:numRef>
              <c:f>Sheet1!$C$2:$C$9</c:f>
              <c:numCache>
                <c:formatCode>General</c:formatCode>
                <c:ptCount val="8"/>
                <c:pt idx="0">
                  <c:v>2621943</c:v>
                </c:pt>
                <c:pt idx="1">
                  <c:v>1039074</c:v>
                </c:pt>
                <c:pt idx="2">
                  <c:v>846597</c:v>
                </c:pt>
                <c:pt idx="3">
                  <c:v>661800</c:v>
                </c:pt>
                <c:pt idx="4">
                  <c:v>525811</c:v>
                </c:pt>
                <c:pt idx="5">
                  <c:v>476747</c:v>
                </c:pt>
                <c:pt idx="6">
                  <c:v>464085</c:v>
                </c:pt>
                <c:pt idx="7">
                  <c:v>34517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F93D2F-82FF-49B7-A0AF-A2A1EE255C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8BD185-EBA0-4B3E-81DB-5300578AE9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E96BFF-633F-4654-8876-CF7184448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E6D8C7-6692-4684-913A-339A715FDA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E4CEC4-1E41-4727-B3C2-D2257FEFEF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D779A9-F7A4-4549-AF77-F294AB4B62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FE8EB1-0E0D-4600-B45D-244BCC397C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4BDA36E-46D7-412F-B29D-68FB084360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836399999999998</c:v>
                </c:pt>
                <c:pt idx="1">
                  <c:v>54.970700000000001</c:v>
                </c:pt>
                <c:pt idx="2">
                  <c:v>23.511199999999999</c:v>
                </c:pt>
                <c:pt idx="3">
                  <c:v>32.854700000000001</c:v>
                </c:pt>
                <c:pt idx="4">
                  <c:v>46.3675</c:v>
                </c:pt>
                <c:pt idx="5">
                  <c:v>31.48</c:v>
                </c:pt>
                <c:pt idx="6">
                  <c:v>52.412700000000001</c:v>
                </c:pt>
                <c:pt idx="7">
                  <c:v>40.483800000000002</c:v>
                </c:pt>
              </c:numCache>
            </c:numRef>
          </c:xVal>
          <c:yVal>
            <c:numRef>
              <c:f>Sheet1!$B$2:$B$9</c:f>
              <c:numCache>
                <c:formatCode>General</c:formatCode>
                <c:ptCount val="8"/>
                <c:pt idx="0">
                  <c:v>1.609</c:v>
                </c:pt>
                <c:pt idx="1">
                  <c:v>1.2749999999999999</c:v>
                </c:pt>
                <c:pt idx="2">
                  <c:v>0.55900000000000005</c:v>
                </c:pt>
                <c:pt idx="3">
                  <c:v>0.80700000000000005</c:v>
                </c:pt>
                <c:pt idx="4">
                  <c:v>1.0780000000000001</c:v>
                </c:pt>
                <c:pt idx="5">
                  <c:v>0.745</c:v>
                </c:pt>
                <c:pt idx="6">
                  <c:v>1.1080000000000001</c:v>
                </c:pt>
                <c:pt idx="7">
                  <c:v>1.01</c:v>
                </c:pt>
              </c:numCache>
            </c:numRef>
          </c:yVal>
          <c:bubbleSize>
            <c:numRef>
              <c:f>Sheet1!$C$2:$C$9</c:f>
              <c:numCache>
                <c:formatCode>General</c:formatCode>
                <c:ptCount val="8"/>
                <c:pt idx="0">
                  <c:v>4168455</c:v>
                </c:pt>
                <c:pt idx="1">
                  <c:v>1504989</c:v>
                </c:pt>
                <c:pt idx="2">
                  <c:v>1311876</c:v>
                </c:pt>
                <c:pt idx="3">
                  <c:v>1024081</c:v>
                </c:pt>
                <c:pt idx="4">
                  <c:v>791865</c:v>
                </c:pt>
                <c:pt idx="5">
                  <c:v>730304</c:v>
                </c:pt>
                <c:pt idx="6">
                  <c:v>682885</c:v>
                </c:pt>
                <c:pt idx="7">
                  <c:v>528597</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Malard</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49A081-CB98-45F0-ADF5-769CA795F8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08A487-D964-45FC-B540-D28BE850F3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33A146-A678-448B-860E-FA39132D31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09A836-5EBA-4074-BF2D-FF4BD73C5C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B44F23-18E9-43E7-B838-86D4C876F6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3E9FBC-2358-4668-BAF7-8D4B392029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4020AE-FBD8-44F4-8A79-EE4AD35114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360875-2AA4-4939-A878-4BA6E36C99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467699999999994</c:v>
                </c:pt>
                <c:pt idx="1">
                  <c:v>53.702399999999997</c:v>
                </c:pt>
                <c:pt idx="2">
                  <c:v>23.655200000000001</c:v>
                </c:pt>
                <c:pt idx="3">
                  <c:v>32.689100000000003</c:v>
                </c:pt>
                <c:pt idx="4">
                  <c:v>31.5063</c:v>
                </c:pt>
                <c:pt idx="5">
                  <c:v>47.947299999999998</c:v>
                </c:pt>
                <c:pt idx="6">
                  <c:v>52.280799999999999</c:v>
                </c:pt>
                <c:pt idx="7">
                  <c:v>40.0745</c:v>
                </c:pt>
              </c:numCache>
            </c:numRef>
          </c:xVal>
          <c:yVal>
            <c:numRef>
              <c:f>Sheet1!$B$2:$B$9</c:f>
              <c:numCache>
                <c:formatCode>General</c:formatCode>
                <c:ptCount val="8"/>
                <c:pt idx="0">
                  <c:v>1.6040000000000001</c:v>
                </c:pt>
                <c:pt idx="1">
                  <c:v>1.248</c:v>
                </c:pt>
                <c:pt idx="2">
                  <c:v>0.56399999999999995</c:v>
                </c:pt>
                <c:pt idx="3">
                  <c:v>0.80700000000000005</c:v>
                </c:pt>
                <c:pt idx="4">
                  <c:v>0.748</c:v>
                </c:pt>
                <c:pt idx="5">
                  <c:v>1.111</c:v>
                </c:pt>
                <c:pt idx="6">
                  <c:v>1.0960000000000001</c:v>
                </c:pt>
                <c:pt idx="7">
                  <c:v>1.002</c:v>
                </c:pt>
              </c:numCache>
            </c:numRef>
          </c:yVal>
          <c:bubbleSize>
            <c:numRef>
              <c:f>Sheet1!$C$2:$C$9</c:f>
              <c:numCache>
                <c:formatCode>General</c:formatCode>
                <c:ptCount val="8"/>
                <c:pt idx="0">
                  <c:v>3276523</c:v>
                </c:pt>
                <c:pt idx="1">
                  <c:v>1220549</c:v>
                </c:pt>
                <c:pt idx="2">
                  <c:v>1019585</c:v>
                </c:pt>
                <c:pt idx="3">
                  <c:v>838932</c:v>
                </c:pt>
                <c:pt idx="4">
                  <c:v>627069</c:v>
                </c:pt>
                <c:pt idx="5">
                  <c:v>586875</c:v>
                </c:pt>
                <c:pt idx="6">
                  <c:v>511724</c:v>
                </c:pt>
                <c:pt idx="7">
                  <c:v>49251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Malard</c:v>
                  </c:pt>
                  <c:pt idx="5">
                    <c:v>Bollinger</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BB37E7-4D4F-4207-B6E0-F5DEF41A13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3D9E63-90D2-4AC3-B7BE-4DFE5229D5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33B2EC-8F2C-486C-AFDA-6B59DDD208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0E9D7B-92D6-4ACE-91D7-0FCAEC5A16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043828-7739-45FE-A1AB-AFB0C1FE50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E24710-409E-459A-9EC9-8F04B914B9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1A4D80C-052C-442C-B468-5A36734AB2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8437382-F344-4BA7-8E03-C7AD1733EC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7.668199999999999</c:v>
                </c:pt>
                <c:pt idx="1">
                  <c:v>54.089399999999998</c:v>
                </c:pt>
                <c:pt idx="2">
                  <c:v>23.724799999999998</c:v>
                </c:pt>
                <c:pt idx="3">
                  <c:v>32.999400000000001</c:v>
                </c:pt>
                <c:pt idx="4">
                  <c:v>31.6996</c:v>
                </c:pt>
                <c:pt idx="5">
                  <c:v>46.7316</c:v>
                </c:pt>
                <c:pt idx="6">
                  <c:v>52.491900000000001</c:v>
                </c:pt>
                <c:pt idx="7">
                  <c:v>40.946800000000003</c:v>
                </c:pt>
              </c:numCache>
            </c:numRef>
          </c:xVal>
          <c:yVal>
            <c:numRef>
              <c:f>Sheet1!$B$2:$B$9</c:f>
              <c:numCache>
                <c:formatCode>General</c:formatCode>
                <c:ptCount val="8"/>
                <c:pt idx="0">
                  <c:v>1.6080000000000001</c:v>
                </c:pt>
                <c:pt idx="1">
                  <c:v>1.256</c:v>
                </c:pt>
                <c:pt idx="2">
                  <c:v>0.57199999999999995</c:v>
                </c:pt>
                <c:pt idx="3">
                  <c:v>0.81699999999999995</c:v>
                </c:pt>
                <c:pt idx="4">
                  <c:v>0.76200000000000001</c:v>
                </c:pt>
                <c:pt idx="5">
                  <c:v>1.103</c:v>
                </c:pt>
                <c:pt idx="6">
                  <c:v>1.1220000000000001</c:v>
                </c:pt>
                <c:pt idx="7">
                  <c:v>1.038</c:v>
                </c:pt>
              </c:numCache>
            </c:numRef>
          </c:yVal>
          <c:bubbleSize>
            <c:numRef>
              <c:f>Sheet1!$C$2:$C$9</c:f>
              <c:numCache>
                <c:formatCode>General</c:formatCode>
                <c:ptCount val="8"/>
                <c:pt idx="0">
                  <c:v>2905740</c:v>
                </c:pt>
                <c:pt idx="1">
                  <c:v>1063669</c:v>
                </c:pt>
                <c:pt idx="2">
                  <c:v>1047473</c:v>
                </c:pt>
                <c:pt idx="3">
                  <c:v>792679</c:v>
                </c:pt>
                <c:pt idx="4">
                  <c:v>584730</c:v>
                </c:pt>
                <c:pt idx="5">
                  <c:v>571995</c:v>
                </c:pt>
                <c:pt idx="6">
                  <c:v>451798</c:v>
                </c:pt>
                <c:pt idx="7">
                  <c:v>40394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Malard</c:v>
                  </c:pt>
                  <c:pt idx="5">
                    <c:v>Bollinger</c:v>
                  </c:pt>
                  <c:pt idx="6">
                    <c:v>Laurent Perri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08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70F20E-21A9-4124-8CE6-D75F50FD3E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BDED02-F01C-42F9-BF7F-5BEDF4D520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F28F5F-4ABE-4CB0-884C-98103838FE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0C6F25-635C-4139-BEF7-498992D8CB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FBFBCB-3B84-4BC4-8E54-D2CE083106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F4099A-ADEE-4108-BBDC-29F72AF6AB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75F7FA-0220-416C-90EA-11EF9A5C6B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B74F6B-2B5D-429C-8AE3-027684899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0999999999996</c:v>
                </c:pt>
                <c:pt idx="1">
                  <c:v>3.3847999999999998</c:v>
                </c:pt>
                <c:pt idx="2">
                  <c:v>5.8516000000000004</c:v>
                </c:pt>
                <c:pt idx="3">
                  <c:v>7.1054000000000004</c:v>
                </c:pt>
                <c:pt idx="4">
                  <c:v>6.9976000000000003</c:v>
                </c:pt>
                <c:pt idx="5">
                  <c:v>6.3041999999999998</c:v>
                </c:pt>
                <c:pt idx="6">
                  <c:v>5.0248999999999997</c:v>
                </c:pt>
                <c:pt idx="7">
                  <c:v>7.1954000000000002</c:v>
                </c:pt>
              </c:numCache>
            </c:numRef>
          </c:xVal>
          <c:yVal>
            <c:numRef>
              <c:f>Sheet1!$B$2:$B$9</c:f>
              <c:numCache>
                <c:formatCode>General</c:formatCode>
                <c:ptCount val="8"/>
                <c:pt idx="0">
                  <c:v>1.1240000000000001</c:v>
                </c:pt>
                <c:pt idx="1">
                  <c:v>0.39100000000000001</c:v>
                </c:pt>
                <c:pt idx="2">
                  <c:v>1.286</c:v>
                </c:pt>
                <c:pt idx="3">
                  <c:v>1.3109999999999999</c:v>
                </c:pt>
                <c:pt idx="4">
                  <c:v>1.8540000000000001</c:v>
                </c:pt>
                <c:pt idx="5">
                  <c:v>1.5669999999999999</c:v>
                </c:pt>
                <c:pt idx="6">
                  <c:v>0.45300000000000001</c:v>
                </c:pt>
                <c:pt idx="7">
                  <c:v>1.446</c:v>
                </c:pt>
              </c:numCache>
            </c:numRef>
          </c:yVal>
          <c:bubbleSize>
            <c:numRef>
              <c:f>Sheet1!$C$2:$C$9</c:f>
              <c:numCache>
                <c:formatCode>General</c:formatCode>
                <c:ptCount val="8"/>
                <c:pt idx="0">
                  <c:v>132987950</c:v>
                </c:pt>
                <c:pt idx="1">
                  <c:v>64054234</c:v>
                </c:pt>
                <c:pt idx="2">
                  <c:v>33996423</c:v>
                </c:pt>
                <c:pt idx="3">
                  <c:v>32603771</c:v>
                </c:pt>
                <c:pt idx="4">
                  <c:v>26217786</c:v>
                </c:pt>
                <c:pt idx="5">
                  <c:v>25107246</c:v>
                </c:pt>
                <c:pt idx="6">
                  <c:v>19939067</c:v>
                </c:pt>
                <c:pt idx="7">
                  <c:v>17071028</c:v>
                </c:pt>
              </c:numCache>
            </c:numRef>
          </c:bubbleSize>
          <c:bubble3D val="0"/>
          <c:extLst>
            <c:ext xmlns:c15="http://schemas.microsoft.com/office/drawing/2012/chart" uri="{02D57815-91ED-43cb-92C2-25804820EDAC}">
              <c15:datalabelsRange>
                <c15:f>Sheet1!$E$2:$E$10</c15:f>
                <c15:dlblRangeCache>
                  <c:ptCount val="9"/>
                  <c:pt idx="0">
                    <c:v>Mdd</c:v>
                  </c:pt>
                  <c:pt idx="1">
                    <c:v>Cfgv</c:v>
                  </c:pt>
                  <c:pt idx="2">
                    <c:v>Freixenet</c:v>
                  </c:pt>
                  <c:pt idx="3">
                    <c:v>Wolfberger</c:v>
                  </c:pt>
                  <c:pt idx="4">
                    <c:v>Campari</c:v>
                  </c:pt>
                  <c:pt idx="5">
                    <c:v>Castel</c:v>
                  </c:pt>
                  <c:pt idx="6">
                    <c:v>Kriter</c:v>
                  </c:pt>
                  <c:pt idx="7">
                    <c:v>Arthur Me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4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424635-1C9B-4570-A26A-DE62AC33D6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3B9561-2396-4962-A661-78EF81E2BD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53AAAA-36DF-4342-884B-F45EA971D2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54F6FE-BC18-48BA-BA07-374B0889E3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3CF1FA-5439-4AF7-9C16-C764D17E4C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39717F-2971-42C7-8D10-1985DEF0FC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511334-EC0A-40BB-87BF-5BE10BBD64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C9D1F1A-7043-417C-BB2B-6D516AABA2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982000000000001</c:v>
                </c:pt>
                <c:pt idx="1">
                  <c:v>11.451499999999999</c:v>
                </c:pt>
                <c:pt idx="2">
                  <c:v>10.206799999999999</c:v>
                </c:pt>
                <c:pt idx="3">
                  <c:v>17.4328</c:v>
                </c:pt>
                <c:pt idx="4">
                  <c:v>9.1104000000000003</c:v>
                </c:pt>
                <c:pt idx="5">
                  <c:v>11.800599999999999</c:v>
                </c:pt>
                <c:pt idx="6">
                  <c:v>11.4077</c:v>
                </c:pt>
                <c:pt idx="7">
                  <c:v>13.4663</c:v>
                </c:pt>
              </c:numCache>
            </c:numRef>
          </c:xVal>
          <c:yVal>
            <c:numRef>
              <c:f>Sheet1!$B$2:$B$9</c:f>
              <c:numCache>
                <c:formatCode>General</c:formatCode>
                <c:ptCount val="8"/>
                <c:pt idx="0">
                  <c:v>0.7</c:v>
                </c:pt>
                <c:pt idx="1">
                  <c:v>1.083</c:v>
                </c:pt>
                <c:pt idx="2">
                  <c:v>0.96499999999999997</c:v>
                </c:pt>
                <c:pt idx="3">
                  <c:v>1.667</c:v>
                </c:pt>
                <c:pt idx="4">
                  <c:v>0.86199999999999999</c:v>
                </c:pt>
                <c:pt idx="5">
                  <c:v>1.0640000000000001</c:v>
                </c:pt>
                <c:pt idx="6">
                  <c:v>1.08</c:v>
                </c:pt>
                <c:pt idx="7">
                  <c:v>1.2729999999999999</c:v>
                </c:pt>
              </c:numCache>
            </c:numRef>
          </c:yVal>
          <c:bubbleSize>
            <c:numRef>
              <c:f>Sheet1!$C$2:$C$9</c:f>
              <c:numCache>
                <c:formatCode>General</c:formatCode>
                <c:ptCount val="8"/>
                <c:pt idx="0">
                  <c:v>670018</c:v>
                </c:pt>
                <c:pt idx="1">
                  <c:v>607538</c:v>
                </c:pt>
                <c:pt idx="2">
                  <c:v>485974</c:v>
                </c:pt>
                <c:pt idx="3">
                  <c:v>388332</c:v>
                </c:pt>
                <c:pt idx="4">
                  <c:v>323774</c:v>
                </c:pt>
                <c:pt idx="5">
                  <c:v>305234</c:v>
                </c:pt>
                <c:pt idx="6">
                  <c:v>282454</c:v>
                </c:pt>
                <c:pt idx="7">
                  <c:v>158041</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Mure</c:v>
                  </c:pt>
                  <c:pt idx="4">
                    <c:v>Chardonnier</c:v>
                  </c:pt>
                  <c:pt idx="5">
                    <c:v>Bouvet-Ladubay</c:v>
                  </c:pt>
                  <c:pt idx="6">
                    <c:v>Chateau Moncontou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516BA5-4313-4F42-B638-D8373A93E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D88565-B005-4872-975B-303DC86D37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E459BE-37A5-41CD-A8F8-C44F0A1CAF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A2A594-1326-4A12-85DC-D446067DCF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FB4FC5-3943-4589-832B-5C3D64F9E5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613A47-B660-4D2B-95B5-5AFDB19067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67B556-305C-4149-8CC4-DC5544189E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E2F8FE-F246-4825-8EA7-F06B9693BA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4570999999999996</c:v>
                </c:pt>
                <c:pt idx="1">
                  <c:v>3.3847999999999998</c:v>
                </c:pt>
                <c:pt idx="2">
                  <c:v>5.8516000000000004</c:v>
                </c:pt>
                <c:pt idx="3">
                  <c:v>7.1054000000000004</c:v>
                </c:pt>
                <c:pt idx="4">
                  <c:v>6.9976000000000003</c:v>
                </c:pt>
                <c:pt idx="5">
                  <c:v>6.3041999999999998</c:v>
                </c:pt>
                <c:pt idx="6">
                  <c:v>4.9625000000000004</c:v>
                </c:pt>
                <c:pt idx="7">
                  <c:v>7.1954000000000002</c:v>
                </c:pt>
              </c:numCache>
            </c:numRef>
          </c:xVal>
          <c:yVal>
            <c:numRef>
              <c:f>Sheet1!$B$2:$B$9</c:f>
              <c:numCache>
                <c:formatCode>General</c:formatCode>
                <c:ptCount val="8"/>
                <c:pt idx="0">
                  <c:v>1.129</c:v>
                </c:pt>
                <c:pt idx="1">
                  <c:v>0.39300000000000002</c:v>
                </c:pt>
                <c:pt idx="2">
                  <c:v>1.2929999999999999</c:v>
                </c:pt>
                <c:pt idx="3">
                  <c:v>1.3169999999999999</c:v>
                </c:pt>
                <c:pt idx="4">
                  <c:v>1.863</c:v>
                </c:pt>
                <c:pt idx="5">
                  <c:v>1.575</c:v>
                </c:pt>
                <c:pt idx="6">
                  <c:v>0.44600000000000001</c:v>
                </c:pt>
                <c:pt idx="7">
                  <c:v>1.4530000000000001</c:v>
                </c:pt>
              </c:numCache>
            </c:numRef>
          </c:yVal>
          <c:bubbleSize>
            <c:numRef>
              <c:f>Sheet1!$C$2:$C$9</c:f>
              <c:numCache>
                <c:formatCode>General</c:formatCode>
                <c:ptCount val="8"/>
                <c:pt idx="0">
                  <c:v>132987950</c:v>
                </c:pt>
                <c:pt idx="1">
                  <c:v>64054234</c:v>
                </c:pt>
                <c:pt idx="2">
                  <c:v>33996423</c:v>
                </c:pt>
                <c:pt idx="3">
                  <c:v>32603771</c:v>
                </c:pt>
                <c:pt idx="4">
                  <c:v>26217786</c:v>
                </c:pt>
                <c:pt idx="5">
                  <c:v>25099521</c:v>
                </c:pt>
                <c:pt idx="6">
                  <c:v>19453979</c:v>
                </c:pt>
                <c:pt idx="7">
                  <c:v>17071028</c:v>
                </c:pt>
              </c:numCache>
            </c:numRef>
          </c:bubbleSize>
          <c:bubble3D val="0"/>
          <c:extLst>
            <c:ext xmlns:c15="http://schemas.microsoft.com/office/drawing/2012/chart" uri="{02D57815-91ED-43cb-92C2-25804820EDAC}">
              <c15:datalabelsRange>
                <c15:f>Sheet1!$E$2:$E$10</c15:f>
                <c15:dlblRangeCache>
                  <c:ptCount val="9"/>
                  <c:pt idx="0">
                    <c:v>Mdd</c:v>
                  </c:pt>
                  <c:pt idx="1">
                    <c:v>Cfgv</c:v>
                  </c:pt>
                  <c:pt idx="2">
                    <c:v>Freixenet</c:v>
                  </c:pt>
                  <c:pt idx="3">
                    <c:v>Wolfberger</c:v>
                  </c:pt>
                  <c:pt idx="4">
                    <c:v>Campari</c:v>
                  </c:pt>
                  <c:pt idx="5">
                    <c:v>Castel</c:v>
                  </c:pt>
                  <c:pt idx="6">
                    <c:v>Kriter</c:v>
                  </c:pt>
                  <c:pt idx="7">
                    <c:v>Arthur Met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3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38915D-3D8E-4CC8-8A1A-D3B522715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B6E167-D5CD-44C9-80BA-86FAC7FAFF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06EAAA-C82E-4D0B-A3AE-F593D8D62C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AFD9D5-C916-4F8C-BB89-C0BA4D257B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54F2AB-2149-437B-8D81-BA387B38DB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C51D9A-FEE1-4C14-9DC8-0629C50549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26E452-F689-4ACA-9ECF-159EB8D07E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D518C2-3785-4F17-BCB4-17A6CBBEBC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409999999999998</c:v>
                </c:pt>
                <c:pt idx="1">
                  <c:v>11.4527</c:v>
                </c:pt>
                <c:pt idx="2">
                  <c:v>10.164400000000001</c:v>
                </c:pt>
                <c:pt idx="3">
                  <c:v>17.365300000000001</c:v>
                </c:pt>
                <c:pt idx="4">
                  <c:v>9.0898000000000003</c:v>
                </c:pt>
                <c:pt idx="5">
                  <c:v>11.398199999999999</c:v>
                </c:pt>
                <c:pt idx="6">
                  <c:v>11.792999999999999</c:v>
                </c:pt>
                <c:pt idx="7">
                  <c:v>13.5303</c:v>
                </c:pt>
              </c:numCache>
            </c:numRef>
          </c:xVal>
          <c:yVal>
            <c:numRef>
              <c:f>Sheet1!$B$2:$B$9</c:f>
              <c:numCache>
                <c:formatCode>General</c:formatCode>
                <c:ptCount val="8"/>
                <c:pt idx="0">
                  <c:v>0.70599999999999996</c:v>
                </c:pt>
                <c:pt idx="1">
                  <c:v>1.0860000000000001</c:v>
                </c:pt>
                <c:pt idx="2">
                  <c:v>0.96399999999999997</c:v>
                </c:pt>
                <c:pt idx="3">
                  <c:v>1.659</c:v>
                </c:pt>
                <c:pt idx="4">
                  <c:v>0.86199999999999999</c:v>
                </c:pt>
                <c:pt idx="5">
                  <c:v>1.081</c:v>
                </c:pt>
                <c:pt idx="6">
                  <c:v>1.069</c:v>
                </c:pt>
                <c:pt idx="7">
                  <c:v>1.284</c:v>
                </c:pt>
              </c:numCache>
            </c:numRef>
          </c:yVal>
          <c:bubbleSize>
            <c:numRef>
              <c:f>Sheet1!$C$2:$C$9</c:f>
              <c:numCache>
                <c:formatCode>General</c:formatCode>
                <c:ptCount val="8"/>
                <c:pt idx="0">
                  <c:v>328526</c:v>
                </c:pt>
                <c:pt idx="1">
                  <c:v>290933</c:v>
                </c:pt>
                <c:pt idx="2">
                  <c:v>225253</c:v>
                </c:pt>
                <c:pt idx="3">
                  <c:v>179505</c:v>
                </c:pt>
                <c:pt idx="4">
                  <c:v>172107</c:v>
                </c:pt>
                <c:pt idx="5">
                  <c:v>151528</c:v>
                </c:pt>
                <c:pt idx="6">
                  <c:v>144783</c:v>
                </c:pt>
                <c:pt idx="7">
                  <c:v>89327</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Mure</c:v>
                  </c:pt>
                  <c:pt idx="4">
                    <c:v>Chardonnier</c:v>
                  </c:pt>
                  <c:pt idx="5">
                    <c:v>Chateau Moncontour</c:v>
                  </c:pt>
                  <c:pt idx="6">
                    <c:v>Bouvet-Ladubay</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7DB42A-37DD-4154-BE2E-33B3814EEB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A0D2F2-8008-4070-B418-094FE389D9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6A7600-05A1-42C3-B5F1-840ECDB3ED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8FDF679-A098-4EF6-8867-1E1A7DD1C2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9FC24E-8D76-4260-A034-9A1AD2CD56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52D8E4-8D21-4B9E-8F06-7EDBC94046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F8EF99-FE37-4426-BC60-3B9990DC40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789535-A90D-4B2A-9050-CA01DA9E57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3243999999999998</c:v>
                </c:pt>
                <c:pt idx="1">
                  <c:v>9.9948999999999995</c:v>
                </c:pt>
                <c:pt idx="2">
                  <c:v>11.3698</c:v>
                </c:pt>
                <c:pt idx="3">
                  <c:v>17.401599999999998</c:v>
                </c:pt>
                <c:pt idx="4">
                  <c:v>11.7576</c:v>
                </c:pt>
                <c:pt idx="5">
                  <c:v>11.376799999999999</c:v>
                </c:pt>
                <c:pt idx="6">
                  <c:v>9.0983000000000001</c:v>
                </c:pt>
                <c:pt idx="7">
                  <c:v>13.245200000000001</c:v>
                </c:pt>
              </c:numCache>
            </c:numRef>
          </c:xVal>
          <c:yVal>
            <c:numRef>
              <c:f>Sheet1!$B$2:$B$9</c:f>
              <c:numCache>
                <c:formatCode>General</c:formatCode>
                <c:ptCount val="8"/>
                <c:pt idx="0">
                  <c:v>0.69299999999999995</c:v>
                </c:pt>
                <c:pt idx="1">
                  <c:v>0.94599999999999995</c:v>
                </c:pt>
                <c:pt idx="2">
                  <c:v>1.075</c:v>
                </c:pt>
                <c:pt idx="3">
                  <c:v>1.65</c:v>
                </c:pt>
                <c:pt idx="4">
                  <c:v>1.0609999999999999</c:v>
                </c:pt>
                <c:pt idx="5">
                  <c:v>1.077</c:v>
                </c:pt>
                <c:pt idx="6">
                  <c:v>0.86199999999999999</c:v>
                </c:pt>
                <c:pt idx="7">
                  <c:v>1.256</c:v>
                </c:pt>
              </c:numCache>
            </c:numRef>
          </c:yVal>
          <c:bubbleSize>
            <c:numRef>
              <c:f>Sheet1!$C$2:$C$9</c:f>
              <c:numCache>
                <c:formatCode>General</c:formatCode>
                <c:ptCount val="8"/>
                <c:pt idx="0">
                  <c:v>120296</c:v>
                </c:pt>
                <c:pt idx="1">
                  <c:v>114502</c:v>
                </c:pt>
                <c:pt idx="2">
                  <c:v>108729</c:v>
                </c:pt>
                <c:pt idx="3">
                  <c:v>74009</c:v>
                </c:pt>
                <c:pt idx="4">
                  <c:v>61739</c:v>
                </c:pt>
                <c:pt idx="5">
                  <c:v>55701</c:v>
                </c:pt>
                <c:pt idx="6">
                  <c:v>55136</c:v>
                </c:pt>
                <c:pt idx="7">
                  <c:v>28093</c:v>
                </c:pt>
              </c:numCache>
            </c:numRef>
          </c:bubbleSize>
          <c:bubble3D val="0"/>
          <c:extLst>
            <c:ext xmlns:c15="http://schemas.microsoft.com/office/drawing/2012/chart" uri="{02D57815-91ED-43cb-92C2-25804820EDAC}">
              <c15:datalabelsRange>
                <c15:f>Sheet1!$E$2:$E$10</c15:f>
                <c15:dlblRangeCache>
                  <c:ptCount val="9"/>
                  <c:pt idx="0">
                    <c:v>Cantine Vitevis</c:v>
                  </c:pt>
                  <c:pt idx="1">
                    <c:v>Kriter</c:v>
                  </c:pt>
                  <c:pt idx="2">
                    <c:v>Bottega</c:v>
                  </c:pt>
                  <c:pt idx="3">
                    <c:v>Mure</c:v>
                  </c:pt>
                  <c:pt idx="4">
                    <c:v>Bouvet-Ladubay</c:v>
                  </c:pt>
                  <c:pt idx="5">
                    <c:v>Chateau Moncontour</c:v>
                  </c:pt>
                  <c:pt idx="6">
                    <c:v>Chardonnie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689BCB-FAC1-4864-B021-A482719D2B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C90506-97BB-4727-BA1F-C05D955DE7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5D4F70-4F6F-4FDC-B563-6934A8B79B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D554D0-D34B-4267-B5C5-4D6C4AFEF2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3EAE96-943A-4F89-8529-81C2C4D10E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DB3EBE-489B-48BB-B252-908AF5F593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DBD23C-5D6F-40FC-8736-7FE5D09EE0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B418B4-B7C4-43D3-B5B0-C46DB8015F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09699999999998</c:v>
                </c:pt>
                <c:pt idx="1">
                  <c:v>23.626300000000001</c:v>
                </c:pt>
                <c:pt idx="2">
                  <c:v>50.448099999999997</c:v>
                </c:pt>
                <c:pt idx="3">
                  <c:v>53.660699999999999</c:v>
                </c:pt>
                <c:pt idx="4">
                  <c:v>31.505700000000001</c:v>
                </c:pt>
                <c:pt idx="5">
                  <c:v>88.677499999999995</c:v>
                </c:pt>
                <c:pt idx="6">
                  <c:v>32.752200000000002</c:v>
                </c:pt>
                <c:pt idx="7">
                  <c:v>291.98700000000002</c:v>
                </c:pt>
              </c:numCache>
            </c:numRef>
          </c:xVal>
          <c:yVal>
            <c:numRef>
              <c:f>Sheet1!$B$2:$B$9</c:f>
              <c:numCache>
                <c:formatCode>General</c:formatCode>
                <c:ptCount val="8"/>
                <c:pt idx="0">
                  <c:v>1.5509999999999999</c:v>
                </c:pt>
                <c:pt idx="1">
                  <c:v>0.51600000000000001</c:v>
                </c:pt>
                <c:pt idx="2">
                  <c:v>1.08</c:v>
                </c:pt>
                <c:pt idx="3">
                  <c:v>1.0529999999999999</c:v>
                </c:pt>
                <c:pt idx="4">
                  <c:v>0.68600000000000005</c:v>
                </c:pt>
                <c:pt idx="5">
                  <c:v>1.9419999999999999</c:v>
                </c:pt>
                <c:pt idx="6">
                  <c:v>0.70499999999999996</c:v>
                </c:pt>
                <c:pt idx="7">
                  <c:v>6.2690000000000001</c:v>
                </c:pt>
              </c:numCache>
            </c:numRef>
          </c:yVal>
          <c:bubbleSize>
            <c:numRef>
              <c:f>Sheet1!$C$2:$C$9</c:f>
              <c:numCache>
                <c:formatCode>General</c:formatCode>
                <c:ptCount val="8"/>
                <c:pt idx="0">
                  <c:v>4907450</c:v>
                </c:pt>
                <c:pt idx="1">
                  <c:v>1463201</c:v>
                </c:pt>
                <c:pt idx="2">
                  <c:v>1419306</c:v>
                </c:pt>
                <c:pt idx="3">
                  <c:v>1119576</c:v>
                </c:pt>
                <c:pt idx="4">
                  <c:v>828914</c:v>
                </c:pt>
                <c:pt idx="5">
                  <c:v>791269</c:v>
                </c:pt>
                <c:pt idx="6">
                  <c:v>634868</c:v>
                </c:pt>
                <c:pt idx="7">
                  <c:v>585726</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0"/>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649BC3-520E-4E8A-82F8-7FD0A0118D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C5A2AE-F25F-4C0D-A06B-5957E37F37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179324-614D-4087-BE1E-785FB73458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0DC243-926D-4BD1-9DDC-E680EF3017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9516A5-2E7C-4459-A3A6-0699619E77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7B1FACD-8F96-43F4-8C38-E56923FC90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F1CE04-14CE-4395-855C-516C4C3BBD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5242DD-58BA-4802-86A7-9CDFFDF8BC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25599999999999</c:v>
                </c:pt>
                <c:pt idx="1">
                  <c:v>7.4080000000000004</c:v>
                </c:pt>
                <c:pt idx="2">
                  <c:v>17.555099999999999</c:v>
                </c:pt>
                <c:pt idx="3">
                  <c:v>11.2201</c:v>
                </c:pt>
                <c:pt idx="4">
                  <c:v>9.1058000000000003</c:v>
                </c:pt>
                <c:pt idx="5">
                  <c:v>11.366099999999999</c:v>
                </c:pt>
                <c:pt idx="6">
                  <c:v>11.7385</c:v>
                </c:pt>
                <c:pt idx="7">
                  <c:v>13.419700000000001</c:v>
                </c:pt>
              </c:numCache>
            </c:numRef>
          </c:xVal>
          <c:yVal>
            <c:numRef>
              <c:f>Sheet1!$B$2:$B$9</c:f>
              <c:numCache>
                <c:formatCode>General</c:formatCode>
                <c:ptCount val="8"/>
                <c:pt idx="0">
                  <c:v>1.0529999999999999</c:v>
                </c:pt>
                <c:pt idx="1">
                  <c:v>0.68200000000000005</c:v>
                </c:pt>
                <c:pt idx="2">
                  <c:v>1.6679999999999999</c:v>
                </c:pt>
                <c:pt idx="3">
                  <c:v>1.034</c:v>
                </c:pt>
                <c:pt idx="4">
                  <c:v>0.84</c:v>
                </c:pt>
                <c:pt idx="5">
                  <c:v>1.0469999999999999</c:v>
                </c:pt>
                <c:pt idx="6">
                  <c:v>1.036</c:v>
                </c:pt>
                <c:pt idx="7">
                  <c:v>1.238</c:v>
                </c:pt>
              </c:numCache>
            </c:numRef>
          </c:yVal>
          <c:bubbleSize>
            <c:numRef>
              <c:f>Sheet1!$C$2:$C$9</c:f>
              <c:numCache>
                <c:formatCode>General</c:formatCode>
                <c:ptCount val="8"/>
                <c:pt idx="0">
                  <c:v>75203</c:v>
                </c:pt>
                <c:pt idx="1">
                  <c:v>69902</c:v>
                </c:pt>
                <c:pt idx="2">
                  <c:v>51331</c:v>
                </c:pt>
                <c:pt idx="3">
                  <c:v>47304</c:v>
                </c:pt>
                <c:pt idx="4">
                  <c:v>40348</c:v>
                </c:pt>
                <c:pt idx="5">
                  <c:v>30427</c:v>
                </c:pt>
                <c:pt idx="6">
                  <c:v>22620</c:v>
                </c:pt>
                <c:pt idx="7">
                  <c:v>18895</c:v>
                </c:pt>
              </c:numCache>
            </c:numRef>
          </c:bubbleSize>
          <c:bubble3D val="0"/>
          <c:extLst>
            <c:ext xmlns:c15="http://schemas.microsoft.com/office/drawing/2012/chart" uri="{02D57815-91ED-43cb-92C2-25804820EDAC}">
              <c15:datalabelsRange>
                <c15:f>Sheet1!$E$2:$E$10</c15:f>
                <c15:dlblRangeCache>
                  <c:ptCount val="9"/>
                  <c:pt idx="0">
                    <c:v>Bottega</c:v>
                  </c:pt>
                  <c:pt idx="1">
                    <c:v>Cantine Vitevis</c:v>
                  </c:pt>
                  <c:pt idx="2">
                    <c:v>Mure</c:v>
                  </c:pt>
                  <c:pt idx="3">
                    <c:v>Kriter</c:v>
                  </c:pt>
                  <c:pt idx="4">
                    <c:v>Chardonnier</c:v>
                  </c:pt>
                  <c:pt idx="5">
                    <c:v>Chateau Moncontour</c:v>
                  </c:pt>
                  <c:pt idx="6">
                    <c:v>Bouvet-Ladubay</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B43D0B-DA1C-4FA7-803B-A05C9FDF81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9942AD-105B-4353-ADF4-1D132480A0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3CC80E-7273-4195-8F15-194010CA11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9B3BF8-793D-470C-9C78-5D71A77828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BC9825-AF36-4A76-B70D-4E684286D7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F3C5F1-DF44-4989-B855-0D35A15396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8D7B74-125F-4E10-8CF2-1E3CFA47B8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03BD66-040F-47E7-86E6-DF8D98092A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5523999999999996</c:v>
                </c:pt>
                <c:pt idx="1">
                  <c:v>11.524699999999999</c:v>
                </c:pt>
                <c:pt idx="2">
                  <c:v>11.258100000000001</c:v>
                </c:pt>
                <c:pt idx="3">
                  <c:v>11.817299999999999</c:v>
                </c:pt>
                <c:pt idx="4">
                  <c:v>9.1434999999999995</c:v>
                </c:pt>
                <c:pt idx="5">
                  <c:v>17.4514</c:v>
                </c:pt>
                <c:pt idx="6">
                  <c:v>11.5405</c:v>
                </c:pt>
                <c:pt idx="7">
                  <c:v>13.3918</c:v>
                </c:pt>
              </c:numCache>
            </c:numRef>
          </c:xVal>
          <c:yVal>
            <c:numRef>
              <c:f>Sheet1!$B$2:$B$9</c:f>
              <c:numCache>
                <c:formatCode>General</c:formatCode>
                <c:ptCount val="8"/>
                <c:pt idx="0">
                  <c:v>0.70699999999999996</c:v>
                </c:pt>
                <c:pt idx="1">
                  <c:v>1.0760000000000001</c:v>
                </c:pt>
                <c:pt idx="2">
                  <c:v>1.0549999999999999</c:v>
                </c:pt>
                <c:pt idx="3">
                  <c:v>1.0589999999999999</c:v>
                </c:pt>
                <c:pt idx="4">
                  <c:v>0.85699999999999998</c:v>
                </c:pt>
                <c:pt idx="5">
                  <c:v>1.63</c:v>
                </c:pt>
                <c:pt idx="6">
                  <c:v>1.0820000000000001</c:v>
                </c:pt>
                <c:pt idx="7">
                  <c:v>1.2450000000000001</c:v>
                </c:pt>
              </c:numCache>
            </c:numRef>
          </c:yVal>
          <c:bubbleSize>
            <c:numRef>
              <c:f>Sheet1!$C$2:$C$9</c:f>
              <c:numCache>
                <c:formatCode>General</c:formatCode>
                <c:ptCount val="8"/>
                <c:pt idx="0">
                  <c:v>35013</c:v>
                </c:pt>
                <c:pt idx="1">
                  <c:v>34574</c:v>
                </c:pt>
                <c:pt idx="2">
                  <c:v>22595</c:v>
                </c:pt>
                <c:pt idx="3">
                  <c:v>20314</c:v>
                </c:pt>
                <c:pt idx="4">
                  <c:v>19558</c:v>
                </c:pt>
                <c:pt idx="5">
                  <c:v>16893</c:v>
                </c:pt>
                <c:pt idx="6">
                  <c:v>16376</c:v>
                </c:pt>
                <c:pt idx="7">
                  <c:v>5571</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Bouvet-Ladubay</c:v>
                  </c:pt>
                  <c:pt idx="4">
                    <c:v>Chardonnier</c:v>
                  </c:pt>
                  <c:pt idx="5">
                    <c:v>Mure</c:v>
                  </c:pt>
                  <c:pt idx="6">
                    <c:v>Chateau Moncontou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9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254D23-9426-45A9-8DB2-6E365A6229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C9D27C-51A4-43F7-B21A-DEEE4BAA0B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1E9445-839F-4342-ACD0-AB423EC4B0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D6335C-38B8-47CB-AD75-5CCBC4E954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12CBB1-40D8-4768-996F-061829E48A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D133F8-742C-4C47-8905-AD5BC8A082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883DB8-7987-4F5A-9D83-DD4F7023AC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128063-2AF3-45FD-B82A-E2AB8A7CA4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877000000000004</c:v>
                </c:pt>
                <c:pt idx="1">
                  <c:v>11.4154</c:v>
                </c:pt>
                <c:pt idx="2">
                  <c:v>17.843299999999999</c:v>
                </c:pt>
                <c:pt idx="3">
                  <c:v>9.8260000000000005</c:v>
                </c:pt>
                <c:pt idx="4">
                  <c:v>11.672000000000001</c:v>
                </c:pt>
                <c:pt idx="5">
                  <c:v>9.2040000000000006</c:v>
                </c:pt>
                <c:pt idx="6">
                  <c:v>11.5655</c:v>
                </c:pt>
                <c:pt idx="7">
                  <c:v>12.2933</c:v>
                </c:pt>
              </c:numCache>
            </c:numRef>
          </c:xVal>
          <c:yVal>
            <c:numRef>
              <c:f>Sheet1!$B$2:$B$9</c:f>
              <c:numCache>
                <c:formatCode>General</c:formatCode>
                <c:ptCount val="8"/>
                <c:pt idx="0">
                  <c:v>0.69699999999999995</c:v>
                </c:pt>
                <c:pt idx="1">
                  <c:v>1.1100000000000001</c:v>
                </c:pt>
                <c:pt idx="2">
                  <c:v>1.7410000000000001</c:v>
                </c:pt>
                <c:pt idx="3">
                  <c:v>0.94699999999999995</c:v>
                </c:pt>
                <c:pt idx="4">
                  <c:v>1.0820000000000001</c:v>
                </c:pt>
                <c:pt idx="5">
                  <c:v>0.88800000000000001</c:v>
                </c:pt>
                <c:pt idx="6">
                  <c:v>1.125</c:v>
                </c:pt>
                <c:pt idx="7">
                  <c:v>1.1910000000000001</c:v>
                </c:pt>
              </c:numCache>
            </c:numRef>
          </c:yVal>
          <c:bubbleSize>
            <c:numRef>
              <c:f>Sheet1!$C$2:$C$9</c:f>
              <c:numCache>
                <c:formatCode>General</c:formatCode>
                <c:ptCount val="8"/>
                <c:pt idx="0">
                  <c:v>37448</c:v>
                </c:pt>
                <c:pt idx="1">
                  <c:v>29406</c:v>
                </c:pt>
                <c:pt idx="2">
                  <c:v>21519</c:v>
                </c:pt>
                <c:pt idx="3">
                  <c:v>18129</c:v>
                </c:pt>
                <c:pt idx="4">
                  <c:v>15337</c:v>
                </c:pt>
                <c:pt idx="5">
                  <c:v>12361</c:v>
                </c:pt>
                <c:pt idx="6">
                  <c:v>8304</c:v>
                </c:pt>
                <c:pt idx="7">
                  <c:v>6749</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Mure</c:v>
                  </c:pt>
                  <c:pt idx="3">
                    <c:v>Kriter</c:v>
                  </c:pt>
                  <c:pt idx="4">
                    <c:v>Bouvet-Ladubay</c:v>
                  </c:pt>
                  <c:pt idx="5">
                    <c:v>Chardonnier</c:v>
                  </c:pt>
                  <c:pt idx="6">
                    <c:v>Chateau Moncontour</c:v>
                  </c:pt>
                  <c:pt idx="7">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44ED98-3FB8-47F6-89A8-97085F73BC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364DDC-590C-4018-ADA3-605E607608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DAD3CC-1A24-4227-ABB9-F9A4D49384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A17F32-F33A-4CC7-B05E-757B4A2721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C1EC29-BC5D-42B0-9960-0F1F62B94F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12A983-2D4F-4A5A-A743-4EC497AC97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2A89E1-F033-4598-BCF3-427A6ABC65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C8B26D-61F5-41CA-9742-D3A5DD30D8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91999999999998</c:v>
                </c:pt>
                <c:pt idx="1">
                  <c:v>11.437099999999999</c:v>
                </c:pt>
                <c:pt idx="2">
                  <c:v>10.4175</c:v>
                </c:pt>
                <c:pt idx="3">
                  <c:v>17.389700000000001</c:v>
                </c:pt>
                <c:pt idx="4">
                  <c:v>9.0905000000000005</c:v>
                </c:pt>
                <c:pt idx="5">
                  <c:v>11.3963</c:v>
                </c:pt>
                <c:pt idx="6">
                  <c:v>11.78</c:v>
                </c:pt>
                <c:pt idx="7">
                  <c:v>13.4511</c:v>
                </c:pt>
              </c:numCache>
            </c:numRef>
          </c:xVal>
          <c:yVal>
            <c:numRef>
              <c:f>Sheet1!$B$2:$B$9</c:f>
              <c:numCache>
                <c:formatCode>General</c:formatCode>
                <c:ptCount val="8"/>
                <c:pt idx="0">
                  <c:v>0.70499999999999996</c:v>
                </c:pt>
                <c:pt idx="1">
                  <c:v>1.079</c:v>
                </c:pt>
                <c:pt idx="2">
                  <c:v>0.98299999999999998</c:v>
                </c:pt>
                <c:pt idx="3">
                  <c:v>1.641</c:v>
                </c:pt>
                <c:pt idx="4">
                  <c:v>0.85699999999999998</c:v>
                </c:pt>
                <c:pt idx="5">
                  <c:v>1.075</c:v>
                </c:pt>
                <c:pt idx="6">
                  <c:v>1.0640000000000001</c:v>
                </c:pt>
                <c:pt idx="7">
                  <c:v>1.2689999999999999</c:v>
                </c:pt>
              </c:numCache>
            </c:numRef>
          </c:yVal>
          <c:bubbleSize>
            <c:numRef>
              <c:f>Sheet1!$C$2:$C$9</c:f>
              <c:numCache>
                <c:formatCode>General</c:formatCode>
                <c:ptCount val="8"/>
                <c:pt idx="0">
                  <c:v>448308</c:v>
                </c:pt>
                <c:pt idx="1">
                  <c:v>428822</c:v>
                </c:pt>
                <c:pt idx="2">
                  <c:v>332965</c:v>
                </c:pt>
                <c:pt idx="3">
                  <c:v>237909</c:v>
                </c:pt>
                <c:pt idx="4">
                  <c:v>237189</c:v>
                </c:pt>
                <c:pt idx="5">
                  <c:v>224598</c:v>
                </c:pt>
                <c:pt idx="6">
                  <c:v>209943</c:v>
                </c:pt>
                <c:pt idx="7">
                  <c:v>122782</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Mure</c:v>
                  </c:pt>
                  <c:pt idx="4">
                    <c:v>Chardonnier</c:v>
                  </c:pt>
                  <c:pt idx="5">
                    <c:v>Chateau Moncontour</c:v>
                  </c:pt>
                  <c:pt idx="6">
                    <c:v>Bouvet-Ladubay</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E7846C-2A5A-4C85-BFB0-23A3F6A712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36AD64-E1E8-458C-BBED-F5BFF810DD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717B86-A2C6-4253-82B8-6A3F03D604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133125-7B94-4E6E-B980-3F52994D5C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F45707-68E3-4CF0-A8B4-99333184C7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7A6248F-AE1B-49D5-B3C8-F3346D0B50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EE32C7-7ACB-4A20-9982-C3907768E7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337BFD-4B27-40C7-BE59-E37480D51F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709</c:v>
                </c:pt>
                <c:pt idx="1">
                  <c:v>7.3208000000000002</c:v>
                </c:pt>
                <c:pt idx="2">
                  <c:v>10.660500000000001</c:v>
                </c:pt>
                <c:pt idx="3">
                  <c:v>9.1577000000000002</c:v>
                </c:pt>
                <c:pt idx="4">
                  <c:v>17.518999999999998</c:v>
                </c:pt>
                <c:pt idx="5">
                  <c:v>11.9748</c:v>
                </c:pt>
                <c:pt idx="6">
                  <c:v>12.7441</c:v>
                </c:pt>
                <c:pt idx="7">
                  <c:v>11.4427</c:v>
                </c:pt>
              </c:numCache>
            </c:numRef>
          </c:xVal>
          <c:yVal>
            <c:numRef>
              <c:f>Sheet1!$B$2:$B$9</c:f>
              <c:numCache>
                <c:formatCode>General</c:formatCode>
                <c:ptCount val="8"/>
                <c:pt idx="0">
                  <c:v>1.123</c:v>
                </c:pt>
                <c:pt idx="1">
                  <c:v>0.71599999999999997</c:v>
                </c:pt>
                <c:pt idx="2">
                  <c:v>1.046</c:v>
                </c:pt>
                <c:pt idx="3">
                  <c:v>0.89700000000000002</c:v>
                </c:pt>
                <c:pt idx="4">
                  <c:v>1.714</c:v>
                </c:pt>
                <c:pt idx="5">
                  <c:v>1.105</c:v>
                </c:pt>
                <c:pt idx="6">
                  <c:v>1.2450000000000001</c:v>
                </c:pt>
                <c:pt idx="7">
                  <c:v>1.1160000000000001</c:v>
                </c:pt>
              </c:numCache>
            </c:numRef>
          </c:yVal>
          <c:bubbleSize>
            <c:numRef>
              <c:f>Sheet1!$C$2:$C$9</c:f>
              <c:numCache>
                <c:formatCode>General</c:formatCode>
                <c:ptCount val="8"/>
                <c:pt idx="0">
                  <c:v>78289</c:v>
                </c:pt>
                <c:pt idx="1">
                  <c:v>76114</c:v>
                </c:pt>
                <c:pt idx="2">
                  <c:v>32312</c:v>
                </c:pt>
                <c:pt idx="3">
                  <c:v>32061</c:v>
                </c:pt>
                <c:pt idx="4">
                  <c:v>22179</c:v>
                </c:pt>
                <c:pt idx="5">
                  <c:v>16609</c:v>
                </c:pt>
                <c:pt idx="6">
                  <c:v>12400</c:v>
                </c:pt>
                <c:pt idx="7">
                  <c:v>12072</c:v>
                </c:pt>
              </c:numCache>
            </c:numRef>
          </c:bubbleSize>
          <c:bubble3D val="0"/>
          <c:extLst>
            <c:ext xmlns:c15="http://schemas.microsoft.com/office/drawing/2012/chart" uri="{02D57815-91ED-43cb-92C2-25804820EDAC}">
              <c15:datalabelsRange>
                <c15:f>Sheet1!$E$2:$E$10</c15:f>
                <c15:dlblRangeCache>
                  <c:ptCount val="9"/>
                  <c:pt idx="0">
                    <c:v>Bottega</c:v>
                  </c:pt>
                  <c:pt idx="1">
                    <c:v>Cantine Vitevis</c:v>
                  </c:pt>
                  <c:pt idx="2">
                    <c:v>Kriter</c:v>
                  </c:pt>
                  <c:pt idx="3">
                    <c:v>Chardonnier</c:v>
                  </c:pt>
                  <c:pt idx="4">
                    <c:v>Mure</c:v>
                  </c:pt>
                  <c:pt idx="5">
                    <c:v>Bouvet-Ladubay</c:v>
                  </c:pt>
                  <c:pt idx="6">
                    <c:v>Patriarche</c:v>
                  </c:pt>
                  <c:pt idx="7">
                    <c:v>Chateau Moncontou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1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67BA3F-E257-4419-86B8-F0B580512B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F3CEAD-C68C-4BF6-ACCC-5AAD105DD0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AB678E-4DB7-4860-971B-BDE35772B2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A76C7E-FD31-4CEB-AAB4-325274F90F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E7E40A-E1C1-4C87-B3ED-66C9A4E49F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092D16-6536-4372-A7A0-EBCFE6B316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D092B1-5E9C-4245-9609-F0EAF6196C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376AC2-06CB-42AC-9B17-E0911FFB74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779000000000002</c:v>
                </c:pt>
                <c:pt idx="1">
                  <c:v>11.4886</c:v>
                </c:pt>
                <c:pt idx="2">
                  <c:v>11.633599999999999</c:v>
                </c:pt>
                <c:pt idx="3">
                  <c:v>9.1776</c:v>
                </c:pt>
                <c:pt idx="4">
                  <c:v>17.562100000000001</c:v>
                </c:pt>
                <c:pt idx="5">
                  <c:v>11.366199999999999</c:v>
                </c:pt>
                <c:pt idx="6">
                  <c:v>11.551</c:v>
                </c:pt>
                <c:pt idx="7">
                  <c:v>6.4760999999999997</c:v>
                </c:pt>
              </c:numCache>
            </c:numRef>
          </c:xVal>
          <c:yVal>
            <c:numRef>
              <c:f>Sheet1!$B$2:$B$9</c:f>
              <c:numCache>
                <c:formatCode>General</c:formatCode>
                <c:ptCount val="8"/>
                <c:pt idx="0">
                  <c:v>0.69899999999999995</c:v>
                </c:pt>
                <c:pt idx="1">
                  <c:v>1.1180000000000001</c:v>
                </c:pt>
                <c:pt idx="2">
                  <c:v>1.1319999999999999</c:v>
                </c:pt>
                <c:pt idx="3">
                  <c:v>0.89500000000000002</c:v>
                </c:pt>
                <c:pt idx="4">
                  <c:v>1.698</c:v>
                </c:pt>
                <c:pt idx="5">
                  <c:v>1.103</c:v>
                </c:pt>
                <c:pt idx="6">
                  <c:v>0.93899999999999995</c:v>
                </c:pt>
                <c:pt idx="7">
                  <c:v>0.629</c:v>
                </c:pt>
              </c:numCache>
            </c:numRef>
          </c:yVal>
          <c:bubbleSize>
            <c:numRef>
              <c:f>Sheet1!$C$2:$C$9</c:f>
              <c:numCache>
                <c:formatCode>General</c:formatCode>
                <c:ptCount val="8"/>
                <c:pt idx="0">
                  <c:v>49398</c:v>
                </c:pt>
                <c:pt idx="1">
                  <c:v>41175</c:v>
                </c:pt>
                <c:pt idx="2">
                  <c:v>29119</c:v>
                </c:pt>
                <c:pt idx="3">
                  <c:v>22788</c:v>
                </c:pt>
                <c:pt idx="4">
                  <c:v>13997</c:v>
                </c:pt>
                <c:pt idx="5">
                  <c:v>10707</c:v>
                </c:pt>
                <c:pt idx="6">
                  <c:v>8259</c:v>
                </c:pt>
                <c:pt idx="7">
                  <c:v>7726</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Chardonnier</c:v>
                  </c:pt>
                  <c:pt idx="4">
                    <c:v>Mure</c:v>
                  </c:pt>
                  <c:pt idx="5">
                    <c:v>Chateau Moncontour</c:v>
                  </c:pt>
                  <c:pt idx="6">
                    <c:v>Contarini</c:v>
                  </c:pt>
                  <c:pt idx="7">
                    <c:v>Cast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240862-C36F-4B55-9A81-26BDEEB711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25D0F5-FD6A-47BD-868E-36835614D5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E50721-1C30-4C6C-9DDE-CC976696AF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8B477C-B12A-485A-8BFF-466AEA7607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C819F6-32F8-4642-9D0E-7394F0E3C1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3B8EB57-C3F5-426A-97BC-F198EF105D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10BD24E-8A54-49E6-9F5A-3D921F2DEE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12E634-4FCE-46FB-BAD1-8BB8F7F9EA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351000000000001</c:v>
                </c:pt>
                <c:pt idx="1">
                  <c:v>8.1195000000000004</c:v>
                </c:pt>
                <c:pt idx="2">
                  <c:v>11.490399999999999</c:v>
                </c:pt>
                <c:pt idx="3">
                  <c:v>11.404400000000001</c:v>
                </c:pt>
                <c:pt idx="4">
                  <c:v>17.4818</c:v>
                </c:pt>
                <c:pt idx="5">
                  <c:v>11.525499999999999</c:v>
                </c:pt>
                <c:pt idx="6">
                  <c:v>12.639900000000001</c:v>
                </c:pt>
                <c:pt idx="7">
                  <c:v>9.1667000000000005</c:v>
                </c:pt>
              </c:numCache>
            </c:numRef>
          </c:xVal>
          <c:yVal>
            <c:numRef>
              <c:f>Sheet1!$B$2:$B$9</c:f>
              <c:numCache>
                <c:formatCode>General</c:formatCode>
                <c:ptCount val="8"/>
                <c:pt idx="0">
                  <c:v>0.71899999999999997</c:v>
                </c:pt>
                <c:pt idx="1">
                  <c:v>0.80700000000000005</c:v>
                </c:pt>
                <c:pt idx="2">
                  <c:v>1.131</c:v>
                </c:pt>
                <c:pt idx="3">
                  <c:v>1.0940000000000001</c:v>
                </c:pt>
                <c:pt idx="4">
                  <c:v>1.7410000000000001</c:v>
                </c:pt>
                <c:pt idx="5">
                  <c:v>1.1419999999999999</c:v>
                </c:pt>
                <c:pt idx="6">
                  <c:v>1.272</c:v>
                </c:pt>
                <c:pt idx="7">
                  <c:v>0.90500000000000003</c:v>
                </c:pt>
              </c:numCache>
            </c:numRef>
          </c:yVal>
          <c:bubbleSize>
            <c:numRef>
              <c:f>Sheet1!$C$2:$C$9</c:f>
              <c:numCache>
                <c:formatCode>General</c:formatCode>
                <c:ptCount val="8"/>
                <c:pt idx="0">
                  <c:v>20461</c:v>
                </c:pt>
                <c:pt idx="1">
                  <c:v>17197</c:v>
                </c:pt>
                <c:pt idx="2">
                  <c:v>13214</c:v>
                </c:pt>
                <c:pt idx="3">
                  <c:v>10800</c:v>
                </c:pt>
                <c:pt idx="4">
                  <c:v>9615</c:v>
                </c:pt>
                <c:pt idx="5">
                  <c:v>5878</c:v>
                </c:pt>
                <c:pt idx="6">
                  <c:v>5827</c:v>
                </c:pt>
                <c:pt idx="7">
                  <c:v>5555</c:v>
                </c:pt>
              </c:numCache>
            </c:numRef>
          </c:bubbleSize>
          <c:bubble3D val="0"/>
          <c:extLst>
            <c:ext xmlns:c15="http://schemas.microsoft.com/office/drawing/2012/chart" uri="{02D57815-91ED-43cb-92C2-25804820EDAC}">
              <c15:datalabelsRange>
                <c15:f>Sheet1!$E$2:$E$10</c15:f>
                <c15:dlblRangeCache>
                  <c:ptCount val="9"/>
                  <c:pt idx="0">
                    <c:v>Cantine Vitevis</c:v>
                  </c:pt>
                  <c:pt idx="1">
                    <c:v>Kriter</c:v>
                  </c:pt>
                  <c:pt idx="2">
                    <c:v>Bottega</c:v>
                  </c:pt>
                  <c:pt idx="3">
                    <c:v>Bouvet-Ladubay</c:v>
                  </c:pt>
                  <c:pt idx="4">
                    <c:v>Mure</c:v>
                  </c:pt>
                  <c:pt idx="5">
                    <c:v>Chateau Moncontour</c:v>
                  </c:pt>
                  <c:pt idx="6">
                    <c:v>Patriarche</c:v>
                  </c:pt>
                  <c:pt idx="7">
                    <c:v>Chardon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BDAF9F-94FD-44A4-9403-7B31161CB2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72B930-695A-4411-88D3-A20A4B05B2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8BB11D-5628-4D21-B5CF-55EA85825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5113B4-A404-4CFA-B86B-17E6CA976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DF42AA-D158-4808-8B86-BA64C2F8A6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79FD7A-6E29-42DB-9FA7-8856452CB0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87AC6B0-C7C0-464F-8FF3-A5594B27F8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E28667-622C-47A2-BBFF-F9DEC8E3D2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333100000000002</c:v>
                </c:pt>
                <c:pt idx="1">
                  <c:v>7.2667999999999999</c:v>
                </c:pt>
                <c:pt idx="2">
                  <c:v>8.7780000000000005</c:v>
                </c:pt>
                <c:pt idx="3">
                  <c:v>9.0344999999999995</c:v>
                </c:pt>
                <c:pt idx="4">
                  <c:v>11.645300000000001</c:v>
                </c:pt>
                <c:pt idx="5">
                  <c:v>11.7005</c:v>
                </c:pt>
              </c:numCache>
            </c:numRef>
          </c:xVal>
          <c:yVal>
            <c:numRef>
              <c:f>Sheet1!$B$2:$B$7</c:f>
              <c:numCache>
                <c:formatCode>General</c:formatCode>
                <c:ptCount val="6"/>
                <c:pt idx="0">
                  <c:v>1.5960000000000001</c:v>
                </c:pt>
                <c:pt idx="1">
                  <c:v>0.625</c:v>
                </c:pt>
                <c:pt idx="2">
                  <c:v>0.747</c:v>
                </c:pt>
                <c:pt idx="3">
                  <c:v>0.78300000000000003</c:v>
                </c:pt>
                <c:pt idx="4">
                  <c:v>0.97099999999999997</c:v>
                </c:pt>
                <c:pt idx="5">
                  <c:v>0.98399999999999999</c:v>
                </c:pt>
              </c:numCache>
            </c:numRef>
          </c:yVal>
          <c:bubbleSize>
            <c:numRef>
              <c:f>Sheet1!$C$2:$C$7</c:f>
              <c:numCache>
                <c:formatCode>General</c:formatCode>
                <c:ptCount val="6"/>
                <c:pt idx="0">
                  <c:v>68483</c:v>
                </c:pt>
                <c:pt idx="1">
                  <c:v>8226</c:v>
                </c:pt>
                <c:pt idx="2">
                  <c:v>4784</c:v>
                </c:pt>
                <c:pt idx="3">
                  <c:v>3930</c:v>
                </c:pt>
                <c:pt idx="4">
                  <c:v>3447</c:v>
                </c:pt>
                <c:pt idx="5">
                  <c:v>2188</c:v>
                </c:pt>
              </c:numCache>
            </c:numRef>
          </c:bubbleSize>
          <c:bubble3D val="0"/>
          <c:extLst>
            <c:ext xmlns:c15="http://schemas.microsoft.com/office/drawing/2012/chart" uri="{02D57815-91ED-43cb-92C2-25804820EDAC}">
              <c15:datalabelsRange>
                <c15:f>Sheet1!$E$2:$E$10</c15:f>
                <c15:dlblRangeCache>
                  <c:ptCount val="9"/>
                  <c:pt idx="0">
                    <c:v>Mure</c:v>
                  </c:pt>
                  <c:pt idx="1">
                    <c:v>Cantine Vitevis</c:v>
                  </c:pt>
                  <c:pt idx="2">
                    <c:v>Kriter</c:v>
                  </c:pt>
                  <c:pt idx="3">
                    <c:v>Chardonnier</c:v>
                  </c:pt>
                  <c:pt idx="4">
                    <c:v>Bottega</c:v>
                  </c:pt>
                  <c:pt idx="5">
                    <c:v>Chateau Moncontou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9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8CD0E6-B66C-4FFF-9980-3BBB117572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CFC890-6384-4F90-A50B-01A3148423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CE4F90-7E88-4327-ACC4-696F5ED2F2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0CABC6-212B-4339-B8E4-C8BA97FDFC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EABC66-13C5-437D-B910-7187EBF0B1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AED736-CEA6-4B1D-81E2-26F255A713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CD6BED-FDF3-40C0-B56B-1243A44A1B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CDC6DB-ACF0-4704-A87A-21307AAEED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457</c:v>
                </c:pt>
                <c:pt idx="1">
                  <c:v>7.3361000000000001</c:v>
                </c:pt>
                <c:pt idx="2">
                  <c:v>10.832700000000001</c:v>
                </c:pt>
                <c:pt idx="3">
                  <c:v>9.1258999999999997</c:v>
                </c:pt>
                <c:pt idx="4">
                  <c:v>17.377600000000001</c:v>
                </c:pt>
                <c:pt idx="5">
                  <c:v>11.3108</c:v>
                </c:pt>
                <c:pt idx="6">
                  <c:v>11.7963</c:v>
                </c:pt>
                <c:pt idx="7">
                  <c:v>13.266400000000001</c:v>
                </c:pt>
              </c:numCache>
            </c:numRef>
          </c:xVal>
          <c:yVal>
            <c:numRef>
              <c:f>Sheet1!$B$2:$B$9</c:f>
              <c:numCache>
                <c:formatCode>General</c:formatCode>
                <c:ptCount val="8"/>
                <c:pt idx="0">
                  <c:v>1.0960000000000001</c:v>
                </c:pt>
                <c:pt idx="1">
                  <c:v>0.70299999999999996</c:v>
                </c:pt>
                <c:pt idx="2">
                  <c:v>1.038</c:v>
                </c:pt>
                <c:pt idx="3">
                  <c:v>0.874</c:v>
                </c:pt>
                <c:pt idx="4">
                  <c:v>1.6639999999999999</c:v>
                </c:pt>
                <c:pt idx="5">
                  <c:v>1.0840000000000001</c:v>
                </c:pt>
                <c:pt idx="6">
                  <c:v>1.077</c:v>
                </c:pt>
                <c:pt idx="7">
                  <c:v>1.2689999999999999</c:v>
                </c:pt>
              </c:numCache>
            </c:numRef>
          </c:yVal>
          <c:bubbleSize>
            <c:numRef>
              <c:f>Sheet1!$C$2:$C$9</c:f>
              <c:numCache>
                <c:formatCode>General</c:formatCode>
                <c:ptCount val="8"/>
                <c:pt idx="0">
                  <c:v>195596</c:v>
                </c:pt>
                <c:pt idx="1">
                  <c:v>182031</c:v>
                </c:pt>
                <c:pt idx="2">
                  <c:v>106410</c:v>
                </c:pt>
                <c:pt idx="3">
                  <c:v>96917</c:v>
                </c:pt>
                <c:pt idx="4">
                  <c:v>78512</c:v>
                </c:pt>
                <c:pt idx="5">
                  <c:v>64924</c:v>
                </c:pt>
                <c:pt idx="6">
                  <c:v>64278</c:v>
                </c:pt>
                <c:pt idx="7">
                  <c:v>37597</c:v>
                </c:pt>
              </c:numCache>
            </c:numRef>
          </c:bubbleSize>
          <c:bubble3D val="0"/>
          <c:extLst>
            <c:ext xmlns:c15="http://schemas.microsoft.com/office/drawing/2012/chart" uri="{02D57815-91ED-43cb-92C2-25804820EDAC}">
              <c15:datalabelsRange>
                <c15:f>Sheet1!$E$2:$E$10</c15:f>
                <c15:dlblRangeCache>
                  <c:ptCount val="9"/>
                  <c:pt idx="0">
                    <c:v>Bottega</c:v>
                  </c:pt>
                  <c:pt idx="1">
                    <c:v>Cantine Vitevis</c:v>
                  </c:pt>
                  <c:pt idx="2">
                    <c:v>Kriter</c:v>
                  </c:pt>
                  <c:pt idx="3">
                    <c:v>Chardonnier</c:v>
                  </c:pt>
                  <c:pt idx="4">
                    <c:v>Mure</c:v>
                  </c:pt>
                  <c:pt idx="5">
                    <c:v>Chateau Moncontour</c:v>
                  </c:pt>
                  <c:pt idx="6">
                    <c:v>Bouvet-Ladubay</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54ED32-C9DC-4D53-9E28-4C0FF2DD4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701295-5959-47FF-823B-BB1A114A0A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1F7E1F-AB8E-4A36-94BA-87D983D2D7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E89C1B-033B-4E2E-BDB3-ECA7E90925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0587B0-4B8D-4D92-9E7D-2FE2847838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32CB98-54B5-405D-B75D-C3A428AE1F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710500-FB98-456D-B3CB-DA1BEF8436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71E993-DB4B-4AB2-BE8F-BB26E5F1EE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564000000000004</c:v>
                </c:pt>
                <c:pt idx="1">
                  <c:v>11.4999</c:v>
                </c:pt>
                <c:pt idx="2">
                  <c:v>9.6205999999999996</c:v>
                </c:pt>
                <c:pt idx="3">
                  <c:v>17.365600000000001</c:v>
                </c:pt>
                <c:pt idx="4">
                  <c:v>11.6388</c:v>
                </c:pt>
                <c:pt idx="5">
                  <c:v>11.379899999999999</c:v>
                </c:pt>
                <c:pt idx="6">
                  <c:v>9.0538000000000007</c:v>
                </c:pt>
                <c:pt idx="7">
                  <c:v>13.565200000000001</c:v>
                </c:pt>
              </c:numCache>
            </c:numRef>
          </c:xVal>
          <c:yVal>
            <c:numRef>
              <c:f>Sheet1!$B$2:$B$9</c:f>
              <c:numCache>
                <c:formatCode>General</c:formatCode>
                <c:ptCount val="8"/>
                <c:pt idx="0">
                  <c:v>0.70799999999999996</c:v>
                </c:pt>
                <c:pt idx="1">
                  <c:v>1.0920000000000001</c:v>
                </c:pt>
                <c:pt idx="2">
                  <c:v>0.91300000000000003</c:v>
                </c:pt>
                <c:pt idx="3">
                  <c:v>1.6639999999999999</c:v>
                </c:pt>
                <c:pt idx="4">
                  <c:v>1.0660000000000001</c:v>
                </c:pt>
                <c:pt idx="5">
                  <c:v>1.081</c:v>
                </c:pt>
                <c:pt idx="6">
                  <c:v>0.86099999999999999</c:v>
                </c:pt>
                <c:pt idx="7">
                  <c:v>1.2849999999999999</c:v>
                </c:pt>
              </c:numCache>
            </c:numRef>
          </c:yVal>
          <c:bubbleSize>
            <c:numRef>
              <c:f>Sheet1!$C$2:$C$9</c:f>
              <c:numCache>
                <c:formatCode>General</c:formatCode>
                <c:ptCount val="8"/>
                <c:pt idx="0">
                  <c:v>102466</c:v>
                </c:pt>
                <c:pt idx="1">
                  <c:v>82178</c:v>
                </c:pt>
                <c:pt idx="2">
                  <c:v>78687</c:v>
                </c:pt>
                <c:pt idx="3">
                  <c:v>70435</c:v>
                </c:pt>
                <c:pt idx="4">
                  <c:v>50745</c:v>
                </c:pt>
                <c:pt idx="5">
                  <c:v>43528</c:v>
                </c:pt>
                <c:pt idx="6">
                  <c:v>39538</c:v>
                </c:pt>
                <c:pt idx="7">
                  <c:v>23088</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Mure</c:v>
                  </c:pt>
                  <c:pt idx="4">
                    <c:v>Bouvet-Ladubay</c:v>
                  </c:pt>
                  <c:pt idx="5">
                    <c:v>Chateau Moncontour</c:v>
                  </c:pt>
                  <c:pt idx="6">
                    <c:v>Chardonnie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4C2BA0B-B2C1-4F98-85E6-BAE8501441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EC2146C-372A-4A2C-AB1B-B627477119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B6930A1-F72C-4D45-9872-0238BCA7BA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804C107-4063-4B65-82AE-05C2540F6B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D815479-A237-4363-B69D-3747330AE6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6DB8CF5-5BD3-4346-87DF-6A4B8C832C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31970B0-D7CA-49C3-BDF0-B593677387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6E4E3BC-5606-4270-8DA5-31043C9289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457</c:v>
                </c:pt>
                <c:pt idx="1">
                  <c:v>12.7675</c:v>
                </c:pt>
                <c:pt idx="2">
                  <c:v>9.1258999999999997</c:v>
                </c:pt>
                <c:pt idx="3">
                  <c:v>17.377600000000001</c:v>
                </c:pt>
                <c:pt idx="4">
                  <c:v>11.3108</c:v>
                </c:pt>
                <c:pt idx="5">
                  <c:v>11.7963</c:v>
                </c:pt>
                <c:pt idx="6">
                  <c:v>13.266400000000001</c:v>
                </c:pt>
                <c:pt idx="7">
                  <c:v>11.2964</c:v>
                </c:pt>
              </c:numCache>
            </c:numRef>
          </c:xVal>
          <c:yVal>
            <c:numRef>
              <c:f>Sheet1!$B$2:$B$9</c:f>
              <c:numCache>
                <c:formatCode>General</c:formatCode>
                <c:ptCount val="8"/>
                <c:pt idx="0">
                  <c:v>1.0960000000000001</c:v>
                </c:pt>
                <c:pt idx="1">
                  <c:v>1.224</c:v>
                </c:pt>
                <c:pt idx="2">
                  <c:v>0.874</c:v>
                </c:pt>
                <c:pt idx="3">
                  <c:v>1.6639999999999999</c:v>
                </c:pt>
                <c:pt idx="4">
                  <c:v>1.0840000000000001</c:v>
                </c:pt>
                <c:pt idx="5">
                  <c:v>1.077</c:v>
                </c:pt>
                <c:pt idx="6">
                  <c:v>1.2689999999999999</c:v>
                </c:pt>
                <c:pt idx="7">
                  <c:v>0.92400000000000004</c:v>
                </c:pt>
              </c:numCache>
            </c:numRef>
          </c:yVal>
          <c:bubbleSize>
            <c:numRef>
              <c:f>Sheet1!$C$2:$C$9</c:f>
              <c:numCache>
                <c:formatCode>General</c:formatCode>
                <c:ptCount val="8"/>
                <c:pt idx="0">
                  <c:v>195596</c:v>
                </c:pt>
                <c:pt idx="1">
                  <c:v>123577</c:v>
                </c:pt>
                <c:pt idx="2">
                  <c:v>96917</c:v>
                </c:pt>
                <c:pt idx="3">
                  <c:v>78512</c:v>
                </c:pt>
                <c:pt idx="4">
                  <c:v>64924</c:v>
                </c:pt>
                <c:pt idx="5">
                  <c:v>64278</c:v>
                </c:pt>
                <c:pt idx="6">
                  <c:v>37597</c:v>
                </c:pt>
                <c:pt idx="7">
                  <c:v>19859</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Chateau Moncontour</c:v>
                  </c:pt>
                  <c:pt idx="5">
                    <c:v>Bouvet-Ladubay</c:v>
                  </c:pt>
                  <c:pt idx="6">
                    <c:v>De Chanceny</c:v>
                  </c:pt>
                  <c:pt idx="7">
                    <c:v>Contarin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F09335-D9D8-4D03-8BCC-E8593BD43B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D50CF4-2065-4725-A573-C400E6A87B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4A8431-9E2C-4615-B562-068A4E76EA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B482CB-2AB1-4086-80C1-14EA50096E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15F87C-BFA7-4883-8D31-4A99EC1084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0B679C-9A7D-43E9-93C9-F25AFB50D6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13F020-F3CD-4634-9F4E-357184D9EB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7AFD7C-A6D2-4CFB-9FF2-F2085C668F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028</c:v>
                </c:pt>
                <c:pt idx="1">
                  <c:v>11.404999999999999</c:v>
                </c:pt>
                <c:pt idx="2">
                  <c:v>10.405099999999999</c:v>
                </c:pt>
                <c:pt idx="3">
                  <c:v>9.0840999999999994</c:v>
                </c:pt>
                <c:pt idx="4">
                  <c:v>17.397300000000001</c:v>
                </c:pt>
                <c:pt idx="5">
                  <c:v>11.7463</c:v>
                </c:pt>
                <c:pt idx="6">
                  <c:v>11.4129</c:v>
                </c:pt>
                <c:pt idx="7">
                  <c:v>13.5061</c:v>
                </c:pt>
              </c:numCache>
            </c:numRef>
          </c:xVal>
          <c:yVal>
            <c:numRef>
              <c:f>Sheet1!$B$2:$B$9</c:f>
              <c:numCache>
                <c:formatCode>General</c:formatCode>
                <c:ptCount val="8"/>
                <c:pt idx="0">
                  <c:v>0.70199999999999996</c:v>
                </c:pt>
                <c:pt idx="1">
                  <c:v>1.0820000000000001</c:v>
                </c:pt>
                <c:pt idx="2">
                  <c:v>0.98699999999999999</c:v>
                </c:pt>
                <c:pt idx="3">
                  <c:v>0.86199999999999999</c:v>
                </c:pt>
                <c:pt idx="4">
                  <c:v>1.6519999999999999</c:v>
                </c:pt>
                <c:pt idx="5">
                  <c:v>1.0720000000000001</c:v>
                </c:pt>
                <c:pt idx="6">
                  <c:v>1.083</c:v>
                </c:pt>
                <c:pt idx="7">
                  <c:v>1.28</c:v>
                </c:pt>
              </c:numCache>
            </c:numRef>
          </c:yVal>
          <c:bubbleSize>
            <c:numRef>
              <c:f>Sheet1!$C$2:$C$9</c:f>
              <c:numCache>
                <c:formatCode>General</c:formatCode>
                <c:ptCount val="8"/>
                <c:pt idx="0">
                  <c:v>154682</c:v>
                </c:pt>
                <c:pt idx="1">
                  <c:v>150888</c:v>
                </c:pt>
                <c:pt idx="2">
                  <c:v>104009</c:v>
                </c:pt>
                <c:pt idx="3">
                  <c:v>86281</c:v>
                </c:pt>
                <c:pt idx="4">
                  <c:v>76009</c:v>
                </c:pt>
                <c:pt idx="5">
                  <c:v>74413</c:v>
                </c:pt>
                <c:pt idx="6">
                  <c:v>70235</c:v>
                </c:pt>
                <c:pt idx="7">
                  <c:v>42355</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Chardonnier</c:v>
                  </c:pt>
                  <c:pt idx="4">
                    <c:v>Mure</c:v>
                  </c:pt>
                  <c:pt idx="5">
                    <c:v>Bouvet-Ladubay</c:v>
                  </c:pt>
                  <c:pt idx="6">
                    <c:v>Chateau Moncontou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143A3F-3A71-45A8-9D71-F82B84F2C3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BAB551-C0CC-4042-AA2B-A027DC7B8F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62D061-28A1-4257-AFF0-EE94A7E023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EC3970-08DB-40BB-9549-EFC4CFA837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6E365F-FC96-4F1A-9FF8-3C3ADD72B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C4E0F9-7BA8-434B-9C86-BDBE78849E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EFA087-2585-41EC-9587-1B4B0E52CC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30741D-8CC3-4227-BD8B-B69FE7D976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260000000000002</c:v>
                </c:pt>
                <c:pt idx="1">
                  <c:v>11.3996</c:v>
                </c:pt>
                <c:pt idx="2">
                  <c:v>10.5167</c:v>
                </c:pt>
                <c:pt idx="3">
                  <c:v>17.6111</c:v>
                </c:pt>
                <c:pt idx="4">
                  <c:v>9.1219000000000001</c:v>
                </c:pt>
                <c:pt idx="5">
                  <c:v>11.9292</c:v>
                </c:pt>
                <c:pt idx="6">
                  <c:v>11.430300000000001</c:v>
                </c:pt>
                <c:pt idx="7">
                  <c:v>13.4643</c:v>
                </c:pt>
              </c:numCache>
            </c:numRef>
          </c:xVal>
          <c:yVal>
            <c:numRef>
              <c:f>Sheet1!$B$2:$B$9</c:f>
              <c:numCache>
                <c:formatCode>General</c:formatCode>
                <c:ptCount val="8"/>
                <c:pt idx="0">
                  <c:v>0.69099999999999995</c:v>
                </c:pt>
                <c:pt idx="1">
                  <c:v>1.06</c:v>
                </c:pt>
                <c:pt idx="2">
                  <c:v>0.97799999999999998</c:v>
                </c:pt>
                <c:pt idx="3">
                  <c:v>1.6619999999999999</c:v>
                </c:pt>
                <c:pt idx="4">
                  <c:v>0.84899999999999998</c:v>
                </c:pt>
                <c:pt idx="5">
                  <c:v>1.0469999999999999</c:v>
                </c:pt>
                <c:pt idx="6">
                  <c:v>1.0620000000000001</c:v>
                </c:pt>
                <c:pt idx="7">
                  <c:v>1.25</c:v>
                </c:pt>
              </c:numCache>
            </c:numRef>
          </c:yVal>
          <c:bubbleSize>
            <c:numRef>
              <c:f>Sheet1!$C$2:$C$9</c:f>
              <c:numCache>
                <c:formatCode>General</c:formatCode>
                <c:ptCount val="8"/>
                <c:pt idx="0">
                  <c:v>121638</c:v>
                </c:pt>
                <c:pt idx="1">
                  <c:v>101593</c:v>
                </c:pt>
                <c:pt idx="2">
                  <c:v>92105</c:v>
                </c:pt>
                <c:pt idx="3">
                  <c:v>82244</c:v>
                </c:pt>
                <c:pt idx="4">
                  <c:v>56501</c:v>
                </c:pt>
                <c:pt idx="5">
                  <c:v>55399</c:v>
                </c:pt>
                <c:pt idx="6">
                  <c:v>53231</c:v>
                </c:pt>
                <c:pt idx="7">
                  <c:v>27871</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Kriter</c:v>
                  </c:pt>
                  <c:pt idx="3">
                    <c:v>Mure</c:v>
                  </c:pt>
                  <c:pt idx="4">
                    <c:v>Chardonnier</c:v>
                  </c:pt>
                  <c:pt idx="5">
                    <c:v>Bouvet-Ladubay</c:v>
                  </c:pt>
                  <c:pt idx="6">
                    <c:v>Chateau Moncontou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375D2D-D7A1-4207-8AC8-2A69C842AC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21E8BF-9A58-44EF-B82C-5617D45C1B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37DEED-5AD0-4731-A75B-B11209503C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968BC4-15D0-4D83-8EA4-AFC89276C5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893CFE-6763-4BA9-BF83-2DBC51372C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9BA42D-4FCA-4FBD-9C9E-4A29382F5B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02E47F-5E43-4EF6-BDB2-724930BFDB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CE04B0-BBDB-4738-AF9C-9402B26117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020000000000001</c:v>
                </c:pt>
                <c:pt idx="1">
                  <c:v>9.6089000000000002</c:v>
                </c:pt>
                <c:pt idx="2">
                  <c:v>17.286000000000001</c:v>
                </c:pt>
                <c:pt idx="3">
                  <c:v>11.5068</c:v>
                </c:pt>
                <c:pt idx="4">
                  <c:v>11.856400000000001</c:v>
                </c:pt>
                <c:pt idx="5">
                  <c:v>11.451700000000001</c:v>
                </c:pt>
                <c:pt idx="6">
                  <c:v>9.1301000000000005</c:v>
                </c:pt>
                <c:pt idx="7">
                  <c:v>13.463800000000001</c:v>
                </c:pt>
              </c:numCache>
            </c:numRef>
          </c:xVal>
          <c:yVal>
            <c:numRef>
              <c:f>Sheet1!$B$2:$B$9</c:f>
              <c:numCache>
                <c:formatCode>General</c:formatCode>
                <c:ptCount val="8"/>
                <c:pt idx="0">
                  <c:v>0.69899999999999995</c:v>
                </c:pt>
                <c:pt idx="1">
                  <c:v>0.90600000000000003</c:v>
                </c:pt>
                <c:pt idx="2">
                  <c:v>1.671</c:v>
                </c:pt>
                <c:pt idx="3">
                  <c:v>1.0860000000000001</c:v>
                </c:pt>
                <c:pt idx="4">
                  <c:v>1.0509999999999999</c:v>
                </c:pt>
                <c:pt idx="5">
                  <c:v>1.0820000000000001</c:v>
                </c:pt>
                <c:pt idx="6">
                  <c:v>0.86199999999999999</c:v>
                </c:pt>
                <c:pt idx="7">
                  <c:v>1.2729999999999999</c:v>
                </c:pt>
              </c:numCache>
            </c:numRef>
          </c:yVal>
          <c:bubbleSize>
            <c:numRef>
              <c:f>Sheet1!$C$2:$C$9</c:f>
              <c:numCache>
                <c:formatCode>General</c:formatCode>
                <c:ptCount val="8"/>
                <c:pt idx="0">
                  <c:v>109224</c:v>
                </c:pt>
                <c:pt idx="1">
                  <c:v>104795</c:v>
                </c:pt>
                <c:pt idx="2">
                  <c:v>81175</c:v>
                </c:pt>
                <c:pt idx="3">
                  <c:v>77326</c:v>
                </c:pt>
                <c:pt idx="4">
                  <c:v>60420</c:v>
                </c:pt>
                <c:pt idx="5">
                  <c:v>50548</c:v>
                </c:pt>
                <c:pt idx="6">
                  <c:v>44555</c:v>
                </c:pt>
                <c:pt idx="7">
                  <c:v>27143</c:v>
                </c:pt>
              </c:numCache>
            </c:numRef>
          </c:bubbleSize>
          <c:bubble3D val="0"/>
          <c:extLst>
            <c:ext xmlns:c15="http://schemas.microsoft.com/office/drawing/2012/chart" uri="{02D57815-91ED-43cb-92C2-25804820EDAC}">
              <c15:datalabelsRange>
                <c15:f>Sheet1!$E$2:$E$10</c15:f>
                <c15:dlblRangeCache>
                  <c:ptCount val="9"/>
                  <c:pt idx="0">
                    <c:v>Cantine Vitevis</c:v>
                  </c:pt>
                  <c:pt idx="1">
                    <c:v>Kriter</c:v>
                  </c:pt>
                  <c:pt idx="2">
                    <c:v>Mure</c:v>
                  </c:pt>
                  <c:pt idx="3">
                    <c:v>Bottega</c:v>
                  </c:pt>
                  <c:pt idx="4">
                    <c:v>Bouvet-Ladubay</c:v>
                  </c:pt>
                  <c:pt idx="5">
                    <c:v>Chateau Moncontour</c:v>
                  </c:pt>
                  <c:pt idx="6">
                    <c:v>Chardonnier</c:v>
                  </c:pt>
                  <c:pt idx="7">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7D2D2F-2F1C-47C0-9A40-9C3329F577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6A9520-CA7B-4D2E-959A-03B761F12C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AF3CB1-2469-4760-B369-332E5AFBC0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7EEB4E-5B14-4C2A-88E6-72FF7605CF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AD7963-CE50-4543-9D83-0FDAE394D4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C882D6-4E9D-4B78-9FEC-19905BDF20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220799-C1F1-4F32-B4C1-B3DDBD4CAD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3D5EB3B-B99D-4879-BB27-CD4B0A8275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5872999999999999</c:v>
                </c:pt>
                <c:pt idx="1">
                  <c:v>3.6678000000000002</c:v>
                </c:pt>
                <c:pt idx="2">
                  <c:v>3.9388000000000001</c:v>
                </c:pt>
                <c:pt idx="3">
                  <c:v>2.9659</c:v>
                </c:pt>
                <c:pt idx="4">
                  <c:v>5.45</c:v>
                </c:pt>
                <c:pt idx="5">
                  <c:v>7.4157999999999999</c:v>
                </c:pt>
                <c:pt idx="6">
                  <c:v>29.135300000000001</c:v>
                </c:pt>
              </c:numCache>
            </c:numRef>
          </c:xVal>
          <c:yVal>
            <c:numRef>
              <c:f>Sheet1!$B$2:$B$8</c:f>
              <c:numCache>
                <c:formatCode>General</c:formatCode>
                <c:ptCount val="7"/>
                <c:pt idx="0">
                  <c:v>0.93100000000000005</c:v>
                </c:pt>
                <c:pt idx="1">
                  <c:v>0.95099999999999996</c:v>
                </c:pt>
                <c:pt idx="2">
                  <c:v>1.0089999999999999</c:v>
                </c:pt>
                <c:pt idx="3">
                  <c:v>0.76900000000000002</c:v>
                </c:pt>
                <c:pt idx="4">
                  <c:v>1.4139999999999999</c:v>
                </c:pt>
                <c:pt idx="5">
                  <c:v>1.9059999999999999</c:v>
                </c:pt>
                <c:pt idx="6">
                  <c:v>7.5529999999999999</c:v>
                </c:pt>
              </c:numCache>
            </c:numRef>
          </c:yVal>
          <c:bubbleSize>
            <c:numRef>
              <c:f>Sheet1!$C$2:$C$8</c:f>
              <c:numCache>
                <c:formatCode>General</c:formatCode>
                <c:ptCount val="7"/>
                <c:pt idx="0">
                  <c:v>8393288</c:v>
                </c:pt>
                <c:pt idx="1">
                  <c:v>5214126</c:v>
                </c:pt>
                <c:pt idx="2">
                  <c:v>4064943</c:v>
                </c:pt>
                <c:pt idx="3">
                  <c:v>2391008</c:v>
                </c:pt>
                <c:pt idx="4">
                  <c:v>1430636</c:v>
                </c:pt>
                <c:pt idx="5">
                  <c:v>436974</c:v>
                </c:pt>
                <c:pt idx="6">
                  <c:v>337562</c:v>
                </c:pt>
              </c:numCache>
            </c:numRef>
          </c:bubbleSize>
          <c:bubble3D val="0"/>
          <c:extLst>
            <c:ext xmlns:c15="http://schemas.microsoft.com/office/drawing/2012/chart" uri="{02D57815-91ED-43cb-92C2-25804820EDAC}">
              <c15:datalabelsRange>
                <c15:f>Sheet1!$E$2:$E$10</c15:f>
                <c15:dlblRangeCache>
                  <c:ptCount val="9"/>
                  <c:pt idx="0">
                    <c:v>Bardinet</c:v>
                  </c:pt>
                  <c:pt idx="1">
                    <c:v>Gratien &amp; Meyer</c:v>
                  </c:pt>
                  <c:pt idx="2">
                    <c:v>Listel</c:v>
                  </c:pt>
                  <c:pt idx="3">
                    <c:v>Mdd</c:v>
                  </c:pt>
                  <c:pt idx="4">
                    <c:v>Freixenet</c:v>
                  </c:pt>
                  <c:pt idx="5">
                    <c:v>Orchidees</c:v>
                  </c:pt>
                  <c:pt idx="6">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7.75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5AB30B-DADC-49F8-92AD-02484476F2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7110AE-5077-47CD-B0CE-3B3D84BD5B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01CAA8-26B1-4DBC-8CB3-23D4C5E84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860883-E420-47E7-8677-3EC26970CA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45917B-8D11-4513-863D-067A9B3DEA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9052E17-CECA-4E42-805D-C916725599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27DD96-5518-47B6-AAC3-39B1F1BA7E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AF05E70-5980-4CB3-8943-80A337CD0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07099999999999</c:v>
                </c:pt>
                <c:pt idx="1">
                  <c:v>11.3858</c:v>
                </c:pt>
                <c:pt idx="2">
                  <c:v>34.587800000000001</c:v>
                </c:pt>
                <c:pt idx="3">
                  <c:v>9.3613999999999997</c:v>
                </c:pt>
                <c:pt idx="4">
                  <c:v>18.194400000000002</c:v>
                </c:pt>
              </c:numCache>
            </c:numRef>
          </c:xVal>
          <c:yVal>
            <c:numRef>
              <c:f>Sheet1!$B$2:$B$6</c:f>
              <c:numCache>
                <c:formatCode>General</c:formatCode>
                <c:ptCount val="5"/>
                <c:pt idx="0">
                  <c:v>1.679</c:v>
                </c:pt>
                <c:pt idx="1">
                  <c:v>0.65800000000000003</c:v>
                </c:pt>
                <c:pt idx="2">
                  <c:v>1.9650000000000001</c:v>
                </c:pt>
                <c:pt idx="3">
                  <c:v>0.54</c:v>
                </c:pt>
                <c:pt idx="4">
                  <c:v>1.0840000000000001</c:v>
                </c:pt>
              </c:numCache>
            </c:numRef>
          </c:yVal>
          <c:bubbleSize>
            <c:numRef>
              <c:f>Sheet1!$C$2:$C$6</c:f>
              <c:numCache>
                <c:formatCode>General</c:formatCode>
                <c:ptCount val="5"/>
                <c:pt idx="0">
                  <c:v>322623</c:v>
                </c:pt>
                <c:pt idx="1">
                  <c:v>219371</c:v>
                </c:pt>
                <c:pt idx="2">
                  <c:v>54787</c:v>
                </c:pt>
                <c:pt idx="3">
                  <c:v>52714</c:v>
                </c:pt>
                <c:pt idx="4">
                  <c:v>30985</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4BB5FA-7A4C-41C0-9472-D113F2CEF7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E8DD25-D05A-495F-B0E5-18B09E6768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F21CC5-0216-4050-A189-7136FA0349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BA6F8A-38F4-4757-B0F0-AA91032B19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6B2409-2697-407C-BED1-89D9331BD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3AA216-76CD-433D-8314-07D0A0AC9A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22304BD-AB65-4BD4-90AC-5E8BC106C3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E229125-0A35-44D2-A7F5-BA080300CA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872999999999999</c:v>
                </c:pt>
                <c:pt idx="1">
                  <c:v>3.6678000000000002</c:v>
                </c:pt>
                <c:pt idx="2">
                  <c:v>3.9388000000000001</c:v>
                </c:pt>
                <c:pt idx="3">
                  <c:v>2.9659</c:v>
                </c:pt>
                <c:pt idx="4">
                  <c:v>5.45</c:v>
                </c:pt>
                <c:pt idx="5">
                  <c:v>7.4157999999999999</c:v>
                </c:pt>
              </c:numCache>
            </c:numRef>
          </c:xVal>
          <c:yVal>
            <c:numRef>
              <c:f>Sheet1!$B$2:$B$7</c:f>
              <c:numCache>
                <c:formatCode>General</c:formatCode>
                <c:ptCount val="6"/>
                <c:pt idx="0">
                  <c:v>0.95199999999999996</c:v>
                </c:pt>
                <c:pt idx="1">
                  <c:v>0.97199999999999998</c:v>
                </c:pt>
                <c:pt idx="2">
                  <c:v>1.032</c:v>
                </c:pt>
                <c:pt idx="3">
                  <c:v>0.78700000000000003</c:v>
                </c:pt>
                <c:pt idx="4">
                  <c:v>1.446</c:v>
                </c:pt>
                <c:pt idx="5">
                  <c:v>1.9490000000000001</c:v>
                </c:pt>
              </c:numCache>
            </c:numRef>
          </c:yVal>
          <c:bubbleSize>
            <c:numRef>
              <c:f>Sheet1!$C$2:$C$7</c:f>
              <c:numCache>
                <c:formatCode>General</c:formatCode>
                <c:ptCount val="6"/>
                <c:pt idx="0">
                  <c:v>8393288</c:v>
                </c:pt>
                <c:pt idx="1">
                  <c:v>5214126</c:v>
                </c:pt>
                <c:pt idx="2">
                  <c:v>4064943</c:v>
                </c:pt>
                <c:pt idx="3">
                  <c:v>2391008</c:v>
                </c:pt>
                <c:pt idx="4">
                  <c:v>1430636</c:v>
                </c:pt>
                <c:pt idx="5">
                  <c:v>436974</c:v>
                </c:pt>
              </c:numCache>
            </c:numRef>
          </c:bubbleSize>
          <c:bubble3D val="0"/>
          <c:extLst>
            <c:ext xmlns:c15="http://schemas.microsoft.com/office/drawing/2012/chart" uri="{02D57815-91ED-43cb-92C2-25804820EDAC}">
              <c15:datalabelsRange>
                <c15:f>Sheet1!$E$2:$E$10</c15:f>
                <c15:dlblRangeCache>
                  <c:ptCount val="9"/>
                  <c:pt idx="0">
                    <c:v>Bardinet</c:v>
                  </c:pt>
                  <c:pt idx="1">
                    <c:v>Gratien &amp; Meyer</c:v>
                  </c:pt>
                  <c:pt idx="2">
                    <c:v>Listel</c:v>
                  </c:pt>
                  <c:pt idx="3">
                    <c:v>Mdd</c:v>
                  </c:pt>
                  <c:pt idx="4">
                    <c:v>Freixenet</c:v>
                  </c:pt>
                  <c:pt idx="5">
                    <c:v>Orchidee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AFBB89-BD8E-4590-9B71-B35083A3F3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A1A5D7-206E-4B0F-914C-730839EDBC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55747A-0774-46E4-9945-C5BC13F77A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8C62FB-49BE-4769-9085-A9017FD45F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590C50-B676-4D6A-9F45-731B4DE88D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2BDE662-B241-4337-A2CB-C778F1EB8E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FBDCFAA-DD2A-4F43-B2D2-5D8A178C03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6F9688-A115-4CEC-A0BD-F7172630F4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26399999999999</c:v>
                </c:pt>
                <c:pt idx="1">
                  <c:v>11.3819</c:v>
                </c:pt>
                <c:pt idx="2">
                  <c:v>9.3262999999999998</c:v>
                </c:pt>
                <c:pt idx="3">
                  <c:v>34.194400000000002</c:v>
                </c:pt>
                <c:pt idx="4">
                  <c:v>18.021899999999999</c:v>
                </c:pt>
              </c:numCache>
            </c:numRef>
          </c:xVal>
          <c:yVal>
            <c:numRef>
              <c:f>Sheet1!$B$2:$B$6</c:f>
              <c:numCache>
                <c:formatCode>General</c:formatCode>
                <c:ptCount val="5"/>
                <c:pt idx="0">
                  <c:v>1.68</c:v>
                </c:pt>
                <c:pt idx="1">
                  <c:v>0.65900000000000003</c:v>
                </c:pt>
                <c:pt idx="2">
                  <c:v>0.54100000000000004</c:v>
                </c:pt>
                <c:pt idx="3">
                  <c:v>1.9670000000000001</c:v>
                </c:pt>
                <c:pt idx="4">
                  <c:v>1.0760000000000001</c:v>
                </c:pt>
              </c:numCache>
            </c:numRef>
          </c:yVal>
          <c:bubbleSize>
            <c:numRef>
              <c:f>Sheet1!$C$2:$C$6</c:f>
              <c:numCache>
                <c:formatCode>General</c:formatCode>
                <c:ptCount val="5"/>
                <c:pt idx="0">
                  <c:v>159529</c:v>
                </c:pt>
                <c:pt idx="1">
                  <c:v>109528</c:v>
                </c:pt>
                <c:pt idx="2">
                  <c:v>24640</c:v>
                </c:pt>
                <c:pt idx="3">
                  <c:v>24278</c:v>
                </c:pt>
                <c:pt idx="4">
                  <c:v>14021</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euve Du Vernay</c:v>
                  </c:pt>
                  <c:pt idx="3">
                    <c:v>French Bloom</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357795-AFFF-48B0-867B-E68C1D4769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8B0471-A2CD-4477-A913-C61A1D8198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35F19D-2259-403F-AFA6-190B44B7A5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59A0E8-9A47-4C43-A522-108FC64E8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FD35DC-EDED-49D6-96C7-10FF9F8F35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81BAFC1-5E9C-498F-B80B-7DD98066E8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E76E994-864A-42CA-9E60-737A1AD171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B4EA3D-5043-4EC0-B8A9-FEA504D178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73699999999999</c:v>
                </c:pt>
                <c:pt idx="1">
                  <c:v>11.320499999999999</c:v>
                </c:pt>
                <c:pt idx="2">
                  <c:v>9.3109999999999999</c:v>
                </c:pt>
                <c:pt idx="3">
                  <c:v>34.410400000000003</c:v>
                </c:pt>
                <c:pt idx="4">
                  <c:v>18.127199999999998</c:v>
                </c:pt>
              </c:numCache>
            </c:numRef>
          </c:xVal>
          <c:yVal>
            <c:numRef>
              <c:f>Sheet1!$B$2:$B$6</c:f>
              <c:numCache>
                <c:formatCode>General</c:formatCode>
                <c:ptCount val="5"/>
                <c:pt idx="0">
                  <c:v>1.798</c:v>
                </c:pt>
                <c:pt idx="1">
                  <c:v>0.70299999999999996</c:v>
                </c:pt>
                <c:pt idx="2">
                  <c:v>0.57799999999999996</c:v>
                </c:pt>
                <c:pt idx="3">
                  <c:v>2.113</c:v>
                </c:pt>
                <c:pt idx="4">
                  <c:v>1.1459999999999999</c:v>
                </c:pt>
              </c:numCache>
            </c:numRef>
          </c:yVal>
          <c:bubbleSize>
            <c:numRef>
              <c:f>Sheet1!$C$2:$C$6</c:f>
              <c:numCache>
                <c:formatCode>General</c:formatCode>
                <c:ptCount val="5"/>
                <c:pt idx="0">
                  <c:v>51664</c:v>
                </c:pt>
                <c:pt idx="1">
                  <c:v>47263</c:v>
                </c:pt>
                <c:pt idx="2">
                  <c:v>11648</c:v>
                </c:pt>
                <c:pt idx="3">
                  <c:v>8637</c:v>
                </c:pt>
                <c:pt idx="4">
                  <c:v>8411</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euve Du Vernay</c:v>
                  </c:pt>
                  <c:pt idx="3">
                    <c:v>French Bloom</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13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4FCCDE-5368-4D70-949C-48CE5D3BA5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A42A1C2-10E3-400D-AF16-3B326AAC58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D87BE9-0DCE-49CF-BB1C-A515C706A0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362916-577B-4CA3-94F5-BE5BC6D9A7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1C560A-173C-4896-BD6D-163315322F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1AF5388-6700-4D69-91EF-654BDD1A80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B01AC5-0BF4-4F8F-9BE2-4C8553A40E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E93D6F-FBB3-499E-A041-7C3FE42C38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313</c:v>
                </c:pt>
                <c:pt idx="1">
                  <c:v>11.426500000000001</c:v>
                </c:pt>
                <c:pt idx="2">
                  <c:v>34.788600000000002</c:v>
                </c:pt>
                <c:pt idx="3">
                  <c:v>9.3895999999999997</c:v>
                </c:pt>
                <c:pt idx="4">
                  <c:v>18.3688</c:v>
                </c:pt>
              </c:numCache>
            </c:numRef>
          </c:xVal>
          <c:yVal>
            <c:numRef>
              <c:f>Sheet1!$B$2:$B$6</c:f>
              <c:numCache>
                <c:formatCode>General</c:formatCode>
                <c:ptCount val="5"/>
                <c:pt idx="0">
                  <c:v>1.613</c:v>
                </c:pt>
                <c:pt idx="1">
                  <c:v>0.63400000000000001</c:v>
                </c:pt>
                <c:pt idx="2">
                  <c:v>1.9510000000000001</c:v>
                </c:pt>
                <c:pt idx="3">
                  <c:v>0.52600000000000002</c:v>
                </c:pt>
                <c:pt idx="4">
                  <c:v>1.0369999999999999</c:v>
                </c:pt>
              </c:numCache>
            </c:numRef>
          </c:yVal>
          <c:bubbleSize>
            <c:numRef>
              <c:f>Sheet1!$C$2:$C$6</c:f>
              <c:numCache>
                <c:formatCode>General</c:formatCode>
                <c:ptCount val="5"/>
                <c:pt idx="0">
                  <c:v>33268</c:v>
                </c:pt>
                <c:pt idx="1">
                  <c:v>19288</c:v>
                </c:pt>
                <c:pt idx="2">
                  <c:v>6088</c:v>
                </c:pt>
                <c:pt idx="3">
                  <c:v>5061</c:v>
                </c:pt>
                <c:pt idx="4">
                  <c:v>2939</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6D0A9A-53FB-48F5-933D-711A41CC7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DB3E5B-D306-4B6C-9D8F-44C18F8035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147371-78E0-48AC-BD2D-0DC5F8E53D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10DB9C-2178-4E57-BF0E-3EE844D792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46CB1B-F549-4DE8-82C0-BED745A20F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03439AF-5867-4DF2-BE32-67A6647FF4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40FC09-BA2D-46DA-8BC3-6110E71D25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93FA363-FE02-4234-9BB8-B2A25F31D4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10499999999998</c:v>
                </c:pt>
                <c:pt idx="1">
                  <c:v>11.432700000000001</c:v>
                </c:pt>
                <c:pt idx="2">
                  <c:v>34.455300000000001</c:v>
                </c:pt>
                <c:pt idx="3">
                  <c:v>9.4687999999999999</c:v>
                </c:pt>
                <c:pt idx="4">
                  <c:v>18.4194</c:v>
                </c:pt>
              </c:numCache>
            </c:numRef>
          </c:xVal>
          <c:yVal>
            <c:numRef>
              <c:f>Sheet1!$B$2:$B$6</c:f>
              <c:numCache>
                <c:formatCode>General</c:formatCode>
                <c:ptCount val="5"/>
                <c:pt idx="0">
                  <c:v>1.42</c:v>
                </c:pt>
                <c:pt idx="1">
                  <c:v>0.55900000000000005</c:v>
                </c:pt>
                <c:pt idx="2">
                  <c:v>1.669</c:v>
                </c:pt>
                <c:pt idx="3">
                  <c:v>0.46100000000000002</c:v>
                </c:pt>
                <c:pt idx="4">
                  <c:v>0.97499999999999998</c:v>
                </c:pt>
              </c:numCache>
            </c:numRef>
          </c:yVal>
          <c:bubbleSize>
            <c:numRef>
              <c:f>Sheet1!$C$2:$C$6</c:f>
              <c:numCache>
                <c:formatCode>General</c:formatCode>
                <c:ptCount val="5"/>
                <c:pt idx="0">
                  <c:v>30304</c:v>
                </c:pt>
                <c:pt idx="1">
                  <c:v>11387</c:v>
                </c:pt>
                <c:pt idx="2">
                  <c:v>8097</c:v>
                </c:pt>
                <c:pt idx="3">
                  <c:v>2727</c:v>
                </c:pt>
                <c:pt idx="4">
                  <c:v>114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074685-DDAD-4B5B-991D-E2CCFCE5BA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7BDDF0-09D2-498C-A4C2-F3D816B820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71AB55-E83F-48EB-A6E3-13C4A99663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35EE0A-4DD3-4CE5-9B7D-8A48F43A82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86B589-BCD9-465E-B1DC-578F717F88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E9E038-68D8-4453-AF32-69A063040B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5C1215-597C-4DFD-A5F6-DC5F31A640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330101-747A-4650-B93B-C451606C19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31900000000005</c:v>
                </c:pt>
                <c:pt idx="1">
                  <c:v>23.5243</c:v>
                </c:pt>
                <c:pt idx="2">
                  <c:v>50.431899999999999</c:v>
                </c:pt>
                <c:pt idx="3">
                  <c:v>53.389200000000002</c:v>
                </c:pt>
                <c:pt idx="4">
                  <c:v>31.674299999999999</c:v>
                </c:pt>
                <c:pt idx="5">
                  <c:v>83.896100000000004</c:v>
                </c:pt>
                <c:pt idx="6">
                  <c:v>33.087600000000002</c:v>
                </c:pt>
                <c:pt idx="7">
                  <c:v>56.0105</c:v>
                </c:pt>
              </c:numCache>
            </c:numRef>
          </c:xVal>
          <c:yVal>
            <c:numRef>
              <c:f>Sheet1!$B$2:$B$9</c:f>
              <c:numCache>
                <c:formatCode>General</c:formatCode>
                <c:ptCount val="8"/>
                <c:pt idx="0">
                  <c:v>1.853</c:v>
                </c:pt>
                <c:pt idx="1">
                  <c:v>0.629</c:v>
                </c:pt>
                <c:pt idx="2">
                  <c:v>1.3260000000000001</c:v>
                </c:pt>
                <c:pt idx="3">
                  <c:v>1.2849999999999999</c:v>
                </c:pt>
                <c:pt idx="4">
                  <c:v>0.84099999999999997</c:v>
                </c:pt>
                <c:pt idx="5">
                  <c:v>2.177</c:v>
                </c:pt>
                <c:pt idx="6">
                  <c:v>0.86799999999999999</c:v>
                </c:pt>
                <c:pt idx="7">
                  <c:v>1.337</c:v>
                </c:pt>
              </c:numCache>
            </c:numRef>
          </c:yVal>
          <c:bubbleSize>
            <c:numRef>
              <c:f>Sheet1!$C$2:$C$9</c:f>
              <c:numCache>
                <c:formatCode>General</c:formatCode>
                <c:ptCount val="8"/>
                <c:pt idx="0">
                  <c:v>1828137</c:v>
                </c:pt>
                <c:pt idx="1">
                  <c:v>611372</c:v>
                </c:pt>
                <c:pt idx="2">
                  <c:v>586220</c:v>
                </c:pt>
                <c:pt idx="3">
                  <c:v>507304</c:v>
                </c:pt>
                <c:pt idx="4">
                  <c:v>355481</c:v>
                </c:pt>
                <c:pt idx="5">
                  <c:v>287512</c:v>
                </c:pt>
                <c:pt idx="6">
                  <c:v>286936</c:v>
                </c:pt>
                <c:pt idx="7">
                  <c:v>239165</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Roederer</c:v>
                  </c:pt>
                  <c:pt idx="6">
                    <c:v>Nicolas Feuillatte</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1"/>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5BB2CB7-CC7E-4714-8F66-29A43845F0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8CE6F6F-4B96-418F-BB3D-32C58188AE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96CB558E-2377-4D07-8487-E003A9C86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606AED2-25FC-4F14-BFF6-CE0C819B2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5B330AA-90A1-4113-8D4B-6358969E01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31EC109-BC39-4B8D-87FA-3DE30D20CD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22399A87-9AE7-4BCC-BE74-F2DAE8C310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701E0C0-9281-46EC-BE39-C39DE74713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425</c:v>
                </c:pt>
                <c:pt idx="1">
                  <c:v>11.2257</c:v>
                </c:pt>
              </c:numCache>
            </c:numRef>
          </c:xVal>
          <c:yVal>
            <c:numRef>
              <c:f>Sheet1!$B$2:$B$3</c:f>
              <c:numCache>
                <c:formatCode>General</c:formatCode>
                <c:ptCount val="2"/>
                <c:pt idx="0">
                  <c:v>1.581</c:v>
                </c:pt>
                <c:pt idx="1">
                  <c:v>0.61099999999999999</c:v>
                </c:pt>
              </c:numCache>
            </c:numRef>
          </c:yVal>
          <c:bubbleSize>
            <c:numRef>
              <c:f>Sheet1!$C$2:$C$3</c:f>
              <c:numCache>
                <c:formatCode>General</c:formatCode>
                <c:ptCount val="2"/>
                <c:pt idx="0">
                  <c:v>104553</c:v>
                </c:pt>
                <c:pt idx="1">
                  <c:v>56005</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841025-9900-4233-91A1-76E11224D3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12179D-2513-4F08-997F-B4EE18888E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F9FD18-895F-40C0-9E27-BC78B97504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43C0783-2593-4E8B-B138-7B40D529FC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7CF664-6539-4D43-BF0F-DE70D9342C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B322810-41AB-4223-ADFF-C67784C1E8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1EBC15-29F6-44A2-B1F9-48FBD55055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BB41B78-9430-4216-842B-E0F88E7C1E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91199999999998</c:v>
                </c:pt>
                <c:pt idx="1">
                  <c:v>11.3607</c:v>
                </c:pt>
                <c:pt idx="2">
                  <c:v>9.3798999999999992</c:v>
                </c:pt>
                <c:pt idx="3">
                  <c:v>36.173099999999998</c:v>
                </c:pt>
                <c:pt idx="4">
                  <c:v>18.4068</c:v>
                </c:pt>
              </c:numCache>
            </c:numRef>
          </c:xVal>
          <c:yVal>
            <c:numRef>
              <c:f>Sheet1!$B$2:$B$6</c:f>
              <c:numCache>
                <c:formatCode>General</c:formatCode>
                <c:ptCount val="5"/>
                <c:pt idx="0">
                  <c:v>1.6819999999999999</c:v>
                </c:pt>
                <c:pt idx="1">
                  <c:v>0.64600000000000002</c:v>
                </c:pt>
                <c:pt idx="2">
                  <c:v>0.53300000000000003</c:v>
                </c:pt>
                <c:pt idx="3">
                  <c:v>1.9139999999999999</c:v>
                </c:pt>
                <c:pt idx="4">
                  <c:v>1.1599999999999999</c:v>
                </c:pt>
              </c:numCache>
            </c:numRef>
          </c:yVal>
          <c:bubbleSize>
            <c:numRef>
              <c:f>Sheet1!$C$2:$C$6</c:f>
              <c:numCache>
                <c:formatCode>General</c:formatCode>
                <c:ptCount val="5"/>
                <c:pt idx="0">
                  <c:v>16493</c:v>
                </c:pt>
                <c:pt idx="1">
                  <c:v>9952</c:v>
                </c:pt>
                <c:pt idx="2">
                  <c:v>2617</c:v>
                </c:pt>
                <c:pt idx="3">
                  <c:v>1881</c:v>
                </c:pt>
                <c:pt idx="4">
                  <c:v>1086</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euve Du Vernay</c:v>
                  </c:pt>
                  <c:pt idx="3">
                    <c:v>French Bloom</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1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99EB91-08B4-4744-A172-132A5D32EF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66238C-7BEF-4F75-9EC4-FA11F561B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FE8CFD-9897-4220-9731-AD9BAE71C2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E78CB8-374B-4B16-9DFA-5D3C5881F9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26BCAE-C91A-40F5-94FB-BB64B3F3CD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BDCFCB8-FE6D-4D28-90C0-8DB38F0A4E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D67ED3C-4BAC-4C05-B2D3-15C49D484B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73FD9C9-763F-4FF1-8A66-B9BCB44FE5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11900000000001</c:v>
                </c:pt>
                <c:pt idx="1">
                  <c:v>11.3827</c:v>
                </c:pt>
                <c:pt idx="2">
                  <c:v>34.131599999999999</c:v>
                </c:pt>
                <c:pt idx="3">
                  <c:v>9.2882999999999996</c:v>
                </c:pt>
                <c:pt idx="4">
                  <c:v>18.046299999999999</c:v>
                </c:pt>
              </c:numCache>
            </c:numRef>
          </c:xVal>
          <c:yVal>
            <c:numRef>
              <c:f>Sheet1!$B$2:$B$6</c:f>
              <c:numCache>
                <c:formatCode>General</c:formatCode>
                <c:ptCount val="5"/>
                <c:pt idx="0">
                  <c:v>1.6539999999999999</c:v>
                </c:pt>
                <c:pt idx="1">
                  <c:v>0.64900000000000002</c:v>
                </c:pt>
                <c:pt idx="2">
                  <c:v>1.9410000000000001</c:v>
                </c:pt>
                <c:pt idx="3">
                  <c:v>0.52900000000000003</c:v>
                </c:pt>
                <c:pt idx="4">
                  <c:v>1.056</c:v>
                </c:pt>
              </c:numCache>
            </c:numRef>
          </c:yVal>
          <c:bubbleSize>
            <c:numRef>
              <c:f>Sheet1!$C$2:$C$6</c:f>
              <c:numCache>
                <c:formatCode>General</c:formatCode>
                <c:ptCount val="5"/>
                <c:pt idx="0">
                  <c:v>237317</c:v>
                </c:pt>
                <c:pt idx="1">
                  <c:v>154292</c:v>
                </c:pt>
                <c:pt idx="2">
                  <c:v>41743</c:v>
                </c:pt>
                <c:pt idx="3">
                  <c:v>35667</c:v>
                </c:pt>
                <c:pt idx="4">
                  <c:v>21836</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4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DAD539-41D6-48FA-AF94-EE4B882632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DFAA64-7A2C-48AB-8115-3C9EF322EC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62C8C7-A33A-4BB5-81A3-D62F024FBD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7B22C7-F1F5-4FD4-8165-2440B3245A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13D1C71-95F2-4B9C-AE52-359BF07C16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4412795-71C3-41CB-9FF6-C802A4581F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B8D4EA1-4F3B-4761-8C81-0C6C3A6651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5BF9337-09A1-431B-9446-052EBA8115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084</c:v>
                </c:pt>
                <c:pt idx="1">
                  <c:v>11.2789</c:v>
                </c:pt>
                <c:pt idx="2">
                  <c:v>34.587299999999999</c:v>
                </c:pt>
                <c:pt idx="3">
                  <c:v>9.4718</c:v>
                </c:pt>
                <c:pt idx="4">
                  <c:v>18.257400000000001</c:v>
                </c:pt>
              </c:numCache>
            </c:numRef>
          </c:xVal>
          <c:yVal>
            <c:numRef>
              <c:f>Sheet1!$B$2:$B$6</c:f>
              <c:numCache>
                <c:formatCode>General</c:formatCode>
                <c:ptCount val="5"/>
                <c:pt idx="0">
                  <c:v>1.6479999999999999</c:v>
                </c:pt>
                <c:pt idx="1">
                  <c:v>0.63400000000000001</c:v>
                </c:pt>
                <c:pt idx="2">
                  <c:v>1.9790000000000001</c:v>
                </c:pt>
                <c:pt idx="3">
                  <c:v>0.53700000000000003</c:v>
                </c:pt>
                <c:pt idx="4">
                  <c:v>1.0589999999999999</c:v>
                </c:pt>
              </c:numCache>
            </c:numRef>
          </c:yVal>
          <c:bubbleSize>
            <c:numRef>
              <c:f>Sheet1!$C$2:$C$6</c:f>
              <c:numCache>
                <c:formatCode>General</c:formatCode>
                <c:ptCount val="5"/>
                <c:pt idx="0">
                  <c:v>26576</c:v>
                </c:pt>
                <c:pt idx="1">
                  <c:v>15813</c:v>
                </c:pt>
                <c:pt idx="2">
                  <c:v>4358</c:v>
                </c:pt>
                <c:pt idx="3">
                  <c:v>4196</c:v>
                </c:pt>
                <c:pt idx="4">
                  <c:v>248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7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257468-5966-4BE0-B766-6E14A79E3C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A9EFF7-F527-42B3-AE6F-50E5F07FB5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23F882-FB87-4DCA-AF9F-95052779C7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3A7F55E-D33C-4EA0-BF15-72D849F610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C8A0C8-F245-4939-B225-EE01975A9F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A0D19C8-C8F6-44E2-B84E-5817F26E2D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08533C7-8CC1-4A8E-AF2B-7021A74927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905408-11C9-40ED-8182-78559FB581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1648</c:v>
                </c:pt>
                <c:pt idx="1">
                  <c:v>11.4002</c:v>
                </c:pt>
                <c:pt idx="2">
                  <c:v>9.4817</c:v>
                </c:pt>
                <c:pt idx="3">
                  <c:v>35.100999999999999</c:v>
                </c:pt>
                <c:pt idx="4">
                  <c:v>18.162400000000002</c:v>
                </c:pt>
              </c:numCache>
            </c:numRef>
          </c:xVal>
          <c:yVal>
            <c:numRef>
              <c:f>Sheet1!$B$2:$B$6</c:f>
              <c:numCache>
                <c:formatCode>General</c:formatCode>
                <c:ptCount val="5"/>
                <c:pt idx="0">
                  <c:v>1.6870000000000001</c:v>
                </c:pt>
                <c:pt idx="1">
                  <c:v>0.65200000000000002</c:v>
                </c:pt>
                <c:pt idx="2">
                  <c:v>0.54300000000000004</c:v>
                </c:pt>
                <c:pt idx="3">
                  <c:v>1.962</c:v>
                </c:pt>
                <c:pt idx="4">
                  <c:v>1.099</c:v>
                </c:pt>
              </c:numCache>
            </c:numRef>
          </c:yVal>
          <c:bubbleSize>
            <c:numRef>
              <c:f>Sheet1!$C$2:$C$6</c:f>
              <c:numCache>
                <c:formatCode>General</c:formatCode>
                <c:ptCount val="5"/>
                <c:pt idx="0">
                  <c:v>18403</c:v>
                </c:pt>
                <c:pt idx="1">
                  <c:v>11081</c:v>
                </c:pt>
                <c:pt idx="2">
                  <c:v>4134</c:v>
                </c:pt>
                <c:pt idx="3">
                  <c:v>3475</c:v>
                </c:pt>
                <c:pt idx="4">
                  <c:v>2125</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euve Du Vernay</c:v>
                  </c:pt>
                  <c:pt idx="3">
                    <c:v>French Bloom</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ADF0B2-DBFD-4B3A-AEF9-4215005868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19FA6D-66C1-499D-8D60-7BEC31A79E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90844B9-2663-46BC-B0AD-A7D7F1AB38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0128D3-FB18-459B-AD12-135B89CA6B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BE64ED-DDBA-46B5-A994-D55F47EA8C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397B76-F0A8-4297-97DC-CED929FC6D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4BA97E9-18BA-4CE0-B379-C2E96B2FE1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39BEAB-A274-40A2-8E1C-3D061ECB03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9.628900000000002</c:v>
                </c:pt>
                <c:pt idx="1">
                  <c:v>11.506600000000001</c:v>
                </c:pt>
                <c:pt idx="2">
                  <c:v>11.8362</c:v>
                </c:pt>
                <c:pt idx="3">
                  <c:v>9.4666999999999994</c:v>
                </c:pt>
                <c:pt idx="4">
                  <c:v>38.7273</c:v>
                </c:pt>
                <c:pt idx="5">
                  <c:v>19.1951</c:v>
                </c:pt>
              </c:numCache>
            </c:numRef>
          </c:xVal>
          <c:yVal>
            <c:numRef>
              <c:f>Sheet1!$B$2:$B$7</c:f>
              <c:numCache>
                <c:formatCode>General</c:formatCode>
                <c:ptCount val="6"/>
                <c:pt idx="0">
                  <c:v>1.8049999999999999</c:v>
                </c:pt>
                <c:pt idx="1">
                  <c:v>0.71299999999999997</c:v>
                </c:pt>
                <c:pt idx="2">
                  <c:v>0.69699999999999995</c:v>
                </c:pt>
                <c:pt idx="3">
                  <c:v>0.56200000000000006</c:v>
                </c:pt>
                <c:pt idx="4">
                  <c:v>1.873</c:v>
                </c:pt>
                <c:pt idx="5">
                  <c:v>1.2529999999999999</c:v>
                </c:pt>
              </c:numCache>
            </c:numRef>
          </c:yVal>
          <c:bubbleSize>
            <c:numRef>
              <c:f>Sheet1!$C$2:$C$7</c:f>
              <c:numCache>
                <c:formatCode>General</c:formatCode>
                <c:ptCount val="6"/>
                <c:pt idx="0">
                  <c:v>9422</c:v>
                </c:pt>
                <c:pt idx="1">
                  <c:v>7859</c:v>
                </c:pt>
                <c:pt idx="2">
                  <c:v>1373</c:v>
                </c:pt>
                <c:pt idx="3">
                  <c:v>1278</c:v>
                </c:pt>
                <c:pt idx="4">
                  <c:v>852</c:v>
                </c:pt>
                <c:pt idx="5">
                  <c:v>787</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allon</c:v>
                  </c:pt>
                  <c:pt idx="3">
                    <c:v>Veuve Du Vernay</c:v>
                  </c:pt>
                  <c:pt idx="4">
                    <c:v>French Bloom</c:v>
                  </c:pt>
                  <c:pt idx="5">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B25B12-0796-4096-84C1-E1ED675D8F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B663D6-5477-4B4E-98C1-4163FA0D00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AAE9BC-ABD1-4FB8-A737-E76FE9B140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E82219-E317-40D7-A329-E7F4B72769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40927F-4AA4-4426-9371-299DD458E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B84A04D-EFC1-4591-B156-31BF3E3866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7A5B754-5AC7-49F1-B803-5C8F4DA38A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0759CE-EA4F-411C-8E39-C5B2E47B80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984000000000002</c:v>
                </c:pt>
                <c:pt idx="1">
                  <c:v>11.5024</c:v>
                </c:pt>
                <c:pt idx="2">
                  <c:v>36.222200000000001</c:v>
                </c:pt>
                <c:pt idx="3">
                  <c:v>19.0167</c:v>
                </c:pt>
                <c:pt idx="4">
                  <c:v>10.0185</c:v>
                </c:pt>
              </c:numCache>
            </c:numRef>
          </c:xVal>
          <c:yVal>
            <c:numRef>
              <c:f>Sheet1!$B$2:$B$6</c:f>
              <c:numCache>
                <c:formatCode>General</c:formatCode>
                <c:ptCount val="5"/>
                <c:pt idx="0">
                  <c:v>1.706</c:v>
                </c:pt>
                <c:pt idx="1">
                  <c:v>0.68300000000000005</c:v>
                </c:pt>
                <c:pt idx="2">
                  <c:v>1.776</c:v>
                </c:pt>
                <c:pt idx="3">
                  <c:v>1.157</c:v>
                </c:pt>
                <c:pt idx="4">
                  <c:v>0.55500000000000005</c:v>
                </c:pt>
              </c:numCache>
            </c:numRef>
          </c:yVal>
          <c:bubbleSize>
            <c:numRef>
              <c:f>Sheet1!$C$2:$C$6</c:f>
              <c:numCache>
                <c:formatCode>General</c:formatCode>
                <c:ptCount val="5"/>
                <c:pt idx="0">
                  <c:v>5637</c:v>
                </c:pt>
                <c:pt idx="1">
                  <c:v>4716</c:v>
                </c:pt>
                <c:pt idx="2">
                  <c:v>1304</c:v>
                </c:pt>
                <c:pt idx="3">
                  <c:v>1141</c:v>
                </c:pt>
                <c:pt idx="4">
                  <c:v>108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Nectarose</c:v>
                  </c:pt>
                  <c:pt idx="4">
                    <c:v>Veuve Du Vern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A4FB46-EE96-430F-96DA-C661ED1A3E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6670CF-2520-4870-8E5C-F2EC7061FF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BE0C78-05C5-457E-B208-6131717FE3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DCE898-CB43-4805-8FBE-0793AE2575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FB39C0-BB9C-4F72-8BC3-8A23D45406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432FFF0-4493-495C-AA21-BA8E27C6C8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4EE4E51-E202-4D58-AD24-41636FC1D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4045FB-0118-4D5E-AE85-1E5330587E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425</c:v>
                </c:pt>
                <c:pt idx="1">
                  <c:v>11.2257</c:v>
                </c:pt>
                <c:pt idx="2">
                  <c:v>34.255600000000001</c:v>
                </c:pt>
                <c:pt idx="3">
                  <c:v>9.2561999999999998</c:v>
                </c:pt>
                <c:pt idx="4">
                  <c:v>18.081900000000001</c:v>
                </c:pt>
              </c:numCache>
            </c:numRef>
          </c:xVal>
          <c:yVal>
            <c:numRef>
              <c:f>Sheet1!$B$2:$B$6</c:f>
              <c:numCache>
                <c:formatCode>General</c:formatCode>
                <c:ptCount val="5"/>
                <c:pt idx="0">
                  <c:v>1.581</c:v>
                </c:pt>
                <c:pt idx="1">
                  <c:v>0.61099999999999999</c:v>
                </c:pt>
                <c:pt idx="2">
                  <c:v>1.86</c:v>
                </c:pt>
                <c:pt idx="3">
                  <c:v>0.503</c:v>
                </c:pt>
                <c:pt idx="4">
                  <c:v>1.012</c:v>
                </c:pt>
              </c:numCache>
            </c:numRef>
          </c:yVal>
          <c:bubbleSize>
            <c:numRef>
              <c:f>Sheet1!$C$2:$C$6</c:f>
              <c:numCache>
                <c:formatCode>General</c:formatCode>
                <c:ptCount val="5"/>
                <c:pt idx="0">
                  <c:v>104553</c:v>
                </c:pt>
                <c:pt idx="1">
                  <c:v>56005</c:v>
                </c:pt>
                <c:pt idx="2">
                  <c:v>21581</c:v>
                </c:pt>
                <c:pt idx="3">
                  <c:v>13005</c:v>
                </c:pt>
                <c:pt idx="4">
                  <c:v>10162</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1146B4-DC05-4B4E-8ED3-31BC4DC48E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E4AB26-DF60-4BCB-BF6A-645BF67446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830044-9317-4FED-9886-3800BF080F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00C814-3C02-4DC5-BD7C-4DEAD05641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D0E4E1-7F86-4E67-B808-CACB0F8594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5D2E3D-519B-4C01-8001-B41135DEC7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8D64F1C-31B4-4DE9-A713-577C38A6DE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07F57DB-ADAA-4C20-B8C1-2E4E7CFA3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84499999999998</c:v>
                </c:pt>
                <c:pt idx="1">
                  <c:v>11.353199999999999</c:v>
                </c:pt>
                <c:pt idx="2">
                  <c:v>34.473100000000002</c:v>
                </c:pt>
                <c:pt idx="3">
                  <c:v>9.3343000000000007</c:v>
                </c:pt>
                <c:pt idx="4">
                  <c:v>18.152999999999999</c:v>
                </c:pt>
              </c:numCache>
            </c:numRef>
          </c:xVal>
          <c:yVal>
            <c:numRef>
              <c:f>Sheet1!$B$2:$B$6</c:f>
              <c:numCache>
                <c:formatCode>General</c:formatCode>
                <c:ptCount val="5"/>
                <c:pt idx="0">
                  <c:v>1.68</c:v>
                </c:pt>
                <c:pt idx="1">
                  <c:v>0.65600000000000003</c:v>
                </c:pt>
                <c:pt idx="2">
                  <c:v>1.9690000000000001</c:v>
                </c:pt>
                <c:pt idx="3">
                  <c:v>0.53900000000000003</c:v>
                </c:pt>
                <c:pt idx="4">
                  <c:v>1.08</c:v>
                </c:pt>
              </c:numCache>
            </c:numRef>
          </c:yVal>
          <c:bubbleSize>
            <c:numRef>
              <c:f>Sheet1!$C$2:$C$6</c:f>
              <c:numCache>
                <c:formatCode>General</c:formatCode>
                <c:ptCount val="5"/>
                <c:pt idx="0">
                  <c:v>46128</c:v>
                </c:pt>
                <c:pt idx="1">
                  <c:v>33594</c:v>
                </c:pt>
                <c:pt idx="2">
                  <c:v>8963</c:v>
                </c:pt>
                <c:pt idx="3">
                  <c:v>6786</c:v>
                </c:pt>
                <c:pt idx="4">
                  <c:v>4865</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6490CF-AD8A-4217-83BC-F7D2FB8E22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7EE680-259C-46EC-BD36-F4C372BBF7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DEE73A-6FE4-455D-9CCD-6859C27267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B64B07-625C-4FC0-BD85-EBD19D1714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D2C5F1-DAF9-47A2-A29B-7C78746C59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77B5840-BF3E-488D-A23D-3D1E21F630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BA46B61-52B9-41C5-A842-4D5A64A6AE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F6F5D7-E04F-4C5D-9A77-A3DFE19FE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535</c:v>
                </c:pt>
                <c:pt idx="1">
                  <c:v>11.4306</c:v>
                </c:pt>
                <c:pt idx="2">
                  <c:v>34.411299999999997</c:v>
                </c:pt>
                <c:pt idx="3">
                  <c:v>9.3277999999999999</c:v>
                </c:pt>
                <c:pt idx="4">
                  <c:v>18.156300000000002</c:v>
                </c:pt>
              </c:numCache>
            </c:numRef>
          </c:xVal>
          <c:yVal>
            <c:numRef>
              <c:f>Sheet1!$B$2:$B$6</c:f>
              <c:numCache>
                <c:formatCode>General</c:formatCode>
                <c:ptCount val="5"/>
                <c:pt idx="0">
                  <c:v>1.665</c:v>
                </c:pt>
                <c:pt idx="1">
                  <c:v>0.65500000000000003</c:v>
                </c:pt>
                <c:pt idx="2">
                  <c:v>1.956</c:v>
                </c:pt>
                <c:pt idx="3">
                  <c:v>0.53400000000000003</c:v>
                </c:pt>
                <c:pt idx="4">
                  <c:v>1.073</c:v>
                </c:pt>
              </c:numCache>
            </c:numRef>
          </c:yVal>
          <c:bubbleSize>
            <c:numRef>
              <c:f>Sheet1!$C$2:$C$6</c:f>
              <c:numCache>
                <c:formatCode>General</c:formatCode>
                <c:ptCount val="5"/>
                <c:pt idx="0">
                  <c:v>74377</c:v>
                </c:pt>
                <c:pt idx="1">
                  <c:v>47963</c:v>
                </c:pt>
                <c:pt idx="2">
                  <c:v>14556</c:v>
                </c:pt>
                <c:pt idx="3">
                  <c:v>12863</c:v>
                </c:pt>
                <c:pt idx="4">
                  <c:v>6736</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French Bloom</c:v>
                  </c:pt>
                  <c:pt idx="3">
                    <c:v>Veuve Du Vernay</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6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6E63A8-C3C3-4E11-8A0C-01CA08E9E6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9196C9-83B2-4F0D-A3DB-249F22F6BB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65AB99-AF41-48AA-AC79-F5A6A68DB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2D0009-D9C0-46C3-BA0A-74416496A1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363FC9-4701-4D91-9C18-7D74CCF0B5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8EF0003-46DE-4A38-9B4F-A720F2811E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6500155-1592-4A20-BE4E-34BFB3C01D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F4245AE-A373-43A3-AA76-0326623C30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99299999999999</c:v>
                </c:pt>
                <c:pt idx="1">
                  <c:v>11.4146</c:v>
                </c:pt>
                <c:pt idx="2">
                  <c:v>9.3943999999999992</c:v>
                </c:pt>
                <c:pt idx="3">
                  <c:v>34.214300000000001</c:v>
                </c:pt>
                <c:pt idx="4">
                  <c:v>18.126999999999999</c:v>
                </c:pt>
              </c:numCache>
            </c:numRef>
          </c:xVal>
          <c:yVal>
            <c:numRef>
              <c:f>Sheet1!$B$2:$B$6</c:f>
              <c:numCache>
                <c:formatCode>General</c:formatCode>
                <c:ptCount val="5"/>
                <c:pt idx="0">
                  <c:v>1.766</c:v>
                </c:pt>
                <c:pt idx="1">
                  <c:v>0.69199999999999995</c:v>
                </c:pt>
                <c:pt idx="2">
                  <c:v>0.56999999999999995</c:v>
                </c:pt>
                <c:pt idx="3">
                  <c:v>2.105</c:v>
                </c:pt>
                <c:pt idx="4">
                  <c:v>1.123</c:v>
                </c:pt>
              </c:numCache>
            </c:numRef>
          </c:yVal>
          <c:bubbleSize>
            <c:numRef>
              <c:f>Sheet1!$C$2:$C$6</c:f>
              <c:numCache>
                <c:formatCode>General</c:formatCode>
                <c:ptCount val="5"/>
                <c:pt idx="0">
                  <c:v>52466</c:v>
                </c:pt>
                <c:pt idx="1">
                  <c:v>43330</c:v>
                </c:pt>
                <c:pt idx="2">
                  <c:v>9432</c:v>
                </c:pt>
                <c:pt idx="3">
                  <c:v>5748</c:v>
                </c:pt>
                <c:pt idx="4">
                  <c:v>5710</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euve Du Vernay</c:v>
                  </c:pt>
                  <c:pt idx="3">
                    <c:v>French Bloom</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05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B727E8-2595-41D1-B07A-BC4EEBB028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92FD8F-1865-4F92-827E-7BAD3F47AC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35EBFB-3E98-481A-AD84-B32E6A37E5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2A0F6D-A02E-42B1-9373-B9CB1DD336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E61494-A319-4333-A7B4-FC42391C52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B2DCBE-9189-4E4D-814F-C14C7D7962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CF22C5-7B5B-4A00-9C3B-2748AA76C3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C27C76-AD92-4DE6-81FF-4BFB407038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133499999999998</c:v>
                </c:pt>
                <c:pt idx="1">
                  <c:v>23.392900000000001</c:v>
                </c:pt>
                <c:pt idx="2">
                  <c:v>48.761299999999999</c:v>
                </c:pt>
                <c:pt idx="3">
                  <c:v>51.302199999999999</c:v>
                </c:pt>
                <c:pt idx="4">
                  <c:v>31.512499999999999</c:v>
                </c:pt>
                <c:pt idx="5">
                  <c:v>32.631799999999998</c:v>
                </c:pt>
                <c:pt idx="6">
                  <c:v>29.2836</c:v>
                </c:pt>
                <c:pt idx="7">
                  <c:v>71.167199999999994</c:v>
                </c:pt>
              </c:numCache>
            </c:numRef>
          </c:xVal>
          <c:yVal>
            <c:numRef>
              <c:f>Sheet1!$B$2:$B$9</c:f>
              <c:numCache>
                <c:formatCode>General</c:formatCode>
                <c:ptCount val="8"/>
                <c:pt idx="0">
                  <c:v>1.595</c:v>
                </c:pt>
                <c:pt idx="1">
                  <c:v>0.55700000000000005</c:v>
                </c:pt>
                <c:pt idx="2">
                  <c:v>1.1419999999999999</c:v>
                </c:pt>
                <c:pt idx="3">
                  <c:v>1.097</c:v>
                </c:pt>
                <c:pt idx="4">
                  <c:v>0.747</c:v>
                </c:pt>
                <c:pt idx="5">
                  <c:v>0.76100000000000001</c:v>
                </c:pt>
                <c:pt idx="6">
                  <c:v>0.69299999999999995</c:v>
                </c:pt>
                <c:pt idx="7">
                  <c:v>1.6910000000000001</c:v>
                </c:pt>
              </c:numCache>
            </c:numRef>
          </c:yVal>
          <c:bubbleSize>
            <c:numRef>
              <c:f>Sheet1!$C$2:$C$9</c:f>
              <c:numCache>
                <c:formatCode>General</c:formatCode>
                <c:ptCount val="8"/>
                <c:pt idx="0">
                  <c:v>2147840</c:v>
                </c:pt>
                <c:pt idx="1">
                  <c:v>849490</c:v>
                </c:pt>
                <c:pt idx="2">
                  <c:v>757750</c:v>
                </c:pt>
                <c:pt idx="3">
                  <c:v>524411</c:v>
                </c:pt>
                <c:pt idx="4">
                  <c:v>464085</c:v>
                </c:pt>
                <c:pt idx="5">
                  <c:v>324491</c:v>
                </c:pt>
                <c:pt idx="6">
                  <c:v>304491</c:v>
                </c:pt>
                <c:pt idx="7">
                  <c:v>28132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Heidsieck &amp; Co Monopole</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70DBB2-4DA8-4123-B001-2BAE0F4AD8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ADEBE4-B0A2-4CE7-A67B-387E83ABEF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8BEDA8-F4BF-41B7-9D50-AAA5858F74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BE23A4-89B4-4671-AE61-09D85E29E7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80E7E9-FFC7-4E5E-B948-17A2591E0F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B4B3632-B8E4-4032-8600-6A04055F8F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1E45C79-EE8B-4F99-8511-75242177DE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975717D-41A9-4014-A195-DD0D00A1D4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068899999999999</c:v>
                </c:pt>
                <c:pt idx="1">
                  <c:v>11.472899999999999</c:v>
                </c:pt>
                <c:pt idx="2">
                  <c:v>9.3858999999999995</c:v>
                </c:pt>
                <c:pt idx="3">
                  <c:v>35.276800000000001</c:v>
                </c:pt>
                <c:pt idx="4">
                  <c:v>18.317699999999999</c:v>
                </c:pt>
              </c:numCache>
            </c:numRef>
          </c:xVal>
          <c:yVal>
            <c:numRef>
              <c:f>Sheet1!$B$2:$B$6</c:f>
              <c:numCache>
                <c:formatCode>General</c:formatCode>
                <c:ptCount val="5"/>
                <c:pt idx="0">
                  <c:v>1.8120000000000001</c:v>
                </c:pt>
                <c:pt idx="1">
                  <c:v>0.71499999999999997</c:v>
                </c:pt>
                <c:pt idx="2">
                  <c:v>0.58599999999999997</c:v>
                </c:pt>
                <c:pt idx="3">
                  <c:v>2.1989999999999998</c:v>
                </c:pt>
                <c:pt idx="4">
                  <c:v>1.1830000000000001</c:v>
                </c:pt>
              </c:numCache>
            </c:numRef>
          </c:yVal>
          <c:bubbleSize>
            <c:numRef>
              <c:f>Sheet1!$C$2:$C$6</c:f>
              <c:numCache>
                <c:formatCode>General</c:formatCode>
                <c:ptCount val="5"/>
                <c:pt idx="0">
                  <c:v>45115</c:v>
                </c:pt>
                <c:pt idx="1">
                  <c:v>38503</c:v>
                </c:pt>
                <c:pt idx="2">
                  <c:v>10653</c:v>
                </c:pt>
                <c:pt idx="3">
                  <c:v>3951</c:v>
                </c:pt>
                <c:pt idx="4">
                  <c:v>3517</c:v>
                </c:pt>
              </c:numCache>
            </c:numRef>
          </c:bubbleSize>
          <c:bubble3D val="0"/>
          <c:extLst>
            <c:ext xmlns:c15="http://schemas.microsoft.com/office/drawing/2012/chart" uri="{02D57815-91ED-43cb-92C2-25804820EDAC}">
              <c15:datalabelsRange>
                <c15:f>Sheet1!$E$2:$E$10</c15:f>
                <c15:dlblRangeCache>
                  <c:ptCount val="9"/>
                  <c:pt idx="0">
                    <c:v>De Chanceny</c:v>
                  </c:pt>
                  <c:pt idx="1">
                    <c:v>Lyre's</c:v>
                  </c:pt>
                  <c:pt idx="2">
                    <c:v>Veuve Du Vernay</c:v>
                  </c:pt>
                  <c:pt idx="3">
                    <c:v>French Bloom</c:v>
                  </c:pt>
                  <c:pt idx="4">
                    <c:v>Nectaro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802332-6377-417D-BAB1-88E7B12C99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07B627-1607-47A0-9CDA-47B6FD95E5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309F6B-F758-403A-82E7-7C2B497CAF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ADFD59-DA9A-49C2-9DE9-0CEB4A9383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F5CCF9-C1C9-43E2-9F95-177A81C746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F60E81-57EF-4862-9690-B134F26903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135F34-D0C3-4D91-9EE3-401F2DDF9A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97CC74-0177-4232-9501-D34FE1A73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008300000000006</c:v>
                </c:pt>
                <c:pt idx="1">
                  <c:v>30.7135</c:v>
                </c:pt>
                <c:pt idx="2">
                  <c:v>60.427500000000002</c:v>
                </c:pt>
                <c:pt idx="3">
                  <c:v>38.333300000000001</c:v>
                </c:pt>
                <c:pt idx="4">
                  <c:v>35.273200000000003</c:v>
                </c:pt>
                <c:pt idx="5">
                  <c:v>46.685600000000001</c:v>
                </c:pt>
                <c:pt idx="6">
                  <c:v>74.661799999999999</c:v>
                </c:pt>
                <c:pt idx="7">
                  <c:v>53.226900000000001</c:v>
                </c:pt>
              </c:numCache>
            </c:numRef>
          </c:xVal>
          <c:yVal>
            <c:numRef>
              <c:f>Sheet1!$B$2:$B$9</c:f>
              <c:numCache>
                <c:formatCode>General</c:formatCode>
                <c:ptCount val="8"/>
                <c:pt idx="0">
                  <c:v>1.91</c:v>
                </c:pt>
                <c:pt idx="1">
                  <c:v>0.60699999999999998</c:v>
                </c:pt>
                <c:pt idx="2">
                  <c:v>1.214</c:v>
                </c:pt>
                <c:pt idx="3">
                  <c:v>0.78900000000000003</c:v>
                </c:pt>
                <c:pt idx="4">
                  <c:v>0.69699999999999995</c:v>
                </c:pt>
                <c:pt idx="5">
                  <c:v>0.92300000000000004</c:v>
                </c:pt>
                <c:pt idx="6">
                  <c:v>1.4530000000000001</c:v>
                </c:pt>
                <c:pt idx="7">
                  <c:v>1.03</c:v>
                </c:pt>
              </c:numCache>
            </c:numRef>
          </c:yVal>
          <c:bubbleSize>
            <c:numRef>
              <c:f>Sheet1!$C$2:$C$9</c:f>
              <c:numCache>
                <c:formatCode>General</c:formatCode>
                <c:ptCount val="8"/>
                <c:pt idx="0">
                  <c:v>7602346</c:v>
                </c:pt>
                <c:pt idx="1">
                  <c:v>5549709</c:v>
                </c:pt>
                <c:pt idx="2">
                  <c:v>578835</c:v>
                </c:pt>
                <c:pt idx="3">
                  <c:v>510638</c:v>
                </c:pt>
                <c:pt idx="4">
                  <c:v>450509</c:v>
                </c:pt>
                <c:pt idx="5">
                  <c:v>277219</c:v>
                </c:pt>
                <c:pt idx="6">
                  <c:v>213010</c:v>
                </c:pt>
                <c:pt idx="7">
                  <c:v>200080</c:v>
                </c:pt>
              </c:numCache>
            </c:numRef>
          </c:bubbleSize>
          <c:bubble3D val="0"/>
          <c:extLst>
            <c:ext xmlns:c15="http://schemas.microsoft.com/office/drawing/2012/chart" uri="{02D57815-91ED-43cb-92C2-25804820EDAC}">
              <c15:datalabelsRange>
                <c15:f>Sheet1!$E$2:$E$10</c15:f>
                <c15:dlblRangeCache>
                  <c:ptCount val="9"/>
                  <c:pt idx="0">
                    <c:v>Mhcs</c:v>
                  </c:pt>
                  <c:pt idx="1">
                    <c:v>C&amp;C Sas France</c:v>
                  </c:pt>
                  <c:pt idx="2">
                    <c:v>Lanson-Bcc</c:v>
                  </c:pt>
                  <c:pt idx="3">
                    <c:v>Malard Nicolas</c:v>
                  </c:pt>
                  <c:pt idx="4">
                    <c:v>Malard</c:v>
                  </c:pt>
                  <c:pt idx="5">
                    <c:v>Henriot</c:v>
                  </c:pt>
                  <c:pt idx="6">
                    <c:v>Bollinger</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6"/>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71760E-2AE0-4B66-B83F-8FB97E9A99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F9BE29-B2F1-48CC-8AF6-19146D096E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0C8998-E40D-4829-BB03-AD5883C471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F43C05-534C-488F-87E4-FEEE92A3AA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8B9D1B-22EA-44A1-B9B3-E8152A61D8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DCDAD4-094C-4E2A-8400-0C6E4EEE62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77C500-544E-4AA7-8C86-4B48193CA4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4B31E5-A7A6-476D-9B77-FA13DC8809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226200000000006</c:v>
                </c:pt>
                <c:pt idx="1">
                  <c:v>38.6922</c:v>
                </c:pt>
                <c:pt idx="2">
                  <c:v>62.708399999999997</c:v>
                </c:pt>
                <c:pt idx="3">
                  <c:v>35.308900000000001</c:v>
                </c:pt>
                <c:pt idx="4">
                  <c:v>46.989800000000002</c:v>
                </c:pt>
                <c:pt idx="5">
                  <c:v>53.583599999999997</c:v>
                </c:pt>
                <c:pt idx="6">
                  <c:v>37.996200000000002</c:v>
                </c:pt>
                <c:pt idx="7">
                  <c:v>76.687899999999999</c:v>
                </c:pt>
              </c:numCache>
            </c:numRef>
          </c:xVal>
          <c:yVal>
            <c:numRef>
              <c:f>Sheet1!$B$2:$B$9</c:f>
              <c:numCache>
                <c:formatCode>General</c:formatCode>
                <c:ptCount val="8"/>
                <c:pt idx="0">
                  <c:v>1.3380000000000001</c:v>
                </c:pt>
                <c:pt idx="1">
                  <c:v>0.54900000000000004</c:v>
                </c:pt>
                <c:pt idx="2">
                  <c:v>0.875</c:v>
                </c:pt>
                <c:pt idx="3">
                  <c:v>0.48299999999999998</c:v>
                </c:pt>
                <c:pt idx="4">
                  <c:v>0.63400000000000001</c:v>
                </c:pt>
                <c:pt idx="5">
                  <c:v>0.71599999999999997</c:v>
                </c:pt>
                <c:pt idx="6">
                  <c:v>0.51500000000000001</c:v>
                </c:pt>
                <c:pt idx="7">
                  <c:v>1.0169999999999999</c:v>
                </c:pt>
              </c:numCache>
            </c:numRef>
          </c:yVal>
          <c:bubbleSize>
            <c:numRef>
              <c:f>Sheet1!$C$2:$C$9</c:f>
              <c:numCache>
                <c:formatCode>General</c:formatCode>
                <c:ptCount val="8"/>
                <c:pt idx="0">
                  <c:v>5308144</c:v>
                </c:pt>
                <c:pt idx="1">
                  <c:v>510814</c:v>
                </c:pt>
                <c:pt idx="2">
                  <c:v>466237</c:v>
                </c:pt>
                <c:pt idx="3">
                  <c:v>450506</c:v>
                </c:pt>
                <c:pt idx="4">
                  <c:v>267278</c:v>
                </c:pt>
                <c:pt idx="5">
                  <c:v>198420</c:v>
                </c:pt>
                <c:pt idx="6">
                  <c:v>181508</c:v>
                </c:pt>
                <c:pt idx="7">
                  <c:v>161198</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Henriot</c:v>
                  </c:pt>
                  <c:pt idx="5">
                    <c:v>Delamotte</c:v>
                  </c:pt>
                  <c:pt idx="6">
                    <c:v>De Bligny</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366825-AB9C-4900-85EE-C0039AC2CA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FA8844-5BC3-4079-ADCB-7D38674CD8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E38480-C98D-4FFE-A768-10412780F5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E7C46DD-BF2F-46CF-AB27-E9F92374B0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2D62519-499F-4A3D-9CC5-4372664D39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591B132-E352-4289-9458-4D6E402991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FF0AA0-29C8-4513-8D57-EBA625E7F6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C7B35C-10A4-4AE0-8DD1-45DE38B4A5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7121</c:v>
                </c:pt>
                <c:pt idx="1">
                  <c:v>94.948400000000007</c:v>
                </c:pt>
                <c:pt idx="2">
                  <c:v>55.431899999999999</c:v>
                </c:pt>
              </c:numCache>
            </c:numRef>
          </c:xVal>
          <c:yVal>
            <c:numRef>
              <c:f>Sheet1!$B$2:$B$4</c:f>
              <c:numCache>
                <c:formatCode>General</c:formatCode>
                <c:ptCount val="3"/>
                <c:pt idx="0">
                  <c:v>0.79300000000000004</c:v>
                </c:pt>
                <c:pt idx="1">
                  <c:v>2.4390000000000001</c:v>
                </c:pt>
                <c:pt idx="2">
                  <c:v>1.4</c:v>
                </c:pt>
              </c:numCache>
            </c:numRef>
          </c:yVal>
          <c:bubbleSize>
            <c:numRef>
              <c:f>Sheet1!$C$2:$C$4</c:f>
              <c:numCache>
                <c:formatCode>General</c:formatCode>
                <c:ptCount val="3"/>
                <c:pt idx="0">
                  <c:v>5549099</c:v>
                </c:pt>
                <c:pt idx="1">
                  <c:v>2308385</c:v>
                </c:pt>
                <c:pt idx="2">
                  <c:v>113081</c:v>
                </c:pt>
              </c:numCache>
            </c:numRef>
          </c:bubbleSize>
          <c:bubble3D val="0"/>
          <c:extLst>
            <c:ext xmlns:c15="http://schemas.microsoft.com/office/drawing/2012/chart" uri="{02D57815-91ED-43cb-92C2-25804820EDAC}">
              <c15:datalabelsRange>
                <c15:f>Sheet1!$E$2:$E$10</c15:f>
                <c15:dlblRangeCache>
                  <c:ptCount val="9"/>
                  <c:pt idx="0">
                    <c:v>C&amp;C Sas France</c:v>
                  </c:pt>
                  <c:pt idx="1">
                    <c:v>Mhcs</c:v>
                  </c:pt>
                  <c:pt idx="2">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639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70F86B-B33F-4037-933B-DF11DED66D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53B7BC-02C9-4A83-81AB-B02AB8F264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FC5CA4-22DB-48A9-9CCD-329EFFC370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804618-E360-471F-9C55-C459117E56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1CCE59-DDC7-4E53-89F4-7400C1329E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A95DD7-F6B4-4AB5-873E-3B0B75CB12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F918EC6-1EC3-4127-B631-1A86441FE5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2851CF-C29D-4F5B-AAE8-7B04895D3B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609899999999996</c:v>
                </c:pt>
                <c:pt idx="1">
                  <c:v>38.539200000000001</c:v>
                </c:pt>
                <c:pt idx="2">
                  <c:v>35.276000000000003</c:v>
                </c:pt>
                <c:pt idx="3">
                  <c:v>62.4985</c:v>
                </c:pt>
                <c:pt idx="4">
                  <c:v>46.558799999999998</c:v>
                </c:pt>
                <c:pt idx="5">
                  <c:v>52.786099999999998</c:v>
                </c:pt>
                <c:pt idx="6">
                  <c:v>37.8521</c:v>
                </c:pt>
                <c:pt idx="7">
                  <c:v>75.428600000000003</c:v>
                </c:pt>
              </c:numCache>
            </c:numRef>
          </c:xVal>
          <c:yVal>
            <c:numRef>
              <c:f>Sheet1!$B$2:$B$9</c:f>
              <c:numCache>
                <c:formatCode>General</c:formatCode>
                <c:ptCount val="8"/>
                <c:pt idx="0">
                  <c:v>1.4019999999999999</c:v>
                </c:pt>
                <c:pt idx="1">
                  <c:v>0.57099999999999995</c:v>
                </c:pt>
                <c:pt idx="2">
                  <c:v>0.504</c:v>
                </c:pt>
                <c:pt idx="3">
                  <c:v>0.91900000000000004</c:v>
                </c:pt>
                <c:pt idx="4">
                  <c:v>0.66500000000000004</c:v>
                </c:pt>
                <c:pt idx="5">
                  <c:v>0.75</c:v>
                </c:pt>
                <c:pt idx="6">
                  <c:v>0.54100000000000004</c:v>
                </c:pt>
                <c:pt idx="7">
                  <c:v>1.071</c:v>
                </c:pt>
              </c:numCache>
            </c:numRef>
          </c:yVal>
          <c:bubbleSize>
            <c:numRef>
              <c:f>Sheet1!$C$2:$C$9</c:f>
              <c:numCache>
                <c:formatCode>General</c:formatCode>
                <c:ptCount val="8"/>
                <c:pt idx="0">
                  <c:v>1705852</c:v>
                </c:pt>
                <c:pt idx="1">
                  <c:v>222872</c:v>
                </c:pt>
                <c:pt idx="2">
                  <c:v>202096</c:v>
                </c:pt>
                <c:pt idx="3">
                  <c:v>165621</c:v>
                </c:pt>
                <c:pt idx="4">
                  <c:v>117654</c:v>
                </c:pt>
                <c:pt idx="5">
                  <c:v>81185</c:v>
                </c:pt>
                <c:pt idx="6">
                  <c:v>76802</c:v>
                </c:pt>
                <c:pt idx="7">
                  <c:v>62304</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Malard</c:v>
                  </c:pt>
                  <c:pt idx="3">
                    <c:v>Lanson-Bcc</c:v>
                  </c:pt>
                  <c:pt idx="4">
                    <c:v>Henriot</c:v>
                  </c:pt>
                  <c:pt idx="5">
                    <c:v>Delamotte</c:v>
                  </c:pt>
                  <c:pt idx="6">
                    <c:v>De Bligny</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8EDC3B-809A-47E0-A28A-473EBA5A41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138356-68AC-43A8-BC13-A3BB3C43A4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B47E8B-3776-4DCF-9EC8-BC25DBECAD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79D2CD-87D3-443B-97CE-A76316FF43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A0FA50-8EA0-44B2-86E2-7DF26538E3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0B8634-EA19-4634-AF54-1B87D09D9E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82013D2-A6CE-41DF-92DC-958FA6088A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B767AB-8AF6-4A89-9D7F-CDCC320D93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625</c:v>
                </c:pt>
                <c:pt idx="1">
                  <c:v>38.7136</c:v>
                </c:pt>
                <c:pt idx="2">
                  <c:v>62.1145</c:v>
                </c:pt>
                <c:pt idx="3">
                  <c:v>35.055900000000001</c:v>
                </c:pt>
                <c:pt idx="4">
                  <c:v>46.262700000000002</c:v>
                </c:pt>
                <c:pt idx="5">
                  <c:v>37.4221</c:v>
                </c:pt>
                <c:pt idx="6">
                  <c:v>76.025499999999994</c:v>
                </c:pt>
                <c:pt idx="7">
                  <c:v>53.0809</c:v>
                </c:pt>
              </c:numCache>
            </c:numRef>
          </c:xVal>
          <c:yVal>
            <c:numRef>
              <c:f>Sheet1!$B$2:$B$9</c:f>
              <c:numCache>
                <c:formatCode>General</c:formatCode>
                <c:ptCount val="8"/>
                <c:pt idx="0">
                  <c:v>1.4490000000000001</c:v>
                </c:pt>
                <c:pt idx="1">
                  <c:v>0.59099999999999997</c:v>
                </c:pt>
                <c:pt idx="2">
                  <c:v>0.94</c:v>
                </c:pt>
                <c:pt idx="3">
                  <c:v>0.52100000000000002</c:v>
                </c:pt>
                <c:pt idx="4">
                  <c:v>0.68500000000000005</c:v>
                </c:pt>
                <c:pt idx="5">
                  <c:v>0.55500000000000005</c:v>
                </c:pt>
                <c:pt idx="6">
                  <c:v>1.1120000000000001</c:v>
                </c:pt>
                <c:pt idx="7">
                  <c:v>0.78800000000000003</c:v>
                </c:pt>
              </c:numCache>
            </c:numRef>
          </c:yVal>
          <c:bubbleSize>
            <c:numRef>
              <c:f>Sheet1!$C$2:$C$9</c:f>
              <c:numCache>
                <c:formatCode>General</c:formatCode>
                <c:ptCount val="8"/>
                <c:pt idx="0">
                  <c:v>1082244</c:v>
                </c:pt>
                <c:pt idx="1">
                  <c:v>121406</c:v>
                </c:pt>
                <c:pt idx="2">
                  <c:v>115595</c:v>
                </c:pt>
                <c:pt idx="3">
                  <c:v>94651</c:v>
                </c:pt>
                <c:pt idx="4">
                  <c:v>59355</c:v>
                </c:pt>
                <c:pt idx="5">
                  <c:v>46104</c:v>
                </c:pt>
                <c:pt idx="6">
                  <c:v>38697</c:v>
                </c:pt>
                <c:pt idx="7">
                  <c:v>34768</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Henriot</c:v>
                  </c:pt>
                  <c:pt idx="5">
                    <c:v>De Bligny</c:v>
                  </c:pt>
                  <c:pt idx="6">
                    <c:v>Bollinger</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7F887B-1AC3-4F54-8A38-59ADECD64F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0AD275-9EFC-4D2E-8AE4-8F187365A0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EA44DD-C68D-4333-BE97-C3BC842A37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0E7668-4AB8-4F72-A08F-E5E3462CB2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D6E4DF-DE9E-4583-B781-BE6FED2E1A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0D5D29-AAA5-4212-B2E1-5F213FD077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C0674D-DFB1-405F-A795-42427381F5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58CD76-380E-4098-A544-B700E1FA31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828900000000004</c:v>
                </c:pt>
                <c:pt idx="1">
                  <c:v>62.2926</c:v>
                </c:pt>
                <c:pt idx="2">
                  <c:v>35.456499999999998</c:v>
                </c:pt>
                <c:pt idx="3">
                  <c:v>37.632800000000003</c:v>
                </c:pt>
                <c:pt idx="4">
                  <c:v>47.334800000000001</c:v>
                </c:pt>
                <c:pt idx="5">
                  <c:v>54.0471</c:v>
                </c:pt>
                <c:pt idx="6">
                  <c:v>195.28280000000001</c:v>
                </c:pt>
                <c:pt idx="7">
                  <c:v>273.92469999999997</c:v>
                </c:pt>
              </c:numCache>
            </c:numRef>
          </c:xVal>
          <c:yVal>
            <c:numRef>
              <c:f>Sheet1!$B$2:$B$9</c:f>
              <c:numCache>
                <c:formatCode>General</c:formatCode>
                <c:ptCount val="8"/>
                <c:pt idx="0">
                  <c:v>1.2370000000000001</c:v>
                </c:pt>
                <c:pt idx="1">
                  <c:v>0.81699999999999995</c:v>
                </c:pt>
                <c:pt idx="2">
                  <c:v>0.44900000000000001</c:v>
                </c:pt>
                <c:pt idx="3">
                  <c:v>0.51</c:v>
                </c:pt>
                <c:pt idx="4">
                  <c:v>0.59299999999999997</c:v>
                </c:pt>
                <c:pt idx="5">
                  <c:v>0.67200000000000004</c:v>
                </c:pt>
                <c:pt idx="6">
                  <c:v>2.2370000000000001</c:v>
                </c:pt>
                <c:pt idx="7">
                  <c:v>3.0190000000000001</c:v>
                </c:pt>
              </c:numCache>
            </c:numRef>
          </c:yVal>
          <c:bubbleSize>
            <c:numRef>
              <c:f>Sheet1!$C$2:$C$9</c:f>
              <c:numCache>
                <c:formatCode>General</c:formatCode>
                <c:ptCount val="8"/>
                <c:pt idx="0">
                  <c:v>649486</c:v>
                </c:pt>
                <c:pt idx="1">
                  <c:v>47903</c:v>
                </c:pt>
                <c:pt idx="2">
                  <c:v>45668</c:v>
                </c:pt>
                <c:pt idx="3">
                  <c:v>44783</c:v>
                </c:pt>
                <c:pt idx="4">
                  <c:v>32235</c:v>
                </c:pt>
                <c:pt idx="5">
                  <c:v>32158</c:v>
                </c:pt>
                <c:pt idx="6">
                  <c:v>28316</c:v>
                </c:pt>
                <c:pt idx="7">
                  <c:v>25475</c:v>
                </c:pt>
              </c:numCache>
            </c:numRef>
          </c:bubbleSize>
          <c:bubble3D val="0"/>
          <c:extLst>
            <c:ext xmlns:c15="http://schemas.microsoft.com/office/drawing/2012/chart" uri="{02D57815-91ED-43cb-92C2-25804820EDAC}">
              <c15:datalabelsRange>
                <c15:f>Sheet1!$E$2:$E$10</c15:f>
                <c15:dlblRangeCache>
                  <c:ptCount val="9"/>
                  <c:pt idx="0">
                    <c:v>Mhcs</c:v>
                  </c:pt>
                  <c:pt idx="1">
                    <c:v>Lanson-Bcc</c:v>
                  </c:pt>
                  <c:pt idx="2">
                    <c:v>Malard</c:v>
                  </c:pt>
                  <c:pt idx="3">
                    <c:v>Malard Nicolas</c:v>
                  </c:pt>
                  <c:pt idx="4">
                    <c:v>Henriot</c:v>
                  </c:pt>
                  <c:pt idx="5">
                    <c:v>Delamotte</c:v>
                  </c:pt>
                  <c:pt idx="6">
                    <c:v>Laurent Perrier</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21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E0365B-6483-46B8-A270-2559064F11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5B51D4-C1BE-402C-91EA-6F3A80C14F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0B9484-28A9-4EFD-930C-75BC5B504A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3473A2-2B1E-47AC-8D78-BD6ACE71C2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B261E0-613B-4FD8-8EEA-56F3A7A75F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2478E86-465E-4B75-8201-A4C53055F7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E79244-F5BE-48C4-8A3E-587702C87C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DD418A-740A-4D05-B5F5-20993D919A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436099999999996</c:v>
                </c:pt>
                <c:pt idx="1">
                  <c:v>63.5458</c:v>
                </c:pt>
                <c:pt idx="2">
                  <c:v>37.307899999999997</c:v>
                </c:pt>
                <c:pt idx="3">
                  <c:v>84.719300000000004</c:v>
                </c:pt>
                <c:pt idx="4">
                  <c:v>35.465499999999999</c:v>
                </c:pt>
                <c:pt idx="5">
                  <c:v>47.244599999999998</c:v>
                </c:pt>
                <c:pt idx="6">
                  <c:v>268.54689999999999</c:v>
                </c:pt>
                <c:pt idx="7">
                  <c:v>52.890099999999997</c:v>
                </c:pt>
              </c:numCache>
            </c:numRef>
          </c:xVal>
          <c:yVal>
            <c:numRef>
              <c:f>Sheet1!$B$2:$B$9</c:f>
              <c:numCache>
                <c:formatCode>General</c:formatCode>
                <c:ptCount val="8"/>
                <c:pt idx="0">
                  <c:v>1.151</c:v>
                </c:pt>
                <c:pt idx="1">
                  <c:v>0.78</c:v>
                </c:pt>
                <c:pt idx="2">
                  <c:v>0.48599999999999999</c:v>
                </c:pt>
                <c:pt idx="3">
                  <c:v>0.997</c:v>
                </c:pt>
                <c:pt idx="4">
                  <c:v>0.42599999999999999</c:v>
                </c:pt>
                <c:pt idx="5">
                  <c:v>0.55700000000000005</c:v>
                </c:pt>
                <c:pt idx="6">
                  <c:v>2.7970000000000002</c:v>
                </c:pt>
                <c:pt idx="7">
                  <c:v>0.624</c:v>
                </c:pt>
              </c:numCache>
            </c:numRef>
          </c:yVal>
          <c:bubbleSize>
            <c:numRef>
              <c:f>Sheet1!$C$2:$C$9</c:f>
              <c:numCache>
                <c:formatCode>General</c:formatCode>
                <c:ptCount val="8"/>
                <c:pt idx="0">
                  <c:v>745644</c:v>
                </c:pt>
                <c:pt idx="1">
                  <c:v>34696</c:v>
                </c:pt>
                <c:pt idx="2">
                  <c:v>31264</c:v>
                </c:pt>
                <c:pt idx="3">
                  <c:v>31092</c:v>
                </c:pt>
                <c:pt idx="4">
                  <c:v>28798</c:v>
                </c:pt>
                <c:pt idx="5">
                  <c:v>24142</c:v>
                </c:pt>
                <c:pt idx="6">
                  <c:v>17187</c:v>
                </c:pt>
                <c:pt idx="7">
                  <c:v>14915</c:v>
                </c:pt>
              </c:numCache>
            </c:numRef>
          </c:bubbleSize>
          <c:bubble3D val="0"/>
          <c:extLst>
            <c:ext xmlns:c15="http://schemas.microsoft.com/office/drawing/2012/chart" uri="{02D57815-91ED-43cb-92C2-25804820EDAC}">
              <c15:datalabelsRange>
                <c15:f>Sheet1!$E$2:$E$10</c15:f>
                <c15:dlblRangeCache>
                  <c:ptCount val="9"/>
                  <c:pt idx="0">
                    <c:v>Mhcs</c:v>
                  </c:pt>
                  <c:pt idx="1">
                    <c:v>Lanson-Bcc</c:v>
                  </c:pt>
                  <c:pt idx="2">
                    <c:v>Malard Nicolas</c:v>
                  </c:pt>
                  <c:pt idx="3">
                    <c:v>Pernod Ricard</c:v>
                  </c:pt>
                  <c:pt idx="4">
                    <c:v>Malard</c:v>
                  </c:pt>
                  <c:pt idx="5">
                    <c:v>Henriot</c:v>
                  </c:pt>
                  <c:pt idx="6">
                    <c:v>Laurent Perrier</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99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985339-D1C4-4F89-8ED3-06B3BD906C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65ED41-70A8-4014-A669-A53A3D36D4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E7E304-C067-4867-BFAB-D6A4E3CA62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118ECA-CE15-4FC1-B6D1-C8823E3530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F23756-7A3F-458D-84E1-496AACA72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0281DF-2823-4E87-95A5-EF6F906406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342808-517E-4C55-A87E-757A9664B5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A865F5-3F76-4BAB-B3EB-63D1359906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2.375500000000002</c:v>
                </c:pt>
                <c:pt idx="1">
                  <c:v>65.034199999999998</c:v>
                </c:pt>
                <c:pt idx="2">
                  <c:v>35.363399999999999</c:v>
                </c:pt>
                <c:pt idx="3">
                  <c:v>40.165900000000001</c:v>
                </c:pt>
                <c:pt idx="4">
                  <c:v>78.006</c:v>
                </c:pt>
                <c:pt idx="5">
                  <c:v>183.55930000000001</c:v>
                </c:pt>
                <c:pt idx="6">
                  <c:v>48.165100000000002</c:v>
                </c:pt>
                <c:pt idx="7">
                  <c:v>56.223500000000001</c:v>
                </c:pt>
              </c:numCache>
            </c:numRef>
          </c:xVal>
          <c:yVal>
            <c:numRef>
              <c:f>Sheet1!$B$2:$B$9</c:f>
              <c:numCache>
                <c:formatCode>General</c:formatCode>
                <c:ptCount val="8"/>
                <c:pt idx="0">
                  <c:v>1.23</c:v>
                </c:pt>
                <c:pt idx="1">
                  <c:v>0.82199999999999995</c:v>
                </c:pt>
                <c:pt idx="2">
                  <c:v>0.44400000000000001</c:v>
                </c:pt>
                <c:pt idx="3">
                  <c:v>0.50600000000000001</c:v>
                </c:pt>
                <c:pt idx="4">
                  <c:v>0.94399999999999995</c:v>
                </c:pt>
                <c:pt idx="5">
                  <c:v>2.2999999999999998</c:v>
                </c:pt>
                <c:pt idx="6">
                  <c:v>0.58499999999999996</c:v>
                </c:pt>
                <c:pt idx="7">
                  <c:v>0.64400000000000002</c:v>
                </c:pt>
              </c:numCache>
            </c:numRef>
          </c:yVal>
          <c:bubbleSize>
            <c:numRef>
              <c:f>Sheet1!$C$2:$C$9</c:f>
              <c:numCache>
                <c:formatCode>General</c:formatCode>
                <c:ptCount val="8"/>
                <c:pt idx="0">
                  <c:v>432687</c:v>
                </c:pt>
                <c:pt idx="1">
                  <c:v>30436</c:v>
                </c:pt>
                <c:pt idx="2">
                  <c:v>25497</c:v>
                </c:pt>
                <c:pt idx="3">
                  <c:v>25425</c:v>
                </c:pt>
                <c:pt idx="4">
                  <c:v>13027</c:v>
                </c:pt>
                <c:pt idx="5">
                  <c:v>10830</c:v>
                </c:pt>
                <c:pt idx="6">
                  <c:v>10211</c:v>
                </c:pt>
                <c:pt idx="7">
                  <c:v>10064</c:v>
                </c:pt>
              </c:numCache>
            </c:numRef>
          </c:bubbleSize>
          <c:bubble3D val="0"/>
          <c:extLst>
            <c:ext xmlns:c15="http://schemas.microsoft.com/office/drawing/2012/chart" uri="{02D57815-91ED-43cb-92C2-25804820EDAC}">
              <c15:datalabelsRange>
                <c15:f>Sheet1!$E$2:$E$10</c15:f>
                <c15:dlblRangeCache>
                  <c:ptCount val="9"/>
                  <c:pt idx="0">
                    <c:v>Mhcs</c:v>
                  </c:pt>
                  <c:pt idx="1">
                    <c:v>Lanson-Bcc</c:v>
                  </c:pt>
                  <c:pt idx="2">
                    <c:v>Malard</c:v>
                  </c:pt>
                  <c:pt idx="3">
                    <c:v>Malard Nicolas</c:v>
                  </c:pt>
                  <c:pt idx="4">
                    <c:v>Bollinger</c:v>
                  </c:pt>
                  <c:pt idx="5">
                    <c:v>Roederer</c:v>
                  </c:pt>
                  <c:pt idx="6">
                    <c:v>Henriot</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0"/>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2394A8-3937-41DF-868B-082C6E008E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317704-40BA-4210-AAB0-B6B0395B30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4C07BA-28D0-4D8A-AB75-88D0C987BB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E153E2-85C8-4A4B-8702-D78AB87946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79A039-1219-4C8F-B09D-A59B670FF5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05342A-3F1D-4727-9301-CBDC067874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B16A90-A6A9-4979-88D8-C3C7EA7D9B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5EF5AB-DBA1-4B1A-8031-F099FDE5D0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277500000000003</c:v>
                </c:pt>
                <c:pt idx="1">
                  <c:v>38.222499999999997</c:v>
                </c:pt>
                <c:pt idx="2">
                  <c:v>62.104900000000001</c:v>
                </c:pt>
                <c:pt idx="3">
                  <c:v>35.237200000000001</c:v>
                </c:pt>
                <c:pt idx="4">
                  <c:v>46.434600000000003</c:v>
                </c:pt>
                <c:pt idx="5">
                  <c:v>52.797199999999997</c:v>
                </c:pt>
                <c:pt idx="6">
                  <c:v>37.828899999999997</c:v>
                </c:pt>
                <c:pt idx="7">
                  <c:v>75.531400000000005</c:v>
                </c:pt>
              </c:numCache>
            </c:numRef>
          </c:xVal>
          <c:yVal>
            <c:numRef>
              <c:f>Sheet1!$B$2:$B$9</c:f>
              <c:numCache>
                <c:formatCode>General</c:formatCode>
                <c:ptCount val="8"/>
                <c:pt idx="0">
                  <c:v>1.3140000000000001</c:v>
                </c:pt>
                <c:pt idx="1">
                  <c:v>0.53700000000000003</c:v>
                </c:pt>
                <c:pt idx="2">
                  <c:v>0.85599999999999998</c:v>
                </c:pt>
                <c:pt idx="3">
                  <c:v>0.47499999999999998</c:v>
                </c:pt>
                <c:pt idx="4">
                  <c:v>0.626</c:v>
                </c:pt>
                <c:pt idx="5">
                  <c:v>0.70899999999999996</c:v>
                </c:pt>
                <c:pt idx="6">
                  <c:v>0.51</c:v>
                </c:pt>
                <c:pt idx="7">
                  <c:v>1.016</c:v>
                </c:pt>
              </c:numCache>
            </c:numRef>
          </c:yVal>
          <c:bubbleSize>
            <c:numRef>
              <c:f>Sheet1!$C$2:$C$9</c:f>
              <c:numCache>
                <c:formatCode>General</c:formatCode>
                <c:ptCount val="8"/>
                <c:pt idx="0">
                  <c:v>3647322</c:v>
                </c:pt>
                <c:pt idx="1">
                  <c:v>347366</c:v>
                </c:pt>
                <c:pt idx="2">
                  <c:v>326113</c:v>
                </c:pt>
                <c:pt idx="3">
                  <c:v>311285</c:v>
                </c:pt>
                <c:pt idx="4">
                  <c:v>195397</c:v>
                </c:pt>
                <c:pt idx="5">
                  <c:v>139279</c:v>
                </c:pt>
                <c:pt idx="6">
                  <c:v>115643</c:v>
                </c:pt>
                <c:pt idx="7">
                  <c:v>102194</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Henriot</c:v>
                  </c:pt>
                  <c:pt idx="5">
                    <c:v>Delamotte</c:v>
                  </c:pt>
                  <c:pt idx="6">
                    <c:v>De Bligny</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8277F4C-82D1-40EE-A632-BE601CB020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4224CC0-BCE6-4D09-9B34-C366987CC3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9EFB8E4-E8F4-46D0-9A5C-5E7DD786F9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653CEE0-8D9A-4E14-B0A7-8EA3DE831A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D740DAD-CBA8-492C-B867-AE6F033F4B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112047A-BF77-4D37-97EC-BFE7B90703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0A89FA0-E9E5-49CC-AB91-5D62481E45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12BB8F1-321F-4AB1-9AD4-6D38A057D8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999</c:v>
                </c:pt>
                <c:pt idx="1">
                  <c:v>12.7821</c:v>
                </c:pt>
                <c:pt idx="2">
                  <c:v>17.365600000000001</c:v>
                </c:pt>
                <c:pt idx="3">
                  <c:v>11.6388</c:v>
                </c:pt>
                <c:pt idx="4">
                  <c:v>11.379899999999999</c:v>
                </c:pt>
                <c:pt idx="5">
                  <c:v>9.0538000000000007</c:v>
                </c:pt>
                <c:pt idx="6">
                  <c:v>13.565200000000001</c:v>
                </c:pt>
                <c:pt idx="7">
                  <c:v>5.7614999999999998</c:v>
                </c:pt>
              </c:numCache>
            </c:numRef>
          </c:xVal>
          <c:yVal>
            <c:numRef>
              <c:f>Sheet1!$B$2:$B$9</c:f>
              <c:numCache>
                <c:formatCode>General</c:formatCode>
                <c:ptCount val="8"/>
                <c:pt idx="0">
                  <c:v>1.0920000000000001</c:v>
                </c:pt>
                <c:pt idx="1">
                  <c:v>1.214</c:v>
                </c:pt>
                <c:pt idx="2">
                  <c:v>1.6639999999999999</c:v>
                </c:pt>
                <c:pt idx="3">
                  <c:v>1.0660000000000001</c:v>
                </c:pt>
                <c:pt idx="4">
                  <c:v>1.081</c:v>
                </c:pt>
                <c:pt idx="5">
                  <c:v>0.86099999999999999</c:v>
                </c:pt>
                <c:pt idx="6">
                  <c:v>1.2849999999999999</c:v>
                </c:pt>
                <c:pt idx="7">
                  <c:v>0.54600000000000004</c:v>
                </c:pt>
              </c:numCache>
            </c:numRef>
          </c:yVal>
          <c:bubbleSize>
            <c:numRef>
              <c:f>Sheet1!$C$2:$C$9</c:f>
              <c:numCache>
                <c:formatCode>General</c:formatCode>
                <c:ptCount val="8"/>
                <c:pt idx="0">
                  <c:v>82178</c:v>
                </c:pt>
                <c:pt idx="1">
                  <c:v>74724</c:v>
                </c:pt>
                <c:pt idx="2">
                  <c:v>70435</c:v>
                </c:pt>
                <c:pt idx="3">
                  <c:v>50745</c:v>
                </c:pt>
                <c:pt idx="4">
                  <c:v>43528</c:v>
                </c:pt>
                <c:pt idx="5">
                  <c:v>39538</c:v>
                </c:pt>
                <c:pt idx="6">
                  <c:v>23088</c:v>
                </c:pt>
                <c:pt idx="7">
                  <c:v>21335</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Bouvet-Ladubay</c:v>
                  </c:pt>
                  <c:pt idx="4">
                    <c:v>Chateau Moncontour</c:v>
                  </c:pt>
                  <c:pt idx="5">
                    <c:v>Savian</c:v>
                  </c:pt>
                  <c:pt idx="6">
                    <c:v>De Chanceny</c:v>
                  </c:pt>
                  <c:pt idx="7">
                    <c:v>Krit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BF53FD-9A35-4AEA-82B7-0756084E69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2C82CA-D48C-451C-A7F7-DCBC7FB11E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E131E6-8E95-4314-B565-12FD717016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65091C-E45F-43BB-B0DD-BC94174411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A98E2A-AAAB-4EB1-9E71-A71389A3D4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288086-01E6-481C-9CCD-8B75E0E710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560270-3454-40B6-B215-CCBC8D0230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6417D8-5716-4278-BDFD-EF42C024C6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729699999999994</c:v>
                </c:pt>
                <c:pt idx="1">
                  <c:v>38.232500000000002</c:v>
                </c:pt>
                <c:pt idx="2">
                  <c:v>62.629800000000003</c:v>
                </c:pt>
                <c:pt idx="3">
                  <c:v>35.273699999999998</c:v>
                </c:pt>
                <c:pt idx="4">
                  <c:v>38.656100000000002</c:v>
                </c:pt>
                <c:pt idx="5">
                  <c:v>47.862200000000001</c:v>
                </c:pt>
                <c:pt idx="6">
                  <c:v>235.16220000000001</c:v>
                </c:pt>
                <c:pt idx="7">
                  <c:v>54.452500000000001</c:v>
                </c:pt>
              </c:numCache>
            </c:numRef>
          </c:xVal>
          <c:yVal>
            <c:numRef>
              <c:f>Sheet1!$B$2:$B$9</c:f>
              <c:numCache>
                <c:formatCode>General</c:formatCode>
                <c:ptCount val="8"/>
                <c:pt idx="0">
                  <c:v>1.224</c:v>
                </c:pt>
                <c:pt idx="1">
                  <c:v>0.50600000000000001</c:v>
                </c:pt>
                <c:pt idx="2">
                  <c:v>0.78</c:v>
                </c:pt>
                <c:pt idx="3">
                  <c:v>0.443</c:v>
                </c:pt>
                <c:pt idx="4">
                  <c:v>0.48399999999999999</c:v>
                </c:pt>
                <c:pt idx="5">
                  <c:v>0.59299999999999997</c:v>
                </c:pt>
                <c:pt idx="6">
                  <c:v>2.629</c:v>
                </c:pt>
                <c:pt idx="7">
                  <c:v>0.66600000000000004</c:v>
                </c:pt>
              </c:numCache>
            </c:numRef>
          </c:yVal>
          <c:bubbleSize>
            <c:numRef>
              <c:f>Sheet1!$C$2:$C$9</c:f>
              <c:numCache>
                <c:formatCode>General</c:formatCode>
                <c:ptCount val="8"/>
                <c:pt idx="0">
                  <c:v>704092</c:v>
                </c:pt>
                <c:pt idx="1">
                  <c:v>56890</c:v>
                </c:pt>
                <c:pt idx="2">
                  <c:v>37390</c:v>
                </c:pt>
                <c:pt idx="3">
                  <c:v>33122</c:v>
                </c:pt>
                <c:pt idx="4">
                  <c:v>18323</c:v>
                </c:pt>
                <c:pt idx="5">
                  <c:v>17709</c:v>
                </c:pt>
                <c:pt idx="6">
                  <c:v>17402</c:v>
                </c:pt>
                <c:pt idx="7">
                  <c:v>17207</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De Bligny</c:v>
                  </c:pt>
                  <c:pt idx="5">
                    <c:v>Henriot</c:v>
                  </c:pt>
                  <c:pt idx="6">
                    <c:v>Taittinger</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2"/>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829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993273-0F5A-4B56-9867-71533BE736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495FAE-BBBD-4F04-A657-1D186A7BEE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CF4B22-D2EC-4B45-BE07-BC42993D8F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A53C6C-C874-4228-83E5-27D5DB1933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CDBB63-8E02-45E4-95FA-682816C587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D05A8D-F7E6-4F14-957F-DFB5DCCC30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0B3484-EE85-4F21-BECD-0211B6996B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05D3C6-7EC1-46A4-B0D8-C08A6CF5D3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1.1712</c:v>
                </c:pt>
                <c:pt idx="1">
                  <c:v>35.475900000000003</c:v>
                </c:pt>
                <c:pt idx="2">
                  <c:v>61.3095</c:v>
                </c:pt>
                <c:pt idx="3">
                  <c:v>41.003300000000003</c:v>
                </c:pt>
                <c:pt idx="4">
                  <c:v>47.451099999999997</c:v>
                </c:pt>
                <c:pt idx="5">
                  <c:v>77.934200000000004</c:v>
                </c:pt>
                <c:pt idx="6">
                  <c:v>38.840800000000002</c:v>
                </c:pt>
                <c:pt idx="7">
                  <c:v>55.329700000000003</c:v>
                </c:pt>
              </c:numCache>
            </c:numRef>
          </c:xVal>
          <c:yVal>
            <c:numRef>
              <c:f>Sheet1!$B$2:$B$9</c:f>
              <c:numCache>
                <c:formatCode>General</c:formatCode>
                <c:ptCount val="8"/>
                <c:pt idx="0">
                  <c:v>1.341</c:v>
                </c:pt>
                <c:pt idx="1">
                  <c:v>0.47599999999999998</c:v>
                </c:pt>
                <c:pt idx="2">
                  <c:v>0.86899999999999999</c:v>
                </c:pt>
                <c:pt idx="3">
                  <c:v>0.56200000000000006</c:v>
                </c:pt>
                <c:pt idx="4">
                  <c:v>0.626</c:v>
                </c:pt>
                <c:pt idx="5">
                  <c:v>0.99099999999999999</c:v>
                </c:pt>
                <c:pt idx="6">
                  <c:v>0.50700000000000001</c:v>
                </c:pt>
                <c:pt idx="7">
                  <c:v>0.7</c:v>
                </c:pt>
              </c:numCache>
            </c:numRef>
          </c:yVal>
          <c:bubbleSize>
            <c:numRef>
              <c:f>Sheet1!$C$2:$C$9</c:f>
              <c:numCache>
                <c:formatCode>General</c:formatCode>
                <c:ptCount val="8"/>
                <c:pt idx="0">
                  <c:v>286011</c:v>
                </c:pt>
                <c:pt idx="1">
                  <c:v>30119</c:v>
                </c:pt>
                <c:pt idx="2">
                  <c:v>26547</c:v>
                </c:pt>
                <c:pt idx="3">
                  <c:v>25094</c:v>
                </c:pt>
                <c:pt idx="4">
                  <c:v>12622</c:v>
                </c:pt>
                <c:pt idx="5">
                  <c:v>11846</c:v>
                </c:pt>
                <c:pt idx="6">
                  <c:v>11225</c:v>
                </c:pt>
                <c:pt idx="7">
                  <c:v>10236</c:v>
                </c:pt>
              </c:numCache>
            </c:numRef>
          </c:bubbleSize>
          <c:bubble3D val="0"/>
          <c:extLst>
            <c:ext xmlns:c15="http://schemas.microsoft.com/office/drawing/2012/chart" uri="{02D57815-91ED-43cb-92C2-25804820EDAC}">
              <c15:datalabelsRange>
                <c15:f>Sheet1!$E$2:$E$10</c15:f>
                <c15:dlblRangeCache>
                  <c:ptCount val="9"/>
                  <c:pt idx="0">
                    <c:v>Mhcs</c:v>
                  </c:pt>
                  <c:pt idx="1">
                    <c:v>Malard</c:v>
                  </c:pt>
                  <c:pt idx="2">
                    <c:v>Lanson-Bcc</c:v>
                  </c:pt>
                  <c:pt idx="3">
                    <c:v>Malard Nicolas</c:v>
                  </c:pt>
                  <c:pt idx="4">
                    <c:v>Henriot</c:v>
                  </c:pt>
                  <c:pt idx="5">
                    <c:v>Bollinger</c:v>
                  </c:pt>
                  <c:pt idx="6">
                    <c:v>De Bligny</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1"/>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86D8E8-AEB7-4D1F-A994-27635E2C6E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082090-7D09-4A37-B45F-73AA781DE6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CB4E6E-EC62-4EC6-92FA-4EC8A089F2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BD9C8C-F818-4582-810F-6DFA50F648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C547E6-F9C4-41D5-BD47-0C61FA4D2B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F80809-D647-4BA0-9F03-97A2D643C0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3B4548-498A-417E-9E23-6D92E3D30C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88D8D4-3B70-44CE-AEE3-584376866F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508700000000005</c:v>
                </c:pt>
                <c:pt idx="1">
                  <c:v>62.933100000000003</c:v>
                </c:pt>
                <c:pt idx="2">
                  <c:v>35.562199999999997</c:v>
                </c:pt>
                <c:pt idx="3">
                  <c:v>40.131500000000003</c:v>
                </c:pt>
                <c:pt idx="4">
                  <c:v>48.439599999999999</c:v>
                </c:pt>
                <c:pt idx="5">
                  <c:v>55.195900000000002</c:v>
                </c:pt>
                <c:pt idx="6">
                  <c:v>82.162800000000004</c:v>
                </c:pt>
                <c:pt idx="7">
                  <c:v>37.318800000000003</c:v>
                </c:pt>
              </c:numCache>
            </c:numRef>
          </c:xVal>
          <c:yVal>
            <c:numRef>
              <c:f>Sheet1!$B$2:$B$9</c:f>
              <c:numCache>
                <c:formatCode>General</c:formatCode>
                <c:ptCount val="8"/>
                <c:pt idx="0">
                  <c:v>1.413</c:v>
                </c:pt>
                <c:pt idx="1">
                  <c:v>0.91500000000000004</c:v>
                </c:pt>
                <c:pt idx="2">
                  <c:v>0.50600000000000001</c:v>
                </c:pt>
                <c:pt idx="3">
                  <c:v>0.57699999999999996</c:v>
                </c:pt>
                <c:pt idx="4">
                  <c:v>0.66100000000000003</c:v>
                </c:pt>
                <c:pt idx="5">
                  <c:v>0.77400000000000002</c:v>
                </c:pt>
                <c:pt idx="6">
                  <c:v>1.0449999999999999</c:v>
                </c:pt>
                <c:pt idx="7">
                  <c:v>0.50800000000000001</c:v>
                </c:pt>
              </c:numCache>
            </c:numRef>
          </c:yVal>
          <c:bubbleSize>
            <c:numRef>
              <c:f>Sheet1!$C$2:$C$9</c:f>
              <c:numCache>
                <c:formatCode>General</c:formatCode>
                <c:ptCount val="8"/>
                <c:pt idx="0">
                  <c:v>113838</c:v>
                </c:pt>
                <c:pt idx="1">
                  <c:v>17873</c:v>
                </c:pt>
                <c:pt idx="2">
                  <c:v>13727</c:v>
                </c:pt>
                <c:pt idx="3">
                  <c:v>11598</c:v>
                </c:pt>
                <c:pt idx="4">
                  <c:v>8816</c:v>
                </c:pt>
                <c:pt idx="5">
                  <c:v>8169</c:v>
                </c:pt>
                <c:pt idx="6">
                  <c:v>7066</c:v>
                </c:pt>
                <c:pt idx="7">
                  <c:v>5971</c:v>
                </c:pt>
              </c:numCache>
            </c:numRef>
          </c:bubbleSize>
          <c:bubble3D val="0"/>
          <c:extLst>
            <c:ext xmlns:c15="http://schemas.microsoft.com/office/drawing/2012/chart" uri="{02D57815-91ED-43cb-92C2-25804820EDAC}">
              <c15:datalabelsRange>
                <c15:f>Sheet1!$E$2:$E$10</c15:f>
                <c15:dlblRangeCache>
                  <c:ptCount val="9"/>
                  <c:pt idx="0">
                    <c:v>Mhcs</c:v>
                  </c:pt>
                  <c:pt idx="1">
                    <c:v>Lanson-Bcc</c:v>
                  </c:pt>
                  <c:pt idx="2">
                    <c:v>Malard</c:v>
                  </c:pt>
                  <c:pt idx="3">
                    <c:v>Malard Nicolas</c:v>
                  </c:pt>
                  <c:pt idx="4">
                    <c:v>Henriot</c:v>
                  </c:pt>
                  <c:pt idx="5">
                    <c:v>Delamotte</c:v>
                  </c:pt>
                  <c:pt idx="6">
                    <c:v>Bollinger</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EF94B4-53C4-473F-A487-FB94F1D83D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210732-A96E-40EA-AA06-387779D4AF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EB49A7-2183-4572-BBF4-D27AC64A5F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320DEFC-29A4-41D2-8C5D-CD9A252DF1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817D3F-0624-4283-A101-EA708BEC56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F5296B-4634-4443-8D89-B2C459ADC9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987B23-F590-48A1-940A-47B5E8D517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C86F1D-DDB4-4A35-A518-AC4FCB02EE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6083</c:v>
                </c:pt>
                <c:pt idx="1">
                  <c:v>38.186700000000002</c:v>
                </c:pt>
                <c:pt idx="2">
                  <c:v>65.423100000000005</c:v>
                </c:pt>
                <c:pt idx="3">
                  <c:v>35.214300000000001</c:v>
                </c:pt>
                <c:pt idx="4">
                  <c:v>77.7453</c:v>
                </c:pt>
                <c:pt idx="5">
                  <c:v>56.062899999999999</c:v>
                </c:pt>
                <c:pt idx="6">
                  <c:v>48.319699999999997</c:v>
                </c:pt>
                <c:pt idx="7">
                  <c:v>40.115099999999998</c:v>
                </c:pt>
              </c:numCache>
            </c:numRef>
          </c:xVal>
          <c:yVal>
            <c:numRef>
              <c:f>Sheet1!$B$2:$B$9</c:f>
              <c:numCache>
                <c:formatCode>General</c:formatCode>
                <c:ptCount val="8"/>
                <c:pt idx="0">
                  <c:v>2.0590000000000002</c:v>
                </c:pt>
                <c:pt idx="1">
                  <c:v>0.84799999999999998</c:v>
                </c:pt>
                <c:pt idx="2">
                  <c:v>1.284</c:v>
                </c:pt>
                <c:pt idx="3">
                  <c:v>0.74399999999999999</c:v>
                </c:pt>
                <c:pt idx="4">
                  <c:v>1.4770000000000001</c:v>
                </c:pt>
                <c:pt idx="5">
                  <c:v>1.0329999999999999</c:v>
                </c:pt>
                <c:pt idx="6">
                  <c:v>0.90100000000000002</c:v>
                </c:pt>
                <c:pt idx="7">
                  <c:v>0.78300000000000003</c:v>
                </c:pt>
              </c:numCache>
            </c:numRef>
          </c:yVal>
          <c:bubbleSize>
            <c:numRef>
              <c:f>Sheet1!$C$2:$C$9</c:f>
              <c:numCache>
                <c:formatCode>General</c:formatCode>
                <c:ptCount val="8"/>
                <c:pt idx="0">
                  <c:v>81984</c:v>
                </c:pt>
                <c:pt idx="1">
                  <c:v>12067</c:v>
                </c:pt>
                <c:pt idx="2">
                  <c:v>10206</c:v>
                </c:pt>
                <c:pt idx="3">
                  <c:v>8874</c:v>
                </c:pt>
                <c:pt idx="4">
                  <c:v>8241</c:v>
                </c:pt>
                <c:pt idx="5">
                  <c:v>8017</c:v>
                </c:pt>
                <c:pt idx="6">
                  <c:v>5895</c:v>
                </c:pt>
                <c:pt idx="7">
                  <c:v>5576</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Bollinger</c:v>
                  </c:pt>
                  <c:pt idx="5">
                    <c:v>Delamotte</c:v>
                  </c:pt>
                  <c:pt idx="6">
                    <c:v>Henriot</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3"/>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59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D4914D-7141-4A83-9CF6-7325EAB6BB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D616AB-0E23-43E3-9EE8-A86D859450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4D8B33-5E32-4007-9769-99B96AC975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5299A5-FA3B-41DF-8BE3-0633E6DCEA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279DFC-32A1-4CC0-AE42-35662FE4C7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70465B-1CD7-4DEA-9E7E-22E6343D74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1AB3A5-63CA-4E75-8901-FAA7C0EA04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4BD6A1-B5A7-48BC-AA36-C8632331BE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792599999999993</c:v>
                </c:pt>
                <c:pt idx="1">
                  <c:v>38.474600000000002</c:v>
                </c:pt>
                <c:pt idx="2">
                  <c:v>35.273200000000003</c:v>
                </c:pt>
                <c:pt idx="3">
                  <c:v>62.639400000000002</c:v>
                </c:pt>
                <c:pt idx="4">
                  <c:v>84.996300000000005</c:v>
                </c:pt>
                <c:pt idx="5">
                  <c:v>46.717700000000001</c:v>
                </c:pt>
                <c:pt idx="6">
                  <c:v>53.284199999999998</c:v>
                </c:pt>
                <c:pt idx="7">
                  <c:v>199.59440000000001</c:v>
                </c:pt>
              </c:numCache>
            </c:numRef>
          </c:xVal>
          <c:yVal>
            <c:numRef>
              <c:f>Sheet1!$B$2:$B$9</c:f>
              <c:numCache>
                <c:formatCode>General</c:formatCode>
                <c:ptCount val="8"/>
                <c:pt idx="0">
                  <c:v>1.272</c:v>
                </c:pt>
                <c:pt idx="1">
                  <c:v>0.51500000000000001</c:v>
                </c:pt>
                <c:pt idx="2">
                  <c:v>0.45400000000000001</c:v>
                </c:pt>
                <c:pt idx="3">
                  <c:v>0.82499999999999996</c:v>
                </c:pt>
                <c:pt idx="4">
                  <c:v>1.091</c:v>
                </c:pt>
                <c:pt idx="5">
                  <c:v>0.60199999999999998</c:v>
                </c:pt>
                <c:pt idx="6">
                  <c:v>0.68</c:v>
                </c:pt>
                <c:pt idx="7">
                  <c:v>2.5139999999999998</c:v>
                </c:pt>
              </c:numCache>
            </c:numRef>
          </c:yVal>
          <c:bubbleSize>
            <c:numRef>
              <c:f>Sheet1!$C$2:$C$9</c:f>
              <c:numCache>
                <c:formatCode>General</c:formatCode>
                <c:ptCount val="8"/>
                <c:pt idx="0">
                  <c:v>1886198</c:v>
                </c:pt>
                <c:pt idx="1">
                  <c:v>139855</c:v>
                </c:pt>
                <c:pt idx="2">
                  <c:v>116472</c:v>
                </c:pt>
                <c:pt idx="3">
                  <c:v>114129</c:v>
                </c:pt>
                <c:pt idx="4">
                  <c:v>67997</c:v>
                </c:pt>
                <c:pt idx="5">
                  <c:v>66853</c:v>
                </c:pt>
                <c:pt idx="6">
                  <c:v>61490</c:v>
                </c:pt>
                <c:pt idx="7">
                  <c:v>49699</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Malard</c:v>
                  </c:pt>
                  <c:pt idx="3">
                    <c:v>Lanson-Bcc</c:v>
                  </c:pt>
                  <c:pt idx="4">
                    <c:v>Pernod Ricard</c:v>
                  </c:pt>
                  <c:pt idx="5">
                    <c:v>Henriot</c:v>
                  </c:pt>
                  <c:pt idx="6">
                    <c:v>Delamotte</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0"/>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7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6FB953-A302-48F1-88A6-0FA6664749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263ADE-1D38-4EF0-8167-8BD42DF192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C2D1BA-54E7-46D5-9510-92CFEEF5E5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77FFB8-2808-4251-A173-AB818189C5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672D86-535D-4B66-94B8-B5EAD249B8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369123-2900-403A-A61E-693FAE073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08F0EF-9D9A-4494-81F2-C0E095C25E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07954E-03AD-4E5B-8C30-7DA32854AF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354299999999995</c:v>
                </c:pt>
                <c:pt idx="1">
                  <c:v>39.209699999999998</c:v>
                </c:pt>
                <c:pt idx="2">
                  <c:v>62.353900000000003</c:v>
                </c:pt>
                <c:pt idx="3">
                  <c:v>35.284500000000001</c:v>
                </c:pt>
                <c:pt idx="4">
                  <c:v>46.8782</c:v>
                </c:pt>
                <c:pt idx="5">
                  <c:v>53.136400000000002</c:v>
                </c:pt>
                <c:pt idx="6">
                  <c:v>37.7256</c:v>
                </c:pt>
                <c:pt idx="7">
                  <c:v>76.505700000000004</c:v>
                </c:pt>
              </c:numCache>
            </c:numRef>
          </c:xVal>
          <c:yVal>
            <c:numRef>
              <c:f>Sheet1!$B$2:$B$9</c:f>
              <c:numCache>
                <c:formatCode>General</c:formatCode>
                <c:ptCount val="8"/>
                <c:pt idx="0">
                  <c:v>1.347</c:v>
                </c:pt>
                <c:pt idx="1">
                  <c:v>0.55000000000000004</c:v>
                </c:pt>
                <c:pt idx="2">
                  <c:v>0.879</c:v>
                </c:pt>
                <c:pt idx="3">
                  <c:v>0.48899999999999999</c:v>
                </c:pt>
                <c:pt idx="4">
                  <c:v>0.64400000000000002</c:v>
                </c:pt>
                <c:pt idx="5">
                  <c:v>0.72799999999999998</c:v>
                </c:pt>
                <c:pt idx="6">
                  <c:v>0.52500000000000002</c:v>
                </c:pt>
                <c:pt idx="7">
                  <c:v>1.0209999999999999</c:v>
                </c:pt>
              </c:numCache>
            </c:numRef>
          </c:yVal>
          <c:bubbleSize>
            <c:numRef>
              <c:f>Sheet1!$C$2:$C$9</c:f>
              <c:numCache>
                <c:formatCode>General</c:formatCode>
                <c:ptCount val="8"/>
                <c:pt idx="0">
                  <c:v>638221</c:v>
                </c:pt>
                <c:pt idx="1">
                  <c:v>70695</c:v>
                </c:pt>
                <c:pt idx="2">
                  <c:v>65721</c:v>
                </c:pt>
                <c:pt idx="3">
                  <c:v>60513</c:v>
                </c:pt>
                <c:pt idx="4">
                  <c:v>36940</c:v>
                </c:pt>
                <c:pt idx="5">
                  <c:v>32732</c:v>
                </c:pt>
                <c:pt idx="6">
                  <c:v>20485</c:v>
                </c:pt>
                <c:pt idx="7">
                  <c:v>20274</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Henriot</c:v>
                  </c:pt>
                  <c:pt idx="5">
                    <c:v>Delamotte</c:v>
                  </c:pt>
                  <c:pt idx="6">
                    <c:v>De Bligny</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B548ED-F1E3-4C1B-8AE8-4A7CAF144C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0CBA20-B41A-4135-BBE5-DA82EADAE4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471CEA-46E2-4BDC-B650-1102C40A31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5275D9-7D23-454D-9DF7-3667EBB404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0D4F4D-40B3-4B3D-9148-3763343B4D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4915F72-D3FD-462E-9728-4D0167470B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C661FA-2ED0-41E0-A0A6-09F56EF4BD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51950B-577A-4576-83B9-4334235BBE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499899999999997</c:v>
                </c:pt>
                <c:pt idx="1">
                  <c:v>37.8874</c:v>
                </c:pt>
                <c:pt idx="2">
                  <c:v>35.116300000000003</c:v>
                </c:pt>
                <c:pt idx="3">
                  <c:v>62.489400000000003</c:v>
                </c:pt>
                <c:pt idx="4">
                  <c:v>46.718200000000003</c:v>
                </c:pt>
                <c:pt idx="5">
                  <c:v>37.393700000000003</c:v>
                </c:pt>
                <c:pt idx="6">
                  <c:v>53.1616</c:v>
                </c:pt>
                <c:pt idx="7">
                  <c:v>75.871099999999998</c:v>
                </c:pt>
              </c:numCache>
            </c:numRef>
          </c:xVal>
          <c:yVal>
            <c:numRef>
              <c:f>Sheet1!$B$2:$B$9</c:f>
              <c:numCache>
                <c:formatCode>General</c:formatCode>
                <c:ptCount val="8"/>
                <c:pt idx="0">
                  <c:v>1.365</c:v>
                </c:pt>
                <c:pt idx="1">
                  <c:v>0.56699999999999995</c:v>
                </c:pt>
                <c:pt idx="2">
                  <c:v>0.49399999999999999</c:v>
                </c:pt>
                <c:pt idx="3">
                  <c:v>0.89400000000000002</c:v>
                </c:pt>
                <c:pt idx="4">
                  <c:v>0.65500000000000003</c:v>
                </c:pt>
                <c:pt idx="5">
                  <c:v>0.52600000000000002</c:v>
                </c:pt>
                <c:pt idx="6">
                  <c:v>0.73699999999999999</c:v>
                </c:pt>
                <c:pt idx="7">
                  <c:v>1.0549999999999999</c:v>
                </c:pt>
              </c:numCache>
            </c:numRef>
          </c:yVal>
          <c:bubbleSize>
            <c:numRef>
              <c:f>Sheet1!$C$2:$C$9</c:f>
              <c:numCache>
                <c:formatCode>General</c:formatCode>
                <c:ptCount val="8"/>
                <c:pt idx="0">
                  <c:v>1109404</c:v>
                </c:pt>
                <c:pt idx="1">
                  <c:v>113094</c:v>
                </c:pt>
                <c:pt idx="2">
                  <c:v>108439</c:v>
                </c:pt>
                <c:pt idx="3">
                  <c:v>106107</c:v>
                </c:pt>
                <c:pt idx="4">
                  <c:v>62509</c:v>
                </c:pt>
                <c:pt idx="5">
                  <c:v>38179</c:v>
                </c:pt>
                <c:pt idx="6">
                  <c:v>38170</c:v>
                </c:pt>
                <c:pt idx="7">
                  <c:v>36494</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Malard</c:v>
                  </c:pt>
                  <c:pt idx="3">
                    <c:v>Lanson-Bcc</c:v>
                  </c:pt>
                  <c:pt idx="4">
                    <c:v>Henriot</c:v>
                  </c:pt>
                  <c:pt idx="5">
                    <c:v>De Bligny</c:v>
                  </c:pt>
                  <c:pt idx="6">
                    <c:v>Delamotte</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42226E-38AE-44A6-8C94-F1DEA30DD3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C623C5-0FD6-4BB5-8A15-9B68B23014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5F637E-B98E-4E05-9D9E-621919ADD9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3345BB-101B-406F-97D1-687B76F1E2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5FAB4A-ABCF-4EF0-9EBA-693779E57C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478AA2-A013-47A5-9B03-FD7AB98DAD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FB125D-75F3-44BC-A762-090C0A8CE1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23797E-9BE3-4CF2-9493-2B32663A4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423199999999994</c:v>
                </c:pt>
                <c:pt idx="1">
                  <c:v>61.918700000000001</c:v>
                </c:pt>
                <c:pt idx="2">
                  <c:v>38.250900000000001</c:v>
                </c:pt>
                <c:pt idx="3">
                  <c:v>35.230899999999998</c:v>
                </c:pt>
                <c:pt idx="4">
                  <c:v>46.652500000000003</c:v>
                </c:pt>
                <c:pt idx="5">
                  <c:v>37.884399999999999</c:v>
                </c:pt>
                <c:pt idx="6">
                  <c:v>52.9955</c:v>
                </c:pt>
                <c:pt idx="7">
                  <c:v>76.6631</c:v>
                </c:pt>
              </c:numCache>
            </c:numRef>
          </c:xVal>
          <c:yVal>
            <c:numRef>
              <c:f>Sheet1!$B$2:$B$9</c:f>
              <c:numCache>
                <c:formatCode>General</c:formatCode>
                <c:ptCount val="8"/>
                <c:pt idx="0">
                  <c:v>1.347</c:v>
                </c:pt>
                <c:pt idx="1">
                  <c:v>0.88200000000000001</c:v>
                </c:pt>
                <c:pt idx="2">
                  <c:v>0.55600000000000005</c:v>
                </c:pt>
                <c:pt idx="3">
                  <c:v>0.49</c:v>
                </c:pt>
                <c:pt idx="4">
                  <c:v>0.64200000000000002</c:v>
                </c:pt>
                <c:pt idx="5">
                  <c:v>0.52600000000000002</c:v>
                </c:pt>
                <c:pt idx="6">
                  <c:v>0.72799999999999998</c:v>
                </c:pt>
                <c:pt idx="7">
                  <c:v>1.0449999999999999</c:v>
                </c:pt>
              </c:numCache>
            </c:numRef>
          </c:yVal>
          <c:bubbleSize>
            <c:numRef>
              <c:f>Sheet1!$C$2:$C$9</c:f>
              <c:numCache>
                <c:formatCode>General</c:formatCode>
                <c:ptCount val="8"/>
                <c:pt idx="0">
                  <c:v>910915</c:v>
                </c:pt>
                <c:pt idx="1">
                  <c:v>92197</c:v>
                </c:pt>
                <c:pt idx="2">
                  <c:v>83540</c:v>
                </c:pt>
                <c:pt idx="3">
                  <c:v>80714</c:v>
                </c:pt>
                <c:pt idx="4">
                  <c:v>55050</c:v>
                </c:pt>
                <c:pt idx="5">
                  <c:v>38983</c:v>
                </c:pt>
                <c:pt idx="6">
                  <c:v>35189</c:v>
                </c:pt>
                <c:pt idx="7">
                  <c:v>28672</c:v>
                </c:pt>
              </c:numCache>
            </c:numRef>
          </c:bubbleSize>
          <c:bubble3D val="0"/>
          <c:extLst>
            <c:ext xmlns:c15="http://schemas.microsoft.com/office/drawing/2012/chart" uri="{02D57815-91ED-43cb-92C2-25804820EDAC}">
              <c15:datalabelsRange>
                <c15:f>Sheet1!$E$2:$E$10</c15:f>
                <c15:dlblRangeCache>
                  <c:ptCount val="9"/>
                  <c:pt idx="0">
                    <c:v>Mhcs</c:v>
                  </c:pt>
                  <c:pt idx="1">
                    <c:v>Lanson-Bcc</c:v>
                  </c:pt>
                  <c:pt idx="2">
                    <c:v>Malard Nicolas</c:v>
                  </c:pt>
                  <c:pt idx="3">
                    <c:v>Malard</c:v>
                  </c:pt>
                  <c:pt idx="4">
                    <c:v>Henriot</c:v>
                  </c:pt>
                  <c:pt idx="5">
                    <c:v>De Bligny</c:v>
                  </c:pt>
                  <c:pt idx="6">
                    <c:v>Delamotte</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85AD35-8B84-48D1-B592-8252712D17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74FF0D-43EC-4FEB-8404-2600A2F644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1992AD-E621-48E3-83D4-A8D221E239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1BDB61-DED7-43E9-96C3-FDD5868633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A55B86-F513-4968-AA0B-759368AB3B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AAE2AB-DE3C-4856-B010-5D18364C91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644E14-6D6D-46B4-9E8A-987FC7E5DC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728092-1815-474E-9905-CC604E5A5C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013999999999996</c:v>
                </c:pt>
                <c:pt idx="1">
                  <c:v>39.005600000000001</c:v>
                </c:pt>
                <c:pt idx="2">
                  <c:v>62.447200000000002</c:v>
                </c:pt>
                <c:pt idx="3">
                  <c:v>35.324399999999997</c:v>
                </c:pt>
                <c:pt idx="4">
                  <c:v>37.983400000000003</c:v>
                </c:pt>
                <c:pt idx="5">
                  <c:v>47.084000000000003</c:v>
                </c:pt>
                <c:pt idx="6">
                  <c:v>53.462699999999998</c:v>
                </c:pt>
                <c:pt idx="7">
                  <c:v>75.419600000000003</c:v>
                </c:pt>
              </c:numCache>
            </c:numRef>
          </c:xVal>
          <c:yVal>
            <c:numRef>
              <c:f>Sheet1!$B$2:$B$9</c:f>
              <c:numCache>
                <c:formatCode>General</c:formatCode>
                <c:ptCount val="8"/>
                <c:pt idx="0">
                  <c:v>1.411</c:v>
                </c:pt>
                <c:pt idx="1">
                  <c:v>0.58199999999999996</c:v>
                </c:pt>
                <c:pt idx="2">
                  <c:v>0.94399999999999995</c:v>
                </c:pt>
                <c:pt idx="3">
                  <c:v>0.51300000000000001</c:v>
                </c:pt>
                <c:pt idx="4">
                  <c:v>0.55300000000000005</c:v>
                </c:pt>
                <c:pt idx="5">
                  <c:v>0.68100000000000005</c:v>
                </c:pt>
                <c:pt idx="6">
                  <c:v>0.76900000000000002</c:v>
                </c:pt>
                <c:pt idx="7">
                  <c:v>1.0760000000000001</c:v>
                </c:pt>
              </c:numCache>
            </c:numRef>
          </c:yVal>
          <c:bubbleSize>
            <c:numRef>
              <c:f>Sheet1!$C$2:$C$9</c:f>
              <c:numCache>
                <c:formatCode>General</c:formatCode>
                <c:ptCount val="8"/>
                <c:pt idx="0">
                  <c:v>763497</c:v>
                </c:pt>
                <c:pt idx="1">
                  <c:v>103677</c:v>
                </c:pt>
                <c:pt idx="2">
                  <c:v>88113</c:v>
                </c:pt>
                <c:pt idx="3">
                  <c:v>84390</c:v>
                </c:pt>
                <c:pt idx="4">
                  <c:v>47935</c:v>
                </c:pt>
                <c:pt idx="5">
                  <c:v>45954</c:v>
                </c:pt>
                <c:pt idx="6">
                  <c:v>30848</c:v>
                </c:pt>
                <c:pt idx="7">
                  <c:v>30017</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Lanson-Bcc</c:v>
                  </c:pt>
                  <c:pt idx="3">
                    <c:v>Malard</c:v>
                  </c:pt>
                  <c:pt idx="4">
                    <c:v>De Bligny</c:v>
                  </c:pt>
                  <c:pt idx="5">
                    <c:v>Henriot</c:v>
                  </c:pt>
                  <c:pt idx="6">
                    <c:v>Delamotte</c:v>
                  </c:pt>
                  <c:pt idx="7">
                    <c:v>Boll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9"/>
          <c:min val="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31305D-2E7E-4D60-B8EA-E26D06D37F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C9B924-151B-4904-9D33-A4C0BB8E9D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E1942D-F013-45AA-A056-720AAF324D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FDBB2F-FA17-4E54-A1B4-517F8A38A9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04F9E8-1F32-45EC-AFD4-D985BA71D8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90C8A6-B89D-4682-96BC-7C2BD7A13C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9363C0-9916-4901-BB5D-D131463762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C177E8-4582-4DBD-8150-AFC1048E18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571200000000001</c:v>
                </c:pt>
                <c:pt idx="1">
                  <c:v>24.785499999999999</c:v>
                </c:pt>
                <c:pt idx="2">
                  <c:v>45.172600000000003</c:v>
                </c:pt>
                <c:pt idx="3">
                  <c:v>31.055299999999999</c:v>
                </c:pt>
                <c:pt idx="4">
                  <c:v>25.835599999999999</c:v>
                </c:pt>
                <c:pt idx="5">
                  <c:v>24.3565</c:v>
                </c:pt>
                <c:pt idx="6">
                  <c:v>30.503299999999999</c:v>
                </c:pt>
                <c:pt idx="7">
                  <c:v>26.249400000000001</c:v>
                </c:pt>
              </c:numCache>
            </c:numRef>
          </c:xVal>
          <c:yVal>
            <c:numRef>
              <c:f>Sheet1!$B$2:$B$9</c:f>
              <c:numCache>
                <c:formatCode>General</c:formatCode>
                <c:ptCount val="8"/>
                <c:pt idx="0">
                  <c:v>0.57399999999999995</c:v>
                </c:pt>
                <c:pt idx="1">
                  <c:v>1.042</c:v>
                </c:pt>
                <c:pt idx="2">
                  <c:v>2.1920000000000002</c:v>
                </c:pt>
                <c:pt idx="3">
                  <c:v>1.4990000000000001</c:v>
                </c:pt>
                <c:pt idx="4">
                  <c:v>1.222</c:v>
                </c:pt>
                <c:pt idx="5">
                  <c:v>1.109</c:v>
                </c:pt>
                <c:pt idx="6">
                  <c:v>1.5229999999999999</c:v>
                </c:pt>
                <c:pt idx="7">
                  <c:v>1.1850000000000001</c:v>
                </c:pt>
              </c:numCache>
            </c:numRef>
          </c:yVal>
          <c:bubbleSize>
            <c:numRef>
              <c:f>Sheet1!$C$2:$C$9</c:f>
              <c:numCache>
                <c:formatCode>General</c:formatCode>
                <c:ptCount val="8"/>
                <c:pt idx="0">
                  <c:v>69814135</c:v>
                </c:pt>
                <c:pt idx="1">
                  <c:v>63941275</c:v>
                </c:pt>
                <c:pt idx="2">
                  <c:v>54295205</c:v>
                </c:pt>
                <c:pt idx="3">
                  <c:v>38635681</c:v>
                </c:pt>
                <c:pt idx="4">
                  <c:v>24364022</c:v>
                </c:pt>
                <c:pt idx="5">
                  <c:v>23515927</c:v>
                </c:pt>
                <c:pt idx="6">
                  <c:v>22071884</c:v>
                </c:pt>
                <c:pt idx="7">
                  <c:v>20625599</c:v>
                </c:pt>
              </c:numCache>
            </c:numRef>
          </c:bubbleSize>
          <c:bubble3D val="0"/>
          <c:extLst>
            <c:ext xmlns:c15="http://schemas.microsoft.com/office/drawing/2012/chart" uri="{02D57815-91ED-43cb-92C2-25804820EDAC}">
              <c15:datalabelsRange>
                <c15:f>Sheet1!$E$2:$E$10</c15:f>
                <c15:dlblRangeCache>
                  <c:ptCount val="9"/>
                  <c:pt idx="0">
                    <c:v>Vranken Pommery</c:v>
                  </c:pt>
                  <c:pt idx="1">
                    <c:v>Cfgv</c:v>
                  </c:pt>
                  <c:pt idx="2">
                    <c:v>Mhcs</c:v>
                  </c:pt>
                  <c:pt idx="3">
                    <c:v>Pernod Ricard</c:v>
                  </c:pt>
                  <c:pt idx="4">
                    <c:v>C&amp;C Sas France</c:v>
                  </c:pt>
                  <c:pt idx="5">
                    <c:v>Maison Burtin</c:v>
                  </c:pt>
                  <c:pt idx="6">
                    <c:v>Lanson-Bcc</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9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6CCAE96-A935-429A-B798-3777268855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D732D98-B34D-485C-81EE-D01B4A1186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888F3998-0D7B-42FC-B7EA-572B7E48E1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962E65A-7E00-4D64-BF6E-D0A32CAD7A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EBBDB5E-4001-44F7-AE79-59E2995E12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12F7FB3-3D63-4043-B0F5-E6E02C7757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0FE41D3-9271-431B-AA8E-64DCABED5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117B4B6-7360-4704-92BA-CEAA75336C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84499999999998</c:v>
                </c:pt>
                <c:pt idx="1">
                  <c:v>11.353199999999999</c:v>
                </c:pt>
              </c:numCache>
            </c:numRef>
          </c:xVal>
          <c:yVal>
            <c:numRef>
              <c:f>Sheet1!$B$2:$B$3</c:f>
              <c:numCache>
                <c:formatCode>General</c:formatCode>
                <c:ptCount val="2"/>
                <c:pt idx="0">
                  <c:v>1.68</c:v>
                </c:pt>
                <c:pt idx="1">
                  <c:v>0.65600000000000003</c:v>
                </c:pt>
              </c:numCache>
            </c:numRef>
          </c:yVal>
          <c:bubbleSize>
            <c:numRef>
              <c:f>Sheet1!$C$2:$C$3</c:f>
              <c:numCache>
                <c:formatCode>General</c:formatCode>
                <c:ptCount val="2"/>
                <c:pt idx="0">
                  <c:v>46128</c:v>
                </c:pt>
                <c:pt idx="1">
                  <c:v>33594</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8495E9-CBC3-4143-967E-8E060D99CD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B199EC-9A5B-40DF-A498-A4740059FD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9D78B0-AEA7-4791-8558-259B5E84D4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015CEC-F49D-4A70-BD81-93F14A50E9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8102D0-FAB6-4F9A-9F1C-933C942EB3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F260F9-6E3F-4FC0-881A-9842BA9E6C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29F72E-D4AA-4F8B-A54A-B131680CF2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6434D9-DBF4-4663-AAB1-EEC318949B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291699999999999</c:v>
                </c:pt>
                <c:pt idx="1">
                  <c:v>50.694499999999998</c:v>
                </c:pt>
                <c:pt idx="2">
                  <c:v>22.207599999999999</c:v>
                </c:pt>
                <c:pt idx="3">
                  <c:v>31.369199999999999</c:v>
                </c:pt>
                <c:pt idx="4">
                  <c:v>45.177</c:v>
                </c:pt>
                <c:pt idx="5">
                  <c:v>49.057299999999998</c:v>
                </c:pt>
                <c:pt idx="6">
                  <c:v>30.305599999999998</c:v>
                </c:pt>
                <c:pt idx="7">
                  <c:v>36.5473</c:v>
                </c:pt>
              </c:numCache>
            </c:numRef>
          </c:xVal>
          <c:yVal>
            <c:numRef>
              <c:f>Sheet1!$B$2:$B$9</c:f>
              <c:numCache>
                <c:formatCode>General</c:formatCode>
                <c:ptCount val="8"/>
                <c:pt idx="0">
                  <c:v>1.411</c:v>
                </c:pt>
                <c:pt idx="1">
                  <c:v>1.2509999999999999</c:v>
                </c:pt>
                <c:pt idx="2">
                  <c:v>0.56299999999999994</c:v>
                </c:pt>
                <c:pt idx="3">
                  <c:v>0.83699999999999997</c:v>
                </c:pt>
                <c:pt idx="4">
                  <c:v>1.1240000000000001</c:v>
                </c:pt>
                <c:pt idx="5">
                  <c:v>1.0980000000000001</c:v>
                </c:pt>
                <c:pt idx="6">
                  <c:v>0.79200000000000004</c:v>
                </c:pt>
                <c:pt idx="7">
                  <c:v>0.97399999999999998</c:v>
                </c:pt>
              </c:numCache>
            </c:numRef>
          </c:yVal>
          <c:bubbleSize>
            <c:numRef>
              <c:f>Sheet1!$C$2:$C$9</c:f>
              <c:numCache>
                <c:formatCode>General</c:formatCode>
                <c:ptCount val="8"/>
                <c:pt idx="0">
                  <c:v>10664917</c:v>
                </c:pt>
                <c:pt idx="1">
                  <c:v>5597885</c:v>
                </c:pt>
                <c:pt idx="2">
                  <c:v>4648693</c:v>
                </c:pt>
                <c:pt idx="3">
                  <c:v>3722014</c:v>
                </c:pt>
                <c:pt idx="4">
                  <c:v>3097382</c:v>
                </c:pt>
                <c:pt idx="5">
                  <c:v>2622261</c:v>
                </c:pt>
                <c:pt idx="6">
                  <c:v>1729845</c:v>
                </c:pt>
                <c:pt idx="7">
                  <c:v>167083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C&amp;C Sas France</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118114-ADE6-48AA-BDC6-A38FBDDC55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B4EFAF-74C1-400F-B031-3C5736F470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CA650F-FBF1-4FB2-BF2D-D6896410D7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68AEEA-5D73-49EE-A181-FC97A2526A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1D3F2D-D86E-4AF6-8E22-533A31D5E0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FE4D47-A58C-44B0-AEE4-AE96D7C7C7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889A1B-BB96-48BC-B140-5A300330E3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3AE1B2-2977-41E2-A305-D2D0096E2E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249099999999999</c:v>
                </c:pt>
                <c:pt idx="1">
                  <c:v>24.740400000000001</c:v>
                </c:pt>
                <c:pt idx="2">
                  <c:v>43.120800000000003</c:v>
                </c:pt>
                <c:pt idx="3">
                  <c:v>30.811</c:v>
                </c:pt>
                <c:pt idx="4">
                  <c:v>24.3565</c:v>
                </c:pt>
                <c:pt idx="5">
                  <c:v>25.5548</c:v>
                </c:pt>
                <c:pt idx="6">
                  <c:v>30.104199999999999</c:v>
                </c:pt>
                <c:pt idx="7">
                  <c:v>24.594100000000001</c:v>
                </c:pt>
              </c:numCache>
            </c:numRef>
          </c:xVal>
          <c:yVal>
            <c:numRef>
              <c:f>Sheet1!$B$2:$B$9</c:f>
              <c:numCache>
                <c:formatCode>General</c:formatCode>
                <c:ptCount val="8"/>
                <c:pt idx="0">
                  <c:v>0.57999999999999996</c:v>
                </c:pt>
                <c:pt idx="1">
                  <c:v>1.0900000000000001</c:v>
                </c:pt>
                <c:pt idx="2">
                  <c:v>2.181</c:v>
                </c:pt>
                <c:pt idx="3">
                  <c:v>1.5580000000000001</c:v>
                </c:pt>
                <c:pt idx="4">
                  <c:v>1.163</c:v>
                </c:pt>
                <c:pt idx="5">
                  <c:v>1.2589999999999999</c:v>
                </c:pt>
                <c:pt idx="6">
                  <c:v>1.569</c:v>
                </c:pt>
                <c:pt idx="7">
                  <c:v>1.1639999999999999</c:v>
                </c:pt>
              </c:numCache>
            </c:numRef>
          </c:yVal>
          <c:bubbleSize>
            <c:numRef>
              <c:f>Sheet1!$C$2:$C$9</c:f>
              <c:numCache>
                <c:formatCode>General</c:formatCode>
                <c:ptCount val="8"/>
                <c:pt idx="0">
                  <c:v>66099109</c:v>
                </c:pt>
                <c:pt idx="1">
                  <c:v>63676794</c:v>
                </c:pt>
                <c:pt idx="2">
                  <c:v>43674023</c:v>
                </c:pt>
                <c:pt idx="3">
                  <c:v>37864933</c:v>
                </c:pt>
                <c:pt idx="4">
                  <c:v>23515927</c:v>
                </c:pt>
                <c:pt idx="5">
                  <c:v>22638139</c:v>
                </c:pt>
                <c:pt idx="6">
                  <c:v>20403347</c:v>
                </c:pt>
                <c:pt idx="7">
                  <c:v>18008474</c:v>
                </c:pt>
              </c:numCache>
            </c:numRef>
          </c:bubbleSize>
          <c:bubble3D val="0"/>
          <c:extLst>
            <c:ext xmlns:c15="http://schemas.microsoft.com/office/drawing/2012/chart" uri="{02D57815-91ED-43cb-92C2-25804820EDAC}">
              <c15:datalabelsRange>
                <c15:f>Sheet1!$E$2:$E$10</c15:f>
                <c15:dlblRangeCache>
                  <c:ptCount val="9"/>
                  <c:pt idx="0">
                    <c:v>Vranken Pommery</c:v>
                  </c:pt>
                  <c:pt idx="1">
                    <c:v>Cfgv</c:v>
                  </c:pt>
                  <c:pt idx="2">
                    <c:v>Mhcs</c:v>
                  </c:pt>
                  <c:pt idx="3">
                    <c:v>Pernod Ricard</c:v>
                  </c:pt>
                  <c:pt idx="4">
                    <c:v>Maison Burtin</c:v>
                  </c:pt>
                  <c:pt idx="5">
                    <c:v>C&amp;C Sas France</c:v>
                  </c:pt>
                  <c:pt idx="6">
                    <c:v>Lanson-Bcc</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38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E6D04A-A7A2-4FA6-A3FC-9F4091F1AA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D72BCE-B80C-499C-8D24-0CD4FD5C37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0FF4F9-F0AF-4699-A815-B68D0AD3A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6795BC-435F-4D4C-842B-00CD6D666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12C141-59D1-4CD7-9449-32B9791CF1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0823E3-3C73-4E6E-9F1E-8FACEEF066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1D1900-1729-40FB-B4DC-50D0664A62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2E3AB9-D216-4E05-9095-86D1BD036A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768700000000003</c:v>
                </c:pt>
                <c:pt idx="1">
                  <c:v>49.643999999999998</c:v>
                </c:pt>
                <c:pt idx="2">
                  <c:v>22.2364</c:v>
                </c:pt>
                <c:pt idx="3">
                  <c:v>31.155899999999999</c:v>
                </c:pt>
                <c:pt idx="4">
                  <c:v>44.224499999999999</c:v>
                </c:pt>
                <c:pt idx="5">
                  <c:v>48.289099999999998</c:v>
                </c:pt>
                <c:pt idx="6">
                  <c:v>36.3431</c:v>
                </c:pt>
                <c:pt idx="7">
                  <c:v>29.502600000000001</c:v>
                </c:pt>
              </c:numCache>
            </c:numRef>
          </c:xVal>
          <c:yVal>
            <c:numRef>
              <c:f>Sheet1!$B$2:$B$9</c:f>
              <c:numCache>
                <c:formatCode>General</c:formatCode>
                <c:ptCount val="8"/>
                <c:pt idx="0">
                  <c:v>1.415</c:v>
                </c:pt>
                <c:pt idx="1">
                  <c:v>1.2569999999999999</c:v>
                </c:pt>
                <c:pt idx="2">
                  <c:v>0.56899999999999995</c:v>
                </c:pt>
                <c:pt idx="3">
                  <c:v>0.83499999999999996</c:v>
                </c:pt>
                <c:pt idx="4">
                  <c:v>1.115</c:v>
                </c:pt>
                <c:pt idx="5">
                  <c:v>1.101</c:v>
                </c:pt>
                <c:pt idx="6">
                  <c:v>0.97799999999999998</c:v>
                </c:pt>
                <c:pt idx="7">
                  <c:v>0.79200000000000004</c:v>
                </c:pt>
              </c:numCache>
            </c:numRef>
          </c:yVal>
          <c:bubbleSize>
            <c:numRef>
              <c:f>Sheet1!$C$2:$C$9</c:f>
              <c:numCache>
                <c:formatCode>General</c:formatCode>
                <c:ptCount val="8"/>
                <c:pt idx="0">
                  <c:v>4449842</c:v>
                </c:pt>
                <c:pt idx="1">
                  <c:v>2525193</c:v>
                </c:pt>
                <c:pt idx="2">
                  <c:v>2057383</c:v>
                </c:pt>
                <c:pt idx="3">
                  <c:v>1738781</c:v>
                </c:pt>
                <c:pt idx="4">
                  <c:v>1441188</c:v>
                </c:pt>
                <c:pt idx="5">
                  <c:v>1194382</c:v>
                </c:pt>
                <c:pt idx="6">
                  <c:v>836037</c:v>
                </c:pt>
                <c:pt idx="7">
                  <c:v>771759</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Lanson-Bcc</c:v>
                  </c:pt>
                  <c:pt idx="7">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4580D1-F4BE-494E-A11C-AFB467BE37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BA71C3-890B-456F-82A9-6A69A20A49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8E859A-D4F4-4765-8062-8DFDD9023C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19E6AA-192F-4D9F-A7F5-6754BE9B20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B4134D-73D4-4D37-8B66-F4CAF3A48A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015CDC-3D88-400A-B95A-D1396BB13B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147C1E-F47B-4388-BEC5-0967055444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478B160-6BB9-4FB5-B5CF-C775689100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145899999999997</c:v>
                </c:pt>
                <c:pt idx="1">
                  <c:v>22.116199999999999</c:v>
                </c:pt>
                <c:pt idx="2">
                  <c:v>51.367400000000004</c:v>
                </c:pt>
                <c:pt idx="3">
                  <c:v>32.063600000000001</c:v>
                </c:pt>
                <c:pt idx="4">
                  <c:v>44.051000000000002</c:v>
                </c:pt>
                <c:pt idx="5">
                  <c:v>30.440999999999999</c:v>
                </c:pt>
                <c:pt idx="6">
                  <c:v>49.253999999999998</c:v>
                </c:pt>
                <c:pt idx="7">
                  <c:v>29.9451</c:v>
                </c:pt>
              </c:numCache>
            </c:numRef>
          </c:xVal>
          <c:yVal>
            <c:numRef>
              <c:f>Sheet1!$B$2:$B$9</c:f>
              <c:numCache>
                <c:formatCode>General</c:formatCode>
                <c:ptCount val="8"/>
                <c:pt idx="0">
                  <c:v>1.452</c:v>
                </c:pt>
                <c:pt idx="1">
                  <c:v>0.57899999999999996</c:v>
                </c:pt>
                <c:pt idx="2">
                  <c:v>1.2849999999999999</c:v>
                </c:pt>
                <c:pt idx="3">
                  <c:v>0.872</c:v>
                </c:pt>
                <c:pt idx="4">
                  <c:v>1.131</c:v>
                </c:pt>
                <c:pt idx="5">
                  <c:v>0.81299999999999994</c:v>
                </c:pt>
                <c:pt idx="6">
                  <c:v>1.1200000000000001</c:v>
                </c:pt>
                <c:pt idx="7">
                  <c:v>0.78600000000000003</c:v>
                </c:pt>
              </c:numCache>
            </c:numRef>
          </c:yVal>
          <c:bubbleSize>
            <c:numRef>
              <c:f>Sheet1!$C$2:$C$9</c:f>
              <c:numCache>
                <c:formatCode>General</c:formatCode>
                <c:ptCount val="8"/>
                <c:pt idx="0">
                  <c:v>2053200</c:v>
                </c:pt>
                <c:pt idx="1">
                  <c:v>999807</c:v>
                </c:pt>
                <c:pt idx="2">
                  <c:v>953996</c:v>
                </c:pt>
                <c:pt idx="3">
                  <c:v>742081</c:v>
                </c:pt>
                <c:pt idx="4">
                  <c:v>534163</c:v>
                </c:pt>
                <c:pt idx="5">
                  <c:v>406966</c:v>
                </c:pt>
                <c:pt idx="6">
                  <c:v>402750</c:v>
                </c:pt>
                <c:pt idx="7">
                  <c:v>375092</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Roederer</c:v>
                  </c:pt>
                  <c:pt idx="3">
                    <c:v>Vranken Pommery</c:v>
                  </c:pt>
                  <c:pt idx="4">
                    <c:v>Bollinger</c:v>
                  </c:pt>
                  <c:pt idx="5">
                    <c:v>C&amp;C Sas France</c:v>
                  </c:pt>
                  <c:pt idx="6">
                    <c:v>Laurent Perrier</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EC04C0-2701-48B2-B5EE-BFF6DF4C4F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C146F0-DC16-4331-A17A-675ABCF174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24FA13-3C15-4C31-8089-2611F66D7A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A323BA-4B18-4D5B-B579-210ECE8579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D0296C-441F-47E5-BFC8-2D571EE031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EFC15F-8D85-495E-AD1D-8947D72B73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141C2D-DDCF-4D36-80C4-2F6127954D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EF1FDA-FD92-44D4-9FFB-F7D4FA154D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112699999999997</c:v>
                </c:pt>
                <c:pt idx="1">
                  <c:v>51.082299999999996</c:v>
                </c:pt>
                <c:pt idx="2">
                  <c:v>22.2852</c:v>
                </c:pt>
                <c:pt idx="3">
                  <c:v>47.8994</c:v>
                </c:pt>
                <c:pt idx="4">
                  <c:v>48.895400000000002</c:v>
                </c:pt>
                <c:pt idx="5">
                  <c:v>30.583500000000001</c:v>
                </c:pt>
                <c:pt idx="6">
                  <c:v>51.158700000000003</c:v>
                </c:pt>
                <c:pt idx="7">
                  <c:v>36.723500000000001</c:v>
                </c:pt>
              </c:numCache>
            </c:numRef>
          </c:xVal>
          <c:yVal>
            <c:numRef>
              <c:f>Sheet1!$B$2:$B$9</c:f>
              <c:numCache>
                <c:formatCode>General</c:formatCode>
                <c:ptCount val="8"/>
                <c:pt idx="0">
                  <c:v>1.371</c:v>
                </c:pt>
                <c:pt idx="1">
                  <c:v>1.2310000000000001</c:v>
                </c:pt>
                <c:pt idx="2">
                  <c:v>0.54900000000000004</c:v>
                </c:pt>
                <c:pt idx="3">
                  <c:v>1.145</c:v>
                </c:pt>
                <c:pt idx="4">
                  <c:v>1.075</c:v>
                </c:pt>
                <c:pt idx="5">
                  <c:v>0.83199999999999996</c:v>
                </c:pt>
                <c:pt idx="6">
                  <c:v>1.135</c:v>
                </c:pt>
                <c:pt idx="7">
                  <c:v>0.95299999999999996</c:v>
                </c:pt>
              </c:numCache>
            </c:numRef>
          </c:yVal>
          <c:bubbleSize>
            <c:numRef>
              <c:f>Sheet1!$C$2:$C$9</c:f>
              <c:numCache>
                <c:formatCode>General</c:formatCode>
                <c:ptCount val="8"/>
                <c:pt idx="0">
                  <c:v>1266520</c:v>
                </c:pt>
                <c:pt idx="1">
                  <c:v>665449</c:v>
                </c:pt>
                <c:pt idx="2">
                  <c:v>510510</c:v>
                </c:pt>
                <c:pt idx="3">
                  <c:v>403840</c:v>
                </c:pt>
                <c:pt idx="4">
                  <c:v>389207</c:v>
                </c:pt>
                <c:pt idx="5">
                  <c:v>380153</c:v>
                </c:pt>
                <c:pt idx="6">
                  <c:v>213690</c:v>
                </c:pt>
                <c:pt idx="7">
                  <c:v>17917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Bollinger</c:v>
                  </c:pt>
                  <c:pt idx="4">
                    <c:v>Laurent Perrier</c:v>
                  </c:pt>
                  <c:pt idx="5">
                    <c:v>Vranken Pommery</c:v>
                  </c:pt>
                  <c:pt idx="6">
                    <c:v>Taitting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234DCB-4AF3-4E98-AD97-5CD0AEB9DF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2C0AF1-0B38-4EFD-B356-0840F6FC62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22C7D1-0352-48B9-81E4-A40491450C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F08047-ED8C-4428-8E03-1D9D850DDC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A90621-88F0-416D-AE36-2554653B40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717EFF-E022-444C-BADD-1E63EF78E2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7C9CD6-7AB7-4A31-811D-06E61EB568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6ABE88-AAB2-4F80-93B7-DE9879BF1A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518900000000002</c:v>
                </c:pt>
                <c:pt idx="1">
                  <c:v>50.737900000000003</c:v>
                </c:pt>
                <c:pt idx="2">
                  <c:v>49.257599999999996</c:v>
                </c:pt>
                <c:pt idx="3">
                  <c:v>22.162800000000001</c:v>
                </c:pt>
                <c:pt idx="4">
                  <c:v>46.308</c:v>
                </c:pt>
                <c:pt idx="5">
                  <c:v>31.257899999999999</c:v>
                </c:pt>
                <c:pt idx="6">
                  <c:v>52.234499999999997</c:v>
                </c:pt>
                <c:pt idx="7">
                  <c:v>36.964700000000001</c:v>
                </c:pt>
              </c:numCache>
            </c:numRef>
          </c:xVal>
          <c:yVal>
            <c:numRef>
              <c:f>Sheet1!$B$2:$B$9</c:f>
              <c:numCache>
                <c:formatCode>General</c:formatCode>
                <c:ptCount val="8"/>
                <c:pt idx="0">
                  <c:v>1.325</c:v>
                </c:pt>
                <c:pt idx="1">
                  <c:v>1.1739999999999999</c:v>
                </c:pt>
                <c:pt idx="2">
                  <c:v>1.042</c:v>
                </c:pt>
                <c:pt idx="3">
                  <c:v>0.52800000000000002</c:v>
                </c:pt>
                <c:pt idx="4">
                  <c:v>1.0780000000000001</c:v>
                </c:pt>
                <c:pt idx="5">
                  <c:v>0.79700000000000004</c:v>
                </c:pt>
                <c:pt idx="6">
                  <c:v>1.089</c:v>
                </c:pt>
                <c:pt idx="7">
                  <c:v>0.91600000000000004</c:v>
                </c:pt>
              </c:numCache>
            </c:numRef>
          </c:yVal>
          <c:bubbleSize>
            <c:numRef>
              <c:f>Sheet1!$C$2:$C$9</c:f>
              <c:numCache>
                <c:formatCode>General</c:formatCode>
                <c:ptCount val="8"/>
                <c:pt idx="0">
                  <c:v>953869</c:v>
                </c:pt>
                <c:pt idx="1">
                  <c:v>490991</c:v>
                </c:pt>
                <c:pt idx="2">
                  <c:v>288354</c:v>
                </c:pt>
                <c:pt idx="3">
                  <c:v>275838</c:v>
                </c:pt>
                <c:pt idx="4">
                  <c:v>263076</c:v>
                </c:pt>
                <c:pt idx="5">
                  <c:v>232340</c:v>
                </c:pt>
                <c:pt idx="6">
                  <c:v>133198</c:v>
                </c:pt>
                <c:pt idx="7">
                  <c:v>11218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Laurent Perrier</c:v>
                  </c:pt>
                  <c:pt idx="3">
                    <c:v>Malard Nicolas</c:v>
                  </c:pt>
                  <c:pt idx="4">
                    <c:v>Bollinger</c:v>
                  </c:pt>
                  <c:pt idx="5">
                    <c:v>Vranken Pommery</c:v>
                  </c:pt>
                  <c:pt idx="6">
                    <c:v>Taitting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B7E939-0A0C-4497-9A21-D61C201F73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228FF1-8686-4994-A3BA-6605FDA51D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118489-E152-406A-93A8-B8FAFE489B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EDDCD4-46E9-4E2A-84AF-03CDA17C1F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A22396-B67B-4E51-9315-7E707B2007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6C3355-783F-432C-B853-07B98C6041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59ABDA-A0BA-4538-96D9-509C1BB21A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5A3308-6E94-456C-ABE9-1E65976CE2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258299999999998</c:v>
                </c:pt>
                <c:pt idx="1">
                  <c:v>53.108899999999998</c:v>
                </c:pt>
                <c:pt idx="2">
                  <c:v>22.198699999999999</c:v>
                </c:pt>
                <c:pt idx="3">
                  <c:v>31.764199999999999</c:v>
                </c:pt>
                <c:pt idx="4">
                  <c:v>47.383600000000001</c:v>
                </c:pt>
                <c:pt idx="5">
                  <c:v>51.907299999999999</c:v>
                </c:pt>
                <c:pt idx="6">
                  <c:v>55.335500000000003</c:v>
                </c:pt>
                <c:pt idx="7">
                  <c:v>33.5107</c:v>
                </c:pt>
              </c:numCache>
            </c:numRef>
          </c:xVal>
          <c:yVal>
            <c:numRef>
              <c:f>Sheet1!$B$2:$B$9</c:f>
              <c:numCache>
                <c:formatCode>General</c:formatCode>
                <c:ptCount val="8"/>
                <c:pt idx="0">
                  <c:v>1.3839999999999999</c:v>
                </c:pt>
                <c:pt idx="1">
                  <c:v>1.218</c:v>
                </c:pt>
                <c:pt idx="2">
                  <c:v>0.53800000000000003</c:v>
                </c:pt>
                <c:pt idx="3">
                  <c:v>0.82799999999999996</c:v>
                </c:pt>
                <c:pt idx="4">
                  <c:v>1.133</c:v>
                </c:pt>
                <c:pt idx="5">
                  <c:v>1.056</c:v>
                </c:pt>
                <c:pt idx="6">
                  <c:v>1.1160000000000001</c:v>
                </c:pt>
                <c:pt idx="7">
                  <c:v>0.78300000000000003</c:v>
                </c:pt>
              </c:numCache>
            </c:numRef>
          </c:yVal>
          <c:bubbleSize>
            <c:numRef>
              <c:f>Sheet1!$C$2:$C$9</c:f>
              <c:numCache>
                <c:formatCode>General</c:formatCode>
                <c:ptCount val="8"/>
                <c:pt idx="0">
                  <c:v>634782</c:v>
                </c:pt>
                <c:pt idx="1">
                  <c:v>259490</c:v>
                </c:pt>
                <c:pt idx="2">
                  <c:v>195127</c:v>
                </c:pt>
                <c:pt idx="3">
                  <c:v>159520</c:v>
                </c:pt>
                <c:pt idx="4">
                  <c:v>104860</c:v>
                </c:pt>
                <c:pt idx="5">
                  <c:v>95146</c:v>
                </c:pt>
                <c:pt idx="6">
                  <c:v>92687</c:v>
                </c:pt>
                <c:pt idx="7">
                  <c:v>9101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Taittinger</c:v>
                  </c:pt>
                  <c:pt idx="7">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8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07D225-D1B9-43A7-984C-A97EBE87B3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A3376A-537C-47DA-9B91-987BA76EF7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B10BCF-E7B9-4985-9B6E-F939647539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852AD2A-754A-464E-B597-005D925CCE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13812C-BFED-4980-BC4E-E4440F7531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83EFA2-4E40-4514-B692-222E1BBBCF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0812FC-8E1A-4599-8C5B-8A9DD9A451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50F087-596D-4E41-9391-24AD380C8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873699999999999</c:v>
                </c:pt>
                <c:pt idx="1">
                  <c:v>49.873399999999997</c:v>
                </c:pt>
                <c:pt idx="2">
                  <c:v>22.1584</c:v>
                </c:pt>
                <c:pt idx="3">
                  <c:v>31.279699999999998</c:v>
                </c:pt>
                <c:pt idx="4">
                  <c:v>44.9056</c:v>
                </c:pt>
                <c:pt idx="5">
                  <c:v>48.481099999999998</c:v>
                </c:pt>
                <c:pt idx="6">
                  <c:v>36.387500000000003</c:v>
                </c:pt>
                <c:pt idx="7">
                  <c:v>51.601100000000002</c:v>
                </c:pt>
              </c:numCache>
            </c:numRef>
          </c:xVal>
          <c:yVal>
            <c:numRef>
              <c:f>Sheet1!$B$2:$B$9</c:f>
              <c:numCache>
                <c:formatCode>General</c:formatCode>
                <c:ptCount val="8"/>
                <c:pt idx="0">
                  <c:v>1.399</c:v>
                </c:pt>
                <c:pt idx="1">
                  <c:v>1.2410000000000001</c:v>
                </c:pt>
                <c:pt idx="2">
                  <c:v>0.56100000000000005</c:v>
                </c:pt>
                <c:pt idx="3">
                  <c:v>0.83299999999999996</c:v>
                </c:pt>
                <c:pt idx="4">
                  <c:v>1.113</c:v>
                </c:pt>
                <c:pt idx="5">
                  <c:v>1.0920000000000001</c:v>
                </c:pt>
                <c:pt idx="6">
                  <c:v>0.96599999999999997</c:v>
                </c:pt>
                <c:pt idx="7">
                  <c:v>1.151</c:v>
                </c:pt>
              </c:numCache>
            </c:numRef>
          </c:yVal>
          <c:bubbleSize>
            <c:numRef>
              <c:f>Sheet1!$C$2:$C$9</c:f>
              <c:numCache>
                <c:formatCode>General</c:formatCode>
                <c:ptCount val="8"/>
                <c:pt idx="0">
                  <c:v>7430476</c:v>
                </c:pt>
                <c:pt idx="1">
                  <c:v>3863095</c:v>
                </c:pt>
                <c:pt idx="2">
                  <c:v>3088765</c:v>
                </c:pt>
                <c:pt idx="3">
                  <c:v>2500341</c:v>
                </c:pt>
                <c:pt idx="4">
                  <c:v>2144197</c:v>
                </c:pt>
                <c:pt idx="5">
                  <c:v>1954226</c:v>
                </c:pt>
                <c:pt idx="6">
                  <c:v>1198569</c:v>
                </c:pt>
                <c:pt idx="7">
                  <c:v>114270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Lanson-Bcc</c:v>
                  </c:pt>
                  <c:pt idx="7">
                    <c:v>Taitting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D1CBBB-0779-4953-9483-E5661224BE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A77B42-3A2E-4CB4-98C4-750DB87275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DDB644-F89C-4B4F-AD3B-2E9A3381D4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27B46C-DE9D-4C8F-BC1D-ECA6516AB5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0D7DC7-54EC-41AA-BA14-A2786A5009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A89FBD-A4B4-4AB1-9CB8-687BA7D321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653BDD-0C4A-4099-85AA-E6AAA383D8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8A6EC4-21D9-4BAE-8FC5-A329B152EA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738500000000002</c:v>
                </c:pt>
                <c:pt idx="1">
                  <c:v>52.755600000000001</c:v>
                </c:pt>
                <c:pt idx="2">
                  <c:v>22.195399999999999</c:v>
                </c:pt>
                <c:pt idx="3">
                  <c:v>31.430800000000001</c:v>
                </c:pt>
                <c:pt idx="4">
                  <c:v>49.416499999999999</c:v>
                </c:pt>
                <c:pt idx="5">
                  <c:v>47.818800000000003</c:v>
                </c:pt>
                <c:pt idx="6">
                  <c:v>53.543199999999999</c:v>
                </c:pt>
                <c:pt idx="7">
                  <c:v>30.589300000000001</c:v>
                </c:pt>
              </c:numCache>
            </c:numRef>
          </c:xVal>
          <c:yVal>
            <c:numRef>
              <c:f>Sheet1!$B$2:$B$9</c:f>
              <c:numCache>
                <c:formatCode>General</c:formatCode>
                <c:ptCount val="8"/>
                <c:pt idx="0">
                  <c:v>1.413</c:v>
                </c:pt>
                <c:pt idx="1">
                  <c:v>1.242</c:v>
                </c:pt>
                <c:pt idx="2">
                  <c:v>0.55400000000000005</c:v>
                </c:pt>
                <c:pt idx="3">
                  <c:v>0.82899999999999996</c:v>
                </c:pt>
                <c:pt idx="4">
                  <c:v>1.0960000000000001</c:v>
                </c:pt>
                <c:pt idx="5">
                  <c:v>1.17</c:v>
                </c:pt>
                <c:pt idx="6">
                  <c:v>1.151</c:v>
                </c:pt>
                <c:pt idx="7">
                  <c:v>0.79700000000000004</c:v>
                </c:pt>
              </c:numCache>
            </c:numRef>
          </c:yVal>
          <c:bubbleSize>
            <c:numRef>
              <c:f>Sheet1!$C$2:$C$9</c:f>
              <c:numCache>
                <c:formatCode>General</c:formatCode>
                <c:ptCount val="8"/>
                <c:pt idx="0">
                  <c:v>1196168</c:v>
                </c:pt>
                <c:pt idx="1">
                  <c:v>569602</c:v>
                </c:pt>
                <c:pt idx="2">
                  <c:v>516597</c:v>
                </c:pt>
                <c:pt idx="3">
                  <c:v>380878</c:v>
                </c:pt>
                <c:pt idx="4">
                  <c:v>259140</c:v>
                </c:pt>
                <c:pt idx="5">
                  <c:v>257074</c:v>
                </c:pt>
                <c:pt idx="6">
                  <c:v>163039</c:v>
                </c:pt>
                <c:pt idx="7">
                  <c:v>141139</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Bollinger</c:v>
                  </c:pt>
                  <c:pt idx="6">
                    <c:v>Taittinger</c:v>
                  </c:pt>
                  <c:pt idx="7">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734A78-1015-45ED-BC67-CA63C8E1B1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AD02C0-F165-4F02-9AA7-3C8DAB3E1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836F63-5E6F-413C-9798-619F82E3AE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B2BEA3-4493-4FC1-8C34-C04F42906D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41B81E-546B-47C7-97A9-C19A1D2806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A7EE85-A549-4DE9-9B75-5EDEEF27B8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70A56D-BD94-44E0-B925-6D9C41A2F2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18A3A3-5B4A-43E4-ADB7-E0E6BD3340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8977</c:v>
                </c:pt>
                <c:pt idx="1">
                  <c:v>51.833100000000002</c:v>
                </c:pt>
                <c:pt idx="2">
                  <c:v>22.9695</c:v>
                </c:pt>
                <c:pt idx="3">
                  <c:v>31.049600000000002</c:v>
                </c:pt>
                <c:pt idx="4">
                  <c:v>45.999499999999998</c:v>
                </c:pt>
                <c:pt idx="5">
                  <c:v>51.685499999999998</c:v>
                </c:pt>
                <c:pt idx="6">
                  <c:v>55.038899999999998</c:v>
                </c:pt>
                <c:pt idx="7">
                  <c:v>31.77</c:v>
                </c:pt>
              </c:numCache>
            </c:numRef>
          </c:xVal>
          <c:yVal>
            <c:numRef>
              <c:f>Sheet1!$B$2:$B$9</c:f>
              <c:numCache>
                <c:formatCode>General</c:formatCode>
                <c:ptCount val="8"/>
                <c:pt idx="0">
                  <c:v>1.3879999999999999</c:v>
                </c:pt>
                <c:pt idx="1">
                  <c:v>1.222</c:v>
                </c:pt>
                <c:pt idx="2">
                  <c:v>0.56299999999999994</c:v>
                </c:pt>
                <c:pt idx="3">
                  <c:v>0.81399999999999995</c:v>
                </c:pt>
                <c:pt idx="4">
                  <c:v>1.121</c:v>
                </c:pt>
                <c:pt idx="5">
                  <c:v>1.0629999999999999</c:v>
                </c:pt>
                <c:pt idx="6">
                  <c:v>1.145</c:v>
                </c:pt>
                <c:pt idx="7">
                  <c:v>0.78400000000000003</c:v>
                </c:pt>
              </c:numCache>
            </c:numRef>
          </c:yVal>
          <c:bubbleSize>
            <c:numRef>
              <c:f>Sheet1!$C$2:$C$9</c:f>
              <c:numCache>
                <c:formatCode>General</c:formatCode>
                <c:ptCount val="8"/>
                <c:pt idx="0">
                  <c:v>576544</c:v>
                </c:pt>
                <c:pt idx="1">
                  <c:v>352776</c:v>
                </c:pt>
                <c:pt idx="2">
                  <c:v>218187</c:v>
                </c:pt>
                <c:pt idx="3">
                  <c:v>214056</c:v>
                </c:pt>
                <c:pt idx="4">
                  <c:v>193842</c:v>
                </c:pt>
                <c:pt idx="5">
                  <c:v>121616</c:v>
                </c:pt>
                <c:pt idx="6">
                  <c:v>118719</c:v>
                </c:pt>
                <c:pt idx="7">
                  <c:v>117962</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Taittinger</c:v>
                  </c:pt>
                  <c:pt idx="7">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8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86B620-0FD5-47D9-BFEC-FA49559F5A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799C01-49E5-455B-91FD-029E1007F6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790386-4E24-484D-95A9-548E3C643B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EFA2B8-2B91-4AE6-A0E1-2BA0445E4B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D56E46-D4B8-4BB3-B452-F601E00282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A9ABE8-2A5F-47C5-8B5A-6C9D69F88E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115235-BC21-489D-849D-F969549CE9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DA8CBB-562D-44DC-8761-68CBD08770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75000000000006</c:v>
                </c:pt>
                <c:pt idx="1">
                  <c:v>23.590299999999999</c:v>
                </c:pt>
                <c:pt idx="2">
                  <c:v>50.235199999999999</c:v>
                </c:pt>
                <c:pt idx="3">
                  <c:v>31.48</c:v>
                </c:pt>
                <c:pt idx="4">
                  <c:v>52.412700000000001</c:v>
                </c:pt>
                <c:pt idx="5">
                  <c:v>32.894399999999997</c:v>
                </c:pt>
                <c:pt idx="6">
                  <c:v>29.253399999999999</c:v>
                </c:pt>
                <c:pt idx="7">
                  <c:v>38.716000000000001</c:v>
                </c:pt>
              </c:numCache>
            </c:numRef>
          </c:xVal>
          <c:yVal>
            <c:numRef>
              <c:f>Sheet1!$B$2:$B$9</c:f>
              <c:numCache>
                <c:formatCode>General</c:formatCode>
                <c:ptCount val="8"/>
                <c:pt idx="0">
                  <c:v>1.6160000000000001</c:v>
                </c:pt>
                <c:pt idx="1">
                  <c:v>0.56000000000000005</c:v>
                </c:pt>
                <c:pt idx="2">
                  <c:v>1.1599999999999999</c:v>
                </c:pt>
                <c:pt idx="3">
                  <c:v>0.745</c:v>
                </c:pt>
                <c:pt idx="4">
                  <c:v>1.1080000000000001</c:v>
                </c:pt>
                <c:pt idx="5">
                  <c:v>0.75700000000000001</c:v>
                </c:pt>
                <c:pt idx="6">
                  <c:v>0.69099999999999995</c:v>
                </c:pt>
                <c:pt idx="7">
                  <c:v>0.91500000000000004</c:v>
                </c:pt>
              </c:numCache>
            </c:numRef>
          </c:yVal>
          <c:bubbleSize>
            <c:numRef>
              <c:f>Sheet1!$C$2:$C$9</c:f>
              <c:numCache>
                <c:formatCode>General</c:formatCode>
                <c:ptCount val="8"/>
                <c:pt idx="0">
                  <c:v>3453150</c:v>
                </c:pt>
                <c:pt idx="1">
                  <c:v>1317521</c:v>
                </c:pt>
                <c:pt idx="2">
                  <c:v>1108641</c:v>
                </c:pt>
                <c:pt idx="3">
                  <c:v>730304</c:v>
                </c:pt>
                <c:pt idx="4">
                  <c:v>682885</c:v>
                </c:pt>
                <c:pt idx="5">
                  <c:v>520981</c:v>
                </c:pt>
                <c:pt idx="6">
                  <c:v>468611</c:v>
                </c:pt>
                <c:pt idx="7">
                  <c:v>467844</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9B906A-68D2-4CAD-A904-777BAEFF30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122F94-0FEE-4F94-A97E-DF0D6C7EAA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951668-2EC9-42A4-9773-61BF81A665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475F7B-22C2-4475-A8BF-AD1917FF9E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CE29EA-333B-43ED-8431-B638AC34CB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BD2565-15B2-4ACE-ABEC-4BAE379118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F4F555F-31C1-4632-B12E-118CB2FC47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CAF2D3-4E2D-46F3-8631-FCCEAE76B1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273600000000002</c:v>
                </c:pt>
                <c:pt idx="1">
                  <c:v>51.568300000000001</c:v>
                </c:pt>
                <c:pt idx="2">
                  <c:v>22.021899999999999</c:v>
                </c:pt>
                <c:pt idx="3">
                  <c:v>30.7685</c:v>
                </c:pt>
                <c:pt idx="4">
                  <c:v>43.920499999999997</c:v>
                </c:pt>
                <c:pt idx="5">
                  <c:v>30.0596</c:v>
                </c:pt>
                <c:pt idx="6">
                  <c:v>31.234200000000001</c:v>
                </c:pt>
                <c:pt idx="7">
                  <c:v>53.264400000000002</c:v>
                </c:pt>
              </c:numCache>
            </c:numRef>
          </c:xVal>
          <c:yVal>
            <c:numRef>
              <c:f>Sheet1!$B$2:$B$9</c:f>
              <c:numCache>
                <c:formatCode>General</c:formatCode>
                <c:ptCount val="8"/>
                <c:pt idx="0">
                  <c:v>1.492</c:v>
                </c:pt>
                <c:pt idx="1">
                  <c:v>1.327</c:v>
                </c:pt>
                <c:pt idx="2">
                  <c:v>0.58699999999999997</c:v>
                </c:pt>
                <c:pt idx="3">
                  <c:v>0.84599999999999997</c:v>
                </c:pt>
                <c:pt idx="4">
                  <c:v>1.157</c:v>
                </c:pt>
                <c:pt idx="5">
                  <c:v>0.80500000000000005</c:v>
                </c:pt>
                <c:pt idx="6">
                  <c:v>0.82099999999999995</c:v>
                </c:pt>
                <c:pt idx="7">
                  <c:v>1.173</c:v>
                </c:pt>
              </c:numCache>
            </c:numRef>
          </c:yVal>
          <c:bubbleSize>
            <c:numRef>
              <c:f>Sheet1!$C$2:$C$9</c:f>
              <c:numCache>
                <c:formatCode>General</c:formatCode>
                <c:ptCount val="8"/>
                <c:pt idx="0">
                  <c:v>267983</c:v>
                </c:pt>
                <c:pt idx="1">
                  <c:v>189565</c:v>
                </c:pt>
                <c:pt idx="2">
                  <c:v>185733</c:v>
                </c:pt>
                <c:pt idx="3">
                  <c:v>132520</c:v>
                </c:pt>
                <c:pt idx="4">
                  <c:v>101632</c:v>
                </c:pt>
                <c:pt idx="5">
                  <c:v>65109</c:v>
                </c:pt>
                <c:pt idx="6">
                  <c:v>54691</c:v>
                </c:pt>
                <c:pt idx="7">
                  <c:v>5097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De Bligny</c:v>
                  </c:pt>
                  <c:pt idx="6">
                    <c:v>C&amp;C Sas France</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9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4A145F-0510-4D48-B064-78B7AB3572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BFD0F8-A8C5-46D3-BDE8-0FDBFF9C35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904A76-AC8B-46A7-AD02-37B9130ECC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D9AADA-10A5-4A04-81B1-D3FC8C740B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A6D1CD-A280-4A9E-929D-7C6976F031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ED817E-D11A-4943-8362-CD722E0CD7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63E89D4-2415-469B-AFFD-C68A20E77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FA4788-E0C1-46F5-B0EF-EBA17332B0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089399999999998</c:v>
                </c:pt>
                <c:pt idx="1">
                  <c:v>21.622299999999999</c:v>
                </c:pt>
                <c:pt idx="2">
                  <c:v>51.558999999999997</c:v>
                </c:pt>
                <c:pt idx="3">
                  <c:v>47.154400000000003</c:v>
                </c:pt>
                <c:pt idx="4">
                  <c:v>33.342300000000002</c:v>
                </c:pt>
                <c:pt idx="5">
                  <c:v>51.144300000000001</c:v>
                </c:pt>
                <c:pt idx="6">
                  <c:v>37.1526</c:v>
                </c:pt>
                <c:pt idx="7">
                  <c:v>33.765999999999998</c:v>
                </c:pt>
              </c:numCache>
            </c:numRef>
          </c:xVal>
          <c:yVal>
            <c:numRef>
              <c:f>Sheet1!$B$2:$B$9</c:f>
              <c:numCache>
                <c:formatCode>General</c:formatCode>
                <c:ptCount val="8"/>
                <c:pt idx="0">
                  <c:v>1.4850000000000001</c:v>
                </c:pt>
                <c:pt idx="1">
                  <c:v>0.57299999999999995</c:v>
                </c:pt>
                <c:pt idx="2">
                  <c:v>1.3129999999999999</c:v>
                </c:pt>
                <c:pt idx="3">
                  <c:v>1.22</c:v>
                </c:pt>
                <c:pt idx="4">
                  <c:v>0.95499999999999996</c:v>
                </c:pt>
                <c:pt idx="5">
                  <c:v>1.153</c:v>
                </c:pt>
                <c:pt idx="6">
                  <c:v>1.0429999999999999</c:v>
                </c:pt>
                <c:pt idx="7">
                  <c:v>0.90600000000000003</c:v>
                </c:pt>
              </c:numCache>
            </c:numRef>
          </c:yVal>
          <c:bubbleSize>
            <c:numRef>
              <c:f>Sheet1!$C$2:$C$9</c:f>
              <c:numCache>
                <c:formatCode>General</c:formatCode>
                <c:ptCount val="8"/>
                <c:pt idx="0">
                  <c:v>222306</c:v>
                </c:pt>
                <c:pt idx="1">
                  <c:v>116501</c:v>
                </c:pt>
                <c:pt idx="2">
                  <c:v>106160</c:v>
                </c:pt>
                <c:pt idx="3">
                  <c:v>83086</c:v>
                </c:pt>
                <c:pt idx="4">
                  <c:v>75887</c:v>
                </c:pt>
                <c:pt idx="5">
                  <c:v>49252</c:v>
                </c:pt>
                <c:pt idx="6">
                  <c:v>48447</c:v>
                </c:pt>
                <c:pt idx="7">
                  <c:v>47610</c:v>
                </c:pt>
              </c:numCache>
            </c:numRef>
          </c:bubbleSize>
          <c:bubble3D val="0"/>
          <c:extLst>
            <c:ext xmlns:c15="http://schemas.microsoft.com/office/drawing/2012/chart" uri="{02D57815-91ED-43cb-92C2-25804820EDAC}">
              <c15:datalabelsRange>
                <c15:f>Sheet1!$E$2:$E$10</c15:f>
                <c15:dlblRangeCache>
                  <c:ptCount val="9"/>
                  <c:pt idx="0">
                    <c:v>Mhcs</c:v>
                  </c:pt>
                  <c:pt idx="1">
                    <c:v>Malard Nicolas</c:v>
                  </c:pt>
                  <c:pt idx="2">
                    <c:v>Roederer</c:v>
                  </c:pt>
                  <c:pt idx="3">
                    <c:v>Bollinger</c:v>
                  </c:pt>
                  <c:pt idx="4">
                    <c:v>Vranken Pommery</c:v>
                  </c:pt>
                  <c:pt idx="5">
                    <c:v>Laurent Perrier</c:v>
                  </c:pt>
                  <c:pt idx="6">
                    <c:v>Lanson-Bcc</c:v>
                  </c:pt>
                  <c:pt idx="7">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5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E690A0-BBDD-46D9-86BE-E1F90725B0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7F06DA-5B51-459C-AB53-E76006E095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558365-CE9A-4D3D-93D3-C8FAEFF2AA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78DE8C-C343-47DF-8F59-94E21F8762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1C546E-E080-4899-9396-F3B617C5B5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9FB267-1385-4F35-A858-FCDFAF051C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F5A507-B8A8-4781-ABD8-E8D677D053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409FE8-F708-41E0-BBD2-8EE7BE19B0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706299999999999</c:v>
                </c:pt>
                <c:pt idx="1">
                  <c:v>50.892800000000001</c:v>
                </c:pt>
                <c:pt idx="2">
                  <c:v>22.172899999999998</c:v>
                </c:pt>
                <c:pt idx="3">
                  <c:v>30.892199999999999</c:v>
                </c:pt>
                <c:pt idx="4">
                  <c:v>46.359499999999997</c:v>
                </c:pt>
                <c:pt idx="5">
                  <c:v>49.451500000000003</c:v>
                </c:pt>
                <c:pt idx="6">
                  <c:v>52.2971</c:v>
                </c:pt>
                <c:pt idx="7">
                  <c:v>29.692699999999999</c:v>
                </c:pt>
              </c:numCache>
            </c:numRef>
          </c:xVal>
          <c:yVal>
            <c:numRef>
              <c:f>Sheet1!$B$2:$B$9</c:f>
              <c:numCache>
                <c:formatCode>General</c:formatCode>
                <c:ptCount val="8"/>
                <c:pt idx="0">
                  <c:v>1.3819999999999999</c:v>
                </c:pt>
                <c:pt idx="1">
                  <c:v>1.2290000000000001</c:v>
                </c:pt>
                <c:pt idx="2">
                  <c:v>0.54800000000000004</c:v>
                </c:pt>
                <c:pt idx="3">
                  <c:v>0.82</c:v>
                </c:pt>
                <c:pt idx="4">
                  <c:v>1.119</c:v>
                </c:pt>
                <c:pt idx="5">
                  <c:v>1.0820000000000001</c:v>
                </c:pt>
                <c:pt idx="6">
                  <c:v>1.1299999999999999</c:v>
                </c:pt>
                <c:pt idx="7">
                  <c:v>0.76</c:v>
                </c:pt>
              </c:numCache>
            </c:numRef>
          </c:yVal>
          <c:bubbleSize>
            <c:numRef>
              <c:f>Sheet1!$C$2:$C$9</c:f>
              <c:numCache>
                <c:formatCode>General</c:formatCode>
                <c:ptCount val="8"/>
                <c:pt idx="0">
                  <c:v>3157633</c:v>
                </c:pt>
                <c:pt idx="1">
                  <c:v>1603836</c:v>
                </c:pt>
                <c:pt idx="2">
                  <c:v>1187314</c:v>
                </c:pt>
                <c:pt idx="3">
                  <c:v>966369</c:v>
                </c:pt>
                <c:pt idx="4">
                  <c:v>899375</c:v>
                </c:pt>
                <c:pt idx="5">
                  <c:v>855759</c:v>
                </c:pt>
                <c:pt idx="6">
                  <c:v>490285</c:v>
                </c:pt>
                <c:pt idx="7">
                  <c:v>42353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Taittinger</c:v>
                  </c:pt>
                  <c:pt idx="7">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421B5E-4D83-45E8-A1D0-E322AB88BB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DB4DF3-60C6-4686-8DCB-CA759D4EC8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0DA139-A642-4864-A314-5313743E35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DEEECB-6B24-48F7-8F77-F4ADC15F7B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4EF212-244F-477A-934C-961B512883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2DDE5BD-60D3-44BF-93B1-5D097C7D9B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0273A3-A37C-441B-8831-D74D812759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DE89634-99BA-47D1-A4B4-C9C26BB7FA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167000000000002</c:v>
                </c:pt>
                <c:pt idx="1">
                  <c:v>49.802100000000003</c:v>
                </c:pt>
                <c:pt idx="2">
                  <c:v>22.019500000000001</c:v>
                </c:pt>
                <c:pt idx="3">
                  <c:v>31.6188</c:v>
                </c:pt>
                <c:pt idx="4">
                  <c:v>44.488100000000003</c:v>
                </c:pt>
                <c:pt idx="5">
                  <c:v>47.922400000000003</c:v>
                </c:pt>
                <c:pt idx="6">
                  <c:v>29.9375</c:v>
                </c:pt>
                <c:pt idx="7">
                  <c:v>36.246499999999997</c:v>
                </c:pt>
              </c:numCache>
            </c:numRef>
          </c:xVal>
          <c:yVal>
            <c:numRef>
              <c:f>Sheet1!$B$2:$B$9</c:f>
              <c:numCache>
                <c:formatCode>General</c:formatCode>
                <c:ptCount val="8"/>
                <c:pt idx="0">
                  <c:v>1.4159999999999999</c:v>
                </c:pt>
                <c:pt idx="1">
                  <c:v>1.2470000000000001</c:v>
                </c:pt>
                <c:pt idx="2">
                  <c:v>0.56299999999999994</c:v>
                </c:pt>
                <c:pt idx="3">
                  <c:v>0.84199999999999997</c:v>
                </c:pt>
                <c:pt idx="4">
                  <c:v>1.1160000000000001</c:v>
                </c:pt>
                <c:pt idx="5">
                  <c:v>1.0880000000000001</c:v>
                </c:pt>
                <c:pt idx="6">
                  <c:v>0.79200000000000004</c:v>
                </c:pt>
                <c:pt idx="7">
                  <c:v>0.97899999999999998</c:v>
                </c:pt>
              </c:numCache>
            </c:numRef>
          </c:yVal>
          <c:bubbleSize>
            <c:numRef>
              <c:f>Sheet1!$C$2:$C$9</c:f>
              <c:numCache>
                <c:formatCode>General</c:formatCode>
                <c:ptCount val="8"/>
                <c:pt idx="0">
                  <c:v>1555320</c:v>
                </c:pt>
                <c:pt idx="1">
                  <c:v>861825</c:v>
                </c:pt>
                <c:pt idx="2">
                  <c:v>702400</c:v>
                </c:pt>
                <c:pt idx="3">
                  <c:v>548334</c:v>
                </c:pt>
                <c:pt idx="4">
                  <c:v>430912</c:v>
                </c:pt>
                <c:pt idx="5">
                  <c:v>424928</c:v>
                </c:pt>
                <c:pt idx="6">
                  <c:v>254439</c:v>
                </c:pt>
                <c:pt idx="7">
                  <c:v>24586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C&amp;C Sas France</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025B3B-2587-443C-8EAB-074FC06284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78620F-1954-417F-9158-83DE2BBB45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4ED19C-CFB3-4503-94BD-C75F5947A5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9F99AA-A7FB-4DBF-B975-CC3CA9A19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5FE34A1-17F4-4D8C-AD3A-AB94870A25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4400BA-6067-4A9D-AADA-3CFBB5B81E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64848D-9BF2-4AE3-BC10-1AD94942A4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F8D6AA-6D7B-4663-8C77-9842849901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6.280500000000004</c:v>
                </c:pt>
                <c:pt idx="1">
                  <c:v>50.663800000000002</c:v>
                </c:pt>
                <c:pt idx="2">
                  <c:v>22.205500000000001</c:v>
                </c:pt>
                <c:pt idx="3">
                  <c:v>31.444800000000001</c:v>
                </c:pt>
                <c:pt idx="4">
                  <c:v>44.361899999999999</c:v>
                </c:pt>
                <c:pt idx="5">
                  <c:v>48.909500000000001</c:v>
                </c:pt>
                <c:pt idx="6">
                  <c:v>30.1663</c:v>
                </c:pt>
                <c:pt idx="7">
                  <c:v>30.159199999999998</c:v>
                </c:pt>
              </c:numCache>
            </c:numRef>
          </c:xVal>
          <c:yVal>
            <c:numRef>
              <c:f>Sheet1!$B$2:$B$9</c:f>
              <c:numCache>
                <c:formatCode>General</c:formatCode>
                <c:ptCount val="8"/>
                <c:pt idx="0">
                  <c:v>1.4259999999999999</c:v>
                </c:pt>
                <c:pt idx="1">
                  <c:v>1.262</c:v>
                </c:pt>
                <c:pt idx="2">
                  <c:v>0.56899999999999995</c:v>
                </c:pt>
                <c:pt idx="3">
                  <c:v>0.84499999999999997</c:v>
                </c:pt>
                <c:pt idx="4">
                  <c:v>1.1200000000000001</c:v>
                </c:pt>
                <c:pt idx="5">
                  <c:v>1.1060000000000001</c:v>
                </c:pt>
                <c:pt idx="6">
                  <c:v>0.79700000000000004</c:v>
                </c:pt>
                <c:pt idx="7">
                  <c:v>0.77400000000000002</c:v>
                </c:pt>
              </c:numCache>
            </c:numRef>
          </c:yVal>
          <c:bubbleSize>
            <c:numRef>
              <c:f>Sheet1!$C$2:$C$9</c:f>
              <c:numCache>
                <c:formatCode>General</c:formatCode>
                <c:ptCount val="8"/>
                <c:pt idx="0">
                  <c:v>2388882</c:v>
                </c:pt>
                <c:pt idx="1">
                  <c:v>1204734</c:v>
                </c:pt>
                <c:pt idx="2">
                  <c:v>1080677</c:v>
                </c:pt>
                <c:pt idx="3">
                  <c:v>840268</c:v>
                </c:pt>
                <c:pt idx="4">
                  <c:v>721547</c:v>
                </c:pt>
                <c:pt idx="5">
                  <c:v>550525</c:v>
                </c:pt>
                <c:pt idx="6">
                  <c:v>414756</c:v>
                </c:pt>
                <c:pt idx="7">
                  <c:v>40229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C&amp;C Sas Franc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060855-BAA1-4934-86CB-FBC4B4F125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43EFD5-D58E-42E1-AE1D-BBFF4FC6B8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554EB7-3FF2-44AF-8CDD-27EDF083A9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C5E87B-F4F8-4586-BC02-116F5B9B53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D457FC-009F-43AC-89C7-D8C9FC0979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7563D2E-4EC3-40E5-8F5C-A6D16AA4C2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D8385E-75FF-47AB-A848-B51330DD74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7D1593-073D-4BF1-BCC8-5A090C0E30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964300000000001</c:v>
                </c:pt>
                <c:pt idx="1">
                  <c:v>50.423699999999997</c:v>
                </c:pt>
                <c:pt idx="2">
                  <c:v>22.341100000000001</c:v>
                </c:pt>
                <c:pt idx="3">
                  <c:v>31.3522</c:v>
                </c:pt>
                <c:pt idx="4">
                  <c:v>45.020400000000002</c:v>
                </c:pt>
                <c:pt idx="5">
                  <c:v>49.332900000000002</c:v>
                </c:pt>
                <c:pt idx="6">
                  <c:v>36.496099999999998</c:v>
                </c:pt>
                <c:pt idx="7">
                  <c:v>30.2136</c:v>
                </c:pt>
              </c:numCache>
            </c:numRef>
          </c:xVal>
          <c:yVal>
            <c:numRef>
              <c:f>Sheet1!$B$2:$B$9</c:f>
              <c:numCache>
                <c:formatCode>General</c:formatCode>
                <c:ptCount val="8"/>
                <c:pt idx="0">
                  <c:v>1.415</c:v>
                </c:pt>
                <c:pt idx="1">
                  <c:v>1.2529999999999999</c:v>
                </c:pt>
                <c:pt idx="2">
                  <c:v>0.57099999999999995</c:v>
                </c:pt>
                <c:pt idx="3">
                  <c:v>0.84</c:v>
                </c:pt>
                <c:pt idx="4">
                  <c:v>1.127</c:v>
                </c:pt>
                <c:pt idx="5">
                  <c:v>1.099</c:v>
                </c:pt>
                <c:pt idx="6">
                  <c:v>0.97799999999999998</c:v>
                </c:pt>
                <c:pt idx="7">
                  <c:v>0.77400000000000002</c:v>
                </c:pt>
              </c:numCache>
            </c:numRef>
          </c:yVal>
          <c:bubbleSize>
            <c:numRef>
              <c:f>Sheet1!$C$2:$C$9</c:f>
              <c:numCache>
                <c:formatCode>General</c:formatCode>
                <c:ptCount val="8"/>
                <c:pt idx="0">
                  <c:v>1856783</c:v>
                </c:pt>
                <c:pt idx="1">
                  <c:v>1030307</c:v>
                </c:pt>
                <c:pt idx="2">
                  <c:v>834864</c:v>
                </c:pt>
                <c:pt idx="3">
                  <c:v>709656</c:v>
                </c:pt>
                <c:pt idx="4">
                  <c:v>522147</c:v>
                </c:pt>
                <c:pt idx="5">
                  <c:v>423079</c:v>
                </c:pt>
                <c:pt idx="6">
                  <c:v>360946</c:v>
                </c:pt>
                <c:pt idx="7">
                  <c:v>33389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Lanson-Bcc</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BE61F6-496B-4138-AC4A-284FAEB21E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E22358-18EB-429A-93A4-CFC3802B95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845DD9-5EA8-4E0B-9EE3-01DC628EA7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ABF3F1-535C-44C2-BBAF-51E763E37D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D3144D-1FA1-4583-9A47-9BECC67BD7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DC2F95-5F06-470A-BBB5-BFD361A900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43C749-0BBA-49C0-A5C2-641FD0E1F7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E08938-D5F8-4EF1-B049-733F93FF1B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747399999999999</c:v>
                </c:pt>
                <c:pt idx="1">
                  <c:v>51.195099999999996</c:v>
                </c:pt>
                <c:pt idx="2">
                  <c:v>22.2439</c:v>
                </c:pt>
                <c:pt idx="3">
                  <c:v>31.631599999999999</c:v>
                </c:pt>
                <c:pt idx="4">
                  <c:v>44.8476</c:v>
                </c:pt>
                <c:pt idx="5">
                  <c:v>49.148099999999999</c:v>
                </c:pt>
                <c:pt idx="6">
                  <c:v>30.978899999999999</c:v>
                </c:pt>
                <c:pt idx="7">
                  <c:v>30.294499999999999</c:v>
                </c:pt>
              </c:numCache>
            </c:numRef>
          </c:xVal>
          <c:yVal>
            <c:numRef>
              <c:f>Sheet1!$B$2:$B$9</c:f>
              <c:numCache>
                <c:formatCode>General</c:formatCode>
                <c:ptCount val="8"/>
                <c:pt idx="0">
                  <c:v>1.4259999999999999</c:v>
                </c:pt>
                <c:pt idx="1">
                  <c:v>1.2669999999999999</c:v>
                </c:pt>
                <c:pt idx="2">
                  <c:v>0.57399999999999995</c:v>
                </c:pt>
                <c:pt idx="3">
                  <c:v>0.84699999999999998</c:v>
                </c:pt>
                <c:pt idx="4">
                  <c:v>1.139</c:v>
                </c:pt>
                <c:pt idx="5">
                  <c:v>1.115</c:v>
                </c:pt>
                <c:pt idx="6">
                  <c:v>0.82499999999999996</c:v>
                </c:pt>
                <c:pt idx="7">
                  <c:v>0.78300000000000003</c:v>
                </c:pt>
              </c:numCache>
            </c:numRef>
          </c:yVal>
          <c:bubbleSize>
            <c:numRef>
              <c:f>Sheet1!$C$2:$C$9</c:f>
              <c:numCache>
                <c:formatCode>General</c:formatCode>
                <c:ptCount val="8"/>
                <c:pt idx="0">
                  <c:v>1706485</c:v>
                </c:pt>
                <c:pt idx="1">
                  <c:v>897297</c:v>
                </c:pt>
                <c:pt idx="2">
                  <c:v>843512</c:v>
                </c:pt>
                <c:pt idx="3">
                  <c:v>657495</c:v>
                </c:pt>
                <c:pt idx="4">
                  <c:v>523461</c:v>
                </c:pt>
                <c:pt idx="5">
                  <c:v>368021</c:v>
                </c:pt>
                <c:pt idx="6">
                  <c:v>320291</c:v>
                </c:pt>
                <c:pt idx="7">
                  <c:v>30279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Bollinger</c:v>
                  </c:pt>
                  <c:pt idx="5">
                    <c:v>Laurent Perrier</c:v>
                  </c:pt>
                  <c:pt idx="6">
                    <c:v>C&amp;C Sas Franc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0A76B6-C18E-406D-9D5E-5DE4252097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2B2480-C9AE-4648-82FD-6A47A6ED96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FB3F14-60F7-46C0-9334-2DE265BF4C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0D386D-75FA-4A5F-9B6B-5D8BC3AA65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75A9A6-2D9B-4B28-BBC2-FACACB6239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21F8BA0-1847-4F82-A735-8907C9C994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544E89C-946A-4141-8537-C59652B7DF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EDA4688-71C8-4190-9EBA-3E59680DF6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609</c:v>
                </c:pt>
                <c:pt idx="1">
                  <c:v>30.4114</c:v>
                </c:pt>
                <c:pt idx="2">
                  <c:v>31.256699999999999</c:v>
                </c:pt>
                <c:pt idx="3">
                  <c:v>34.277999999999999</c:v>
                </c:pt>
              </c:numCache>
            </c:numRef>
          </c:xVal>
          <c:yVal>
            <c:numRef>
              <c:f>Sheet1!$B$2:$B$5</c:f>
              <c:numCache>
                <c:formatCode>General</c:formatCode>
                <c:ptCount val="4"/>
                <c:pt idx="0">
                  <c:v>0.98699999999999999</c:v>
                </c:pt>
                <c:pt idx="1">
                  <c:v>1.016</c:v>
                </c:pt>
                <c:pt idx="2">
                  <c:v>1.0429999999999999</c:v>
                </c:pt>
                <c:pt idx="3">
                  <c:v>1.0940000000000001</c:v>
                </c:pt>
              </c:numCache>
            </c:numRef>
          </c:yVal>
          <c:bubbleSize>
            <c:numRef>
              <c:f>Sheet1!$C$2:$C$5</c:f>
              <c:numCache>
                <c:formatCode>General</c:formatCode>
                <c:ptCount val="4"/>
                <c:pt idx="0">
                  <c:v>2004646</c:v>
                </c:pt>
                <c:pt idx="1">
                  <c:v>529675</c:v>
                </c:pt>
                <c:pt idx="2">
                  <c:v>278560</c:v>
                </c:pt>
                <c:pt idx="3">
                  <c:v>67699</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0D4197-8F09-4F13-8B98-67616BEBDD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50B208-F0F5-4C42-A361-1BA42138B8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560ED7-F85C-44AF-80D4-D93BCEBC6E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38C698-8192-43C2-A6FD-14805C9EB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DCE39F5-22AD-4AE5-9520-6F5E66C711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95AA5EC-1D56-4807-8A96-5FB3F1BEA4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79F6439-C3FC-4A45-93F4-3FEFEA72C5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57D732-3434-4585-A954-B459BAFB53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005</c:v>
                </c:pt>
                <c:pt idx="1">
                  <c:v>30.4802</c:v>
                </c:pt>
                <c:pt idx="2">
                  <c:v>31.5137</c:v>
                </c:pt>
                <c:pt idx="3">
                  <c:v>35.524299999999997</c:v>
                </c:pt>
              </c:numCache>
            </c:numRef>
          </c:xVal>
          <c:yVal>
            <c:numRef>
              <c:f>Sheet1!$B$2:$B$5</c:f>
              <c:numCache>
                <c:formatCode>General</c:formatCode>
                <c:ptCount val="4"/>
                <c:pt idx="0">
                  <c:v>0.98699999999999999</c:v>
                </c:pt>
                <c:pt idx="1">
                  <c:v>1.0149999999999999</c:v>
                </c:pt>
                <c:pt idx="2">
                  <c:v>1.0469999999999999</c:v>
                </c:pt>
                <c:pt idx="3">
                  <c:v>1.077</c:v>
                </c:pt>
              </c:numCache>
            </c:numRef>
          </c:yVal>
          <c:bubbleSize>
            <c:numRef>
              <c:f>Sheet1!$C$2:$C$5</c:f>
              <c:numCache>
                <c:formatCode>General</c:formatCode>
                <c:ptCount val="4"/>
                <c:pt idx="0">
                  <c:v>2007386</c:v>
                </c:pt>
                <c:pt idx="1">
                  <c:v>530203</c:v>
                </c:pt>
                <c:pt idx="2">
                  <c:v>279022</c:v>
                </c:pt>
                <c:pt idx="3">
                  <c:v>70054</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AC49F1-F4F8-4989-80A7-936E71FB5C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FE5FFD-796C-4AAA-A27C-1CED804434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D50708-4CF0-4C09-A113-F3BF98609D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FB8700-281E-4D38-84BF-3127970940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1643957-2986-4EF6-B8CF-1E14A6EDFE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E4388A2-0410-4089-AE13-B4C64C58C1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FFF3E4D-E8A1-4391-9496-ED3F6278E4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20A846-3EFB-481E-AF77-6FBFDF4FAD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553</c:v>
                </c:pt>
                <c:pt idx="1">
                  <c:v>30.398399999999999</c:v>
                </c:pt>
                <c:pt idx="2">
                  <c:v>31.399699999999999</c:v>
                </c:pt>
                <c:pt idx="3">
                  <c:v>35.377000000000002</c:v>
                </c:pt>
              </c:numCache>
            </c:numRef>
          </c:xVal>
          <c:yVal>
            <c:numRef>
              <c:f>Sheet1!$B$2:$B$5</c:f>
              <c:numCache>
                <c:formatCode>General</c:formatCode>
                <c:ptCount val="4"/>
                <c:pt idx="0">
                  <c:v>0.98799999999999999</c:v>
                </c:pt>
                <c:pt idx="1">
                  <c:v>1.012</c:v>
                </c:pt>
                <c:pt idx="2">
                  <c:v>1.0469999999999999</c:v>
                </c:pt>
                <c:pt idx="3">
                  <c:v>1.0880000000000001</c:v>
                </c:pt>
              </c:numCache>
            </c:numRef>
          </c:yVal>
          <c:bubbleSize>
            <c:numRef>
              <c:f>Sheet1!$C$2:$C$5</c:f>
              <c:numCache>
                <c:formatCode>General</c:formatCode>
                <c:ptCount val="4"/>
                <c:pt idx="0">
                  <c:v>1002232</c:v>
                </c:pt>
                <c:pt idx="1">
                  <c:v>253340</c:v>
                </c:pt>
                <c:pt idx="2">
                  <c:v>140074</c:v>
                </c:pt>
                <c:pt idx="3">
                  <c:v>28903</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8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FF4AE1E-19F0-42CE-AF3F-485AB40678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B8DB07C-5921-4323-91B5-163653F49B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69C1F5E-C94D-4206-B8B0-ADAEF98FA2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6C2143E-8E7F-40AD-A173-A02568219A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FBDA284-79A4-4E2A-8887-6AAAE976C6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61685E1-8394-491F-87A2-8C7E7DEA7A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5254BE6-45EA-4E8B-8205-AFC9EC972D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83FDC24-3F24-4921-B751-CA7844993F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04999999999999</c:v>
                </c:pt>
                <c:pt idx="1">
                  <c:v>12.696099999999999</c:v>
                </c:pt>
                <c:pt idx="2">
                  <c:v>9.0840999999999994</c:v>
                </c:pt>
                <c:pt idx="3">
                  <c:v>17.397300000000001</c:v>
                </c:pt>
                <c:pt idx="4">
                  <c:v>11.7463</c:v>
                </c:pt>
                <c:pt idx="5">
                  <c:v>11.4129</c:v>
                </c:pt>
                <c:pt idx="6">
                  <c:v>13.5061</c:v>
                </c:pt>
                <c:pt idx="7">
                  <c:v>5.7343000000000002</c:v>
                </c:pt>
              </c:numCache>
            </c:numRef>
          </c:xVal>
          <c:yVal>
            <c:numRef>
              <c:f>Sheet1!$B$2:$B$9</c:f>
              <c:numCache>
                <c:formatCode>General</c:formatCode>
                <c:ptCount val="8"/>
                <c:pt idx="0">
                  <c:v>1.0820000000000001</c:v>
                </c:pt>
                <c:pt idx="1">
                  <c:v>1.2050000000000001</c:v>
                </c:pt>
                <c:pt idx="2">
                  <c:v>0.86199999999999999</c:v>
                </c:pt>
                <c:pt idx="3">
                  <c:v>1.6519999999999999</c:v>
                </c:pt>
                <c:pt idx="4">
                  <c:v>1.0720000000000001</c:v>
                </c:pt>
                <c:pt idx="5">
                  <c:v>1.083</c:v>
                </c:pt>
                <c:pt idx="6">
                  <c:v>1.28</c:v>
                </c:pt>
                <c:pt idx="7">
                  <c:v>0.54500000000000004</c:v>
                </c:pt>
              </c:numCache>
            </c:numRef>
          </c:yVal>
          <c:bubbleSize>
            <c:numRef>
              <c:f>Sheet1!$C$2:$C$9</c:f>
              <c:numCache>
                <c:formatCode>General</c:formatCode>
                <c:ptCount val="8"/>
                <c:pt idx="0">
                  <c:v>150888</c:v>
                </c:pt>
                <c:pt idx="1">
                  <c:v>111713</c:v>
                </c:pt>
                <c:pt idx="2">
                  <c:v>86281</c:v>
                </c:pt>
                <c:pt idx="3">
                  <c:v>76009</c:v>
                </c:pt>
                <c:pt idx="4">
                  <c:v>74413</c:v>
                </c:pt>
                <c:pt idx="5">
                  <c:v>70235</c:v>
                </c:pt>
                <c:pt idx="6">
                  <c:v>42355</c:v>
                </c:pt>
                <c:pt idx="7">
                  <c:v>19233</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Savian</c:v>
                  </c:pt>
                  <c:pt idx="3">
                    <c:v>Mure</c:v>
                  </c:pt>
                  <c:pt idx="4">
                    <c:v>Bouvet-Ladubay</c:v>
                  </c:pt>
                  <c:pt idx="5">
                    <c:v>Chateau Moncontour</c:v>
                  </c:pt>
                  <c:pt idx="6">
                    <c:v>De Chanceny</c:v>
                  </c:pt>
                  <c:pt idx="7">
                    <c:v>Krit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70443D-68E5-4435-BFEB-71F8683F24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32927B-0CDA-462F-8AF1-9F629ED33D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BE1340-B27C-4E79-9342-963E1F9E15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7995DF-2D59-4BCD-A789-6CA16A2969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13B3A7-F913-46D3-9E97-42F97F2D30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0DFD70F-C3D8-4DAB-87C7-6BB92B21B6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DEEAF5A-A6B4-4D6B-B843-37675BAC43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941A34-2415-439E-8BAE-CE61CFC429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084</c:v>
                </c:pt>
                <c:pt idx="1">
                  <c:v>30.382000000000001</c:v>
                </c:pt>
                <c:pt idx="2">
                  <c:v>31.254200000000001</c:v>
                </c:pt>
                <c:pt idx="3">
                  <c:v>34.145899999999997</c:v>
                </c:pt>
              </c:numCache>
            </c:numRef>
          </c:xVal>
          <c:yVal>
            <c:numRef>
              <c:f>Sheet1!$B$2:$B$5</c:f>
              <c:numCache>
                <c:formatCode>General</c:formatCode>
                <c:ptCount val="4"/>
                <c:pt idx="0">
                  <c:v>0.98699999999999999</c:v>
                </c:pt>
                <c:pt idx="1">
                  <c:v>1.02</c:v>
                </c:pt>
                <c:pt idx="2">
                  <c:v>1.044</c:v>
                </c:pt>
                <c:pt idx="3">
                  <c:v>1.0760000000000001</c:v>
                </c:pt>
              </c:numCache>
            </c:numRef>
          </c:yVal>
          <c:bubbleSize>
            <c:numRef>
              <c:f>Sheet1!$C$2:$C$5</c:f>
              <c:numCache>
                <c:formatCode>General</c:formatCode>
                <c:ptCount val="4"/>
                <c:pt idx="0">
                  <c:v>383838</c:v>
                </c:pt>
                <c:pt idx="1">
                  <c:v>108160</c:v>
                </c:pt>
                <c:pt idx="2">
                  <c:v>42412</c:v>
                </c:pt>
                <c:pt idx="3">
                  <c:v>1779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6A532C-88D8-4F1A-8A5A-B64582C093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75DBA2-9CE6-463C-B2ED-7D3F591495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F5D44C-FE24-4175-B235-A5E2050735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58FBCD-2199-48A9-838A-D8FFE9220D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B4AA95D-28B2-4E50-A3C5-629B07EAC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A056379-500A-4622-9822-861A1B6FEB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BCDCC40-F28A-4825-8083-B1081B8118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6B596C-6156-4961-980C-CCD97B458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729199999999999</c:v>
                </c:pt>
                <c:pt idx="1">
                  <c:v>30.648199999999999</c:v>
                </c:pt>
                <c:pt idx="2">
                  <c:v>31.512</c:v>
                </c:pt>
                <c:pt idx="3">
                  <c:v>35.926099999999998</c:v>
                </c:pt>
              </c:numCache>
            </c:numRef>
          </c:xVal>
          <c:yVal>
            <c:numRef>
              <c:f>Sheet1!$B$2:$B$5</c:f>
              <c:numCache>
                <c:formatCode>General</c:formatCode>
                <c:ptCount val="4"/>
                <c:pt idx="0">
                  <c:v>0.98499999999999999</c:v>
                </c:pt>
                <c:pt idx="1">
                  <c:v>1.0129999999999999</c:v>
                </c:pt>
                <c:pt idx="2">
                  <c:v>1.044</c:v>
                </c:pt>
                <c:pt idx="3">
                  <c:v>1.0720000000000001</c:v>
                </c:pt>
              </c:numCache>
            </c:numRef>
          </c:yVal>
          <c:bubbleSize>
            <c:numRef>
              <c:f>Sheet1!$C$2:$C$5</c:f>
              <c:numCache>
                <c:formatCode>General</c:formatCode>
                <c:ptCount val="4"/>
                <c:pt idx="0">
                  <c:v>224277</c:v>
                </c:pt>
                <c:pt idx="1">
                  <c:v>77540</c:v>
                </c:pt>
                <c:pt idx="2">
                  <c:v>41974</c:v>
                </c:pt>
                <c:pt idx="3">
                  <c:v>7293</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C91B17-505A-4AF3-8DE0-4A5BD04F27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A7608A-5FAE-4570-B90B-DA0F9FB5F1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80CC2F-05E1-43CE-A077-5F0CF952FA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97B88B-5840-47FD-85D4-2C520D0BFA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6245F19-E1E0-4C03-8430-3FAB567D5F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20F13B4-7269-43C9-B9E4-BA8EAA16EC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8760FE-065E-40F7-8A66-252A9586BA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CFDE244-BD9B-4C94-A4AD-B179C936D9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914100000000001</c:v>
                </c:pt>
                <c:pt idx="1">
                  <c:v>30.693300000000001</c:v>
                </c:pt>
                <c:pt idx="2">
                  <c:v>31.7714</c:v>
                </c:pt>
                <c:pt idx="3">
                  <c:v>36.119399999999999</c:v>
                </c:pt>
              </c:numCache>
            </c:numRef>
          </c:xVal>
          <c:yVal>
            <c:numRef>
              <c:f>Sheet1!$B$2:$B$5</c:f>
              <c:numCache>
                <c:formatCode>General</c:formatCode>
                <c:ptCount val="4"/>
                <c:pt idx="0">
                  <c:v>0.99</c:v>
                </c:pt>
                <c:pt idx="1">
                  <c:v>1.012</c:v>
                </c:pt>
                <c:pt idx="2">
                  <c:v>1.048</c:v>
                </c:pt>
                <c:pt idx="3">
                  <c:v>1.0640000000000001</c:v>
                </c:pt>
              </c:numCache>
            </c:numRef>
          </c:yVal>
          <c:bubbleSize>
            <c:numRef>
              <c:f>Sheet1!$C$2:$C$5</c:f>
              <c:numCache>
                <c:formatCode>General</c:formatCode>
                <c:ptCount val="4"/>
                <c:pt idx="0">
                  <c:v>133357</c:v>
                </c:pt>
                <c:pt idx="1">
                  <c:v>22314</c:v>
                </c:pt>
                <c:pt idx="2">
                  <c:v>15981</c:v>
                </c:pt>
                <c:pt idx="3">
                  <c:v>48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22FACF-3028-4A0C-8A00-CBF00BF322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FA3EC3-8A9A-4740-85B9-1BD1DC7E8B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64F071-800B-4EBB-93D4-333DAC7924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A269F3-CF93-4BED-B4BA-35CE0239B7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C0B8434-309A-4E84-921A-32759EF3E6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CC9521A-0126-436D-9381-773F8EE95C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8110216-28D4-4159-BABE-9DC10D4F0D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D976385-52C0-4BB7-AF10-0B1190E15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651</c:v>
                </c:pt>
                <c:pt idx="1">
                  <c:v>30.619399999999999</c:v>
                </c:pt>
                <c:pt idx="2">
                  <c:v>32.537999999999997</c:v>
                </c:pt>
                <c:pt idx="3">
                  <c:v>38.537300000000002</c:v>
                </c:pt>
              </c:numCache>
            </c:numRef>
          </c:xVal>
          <c:yVal>
            <c:numRef>
              <c:f>Sheet1!$B$2:$B$5</c:f>
              <c:numCache>
                <c:formatCode>General</c:formatCode>
                <c:ptCount val="4"/>
                <c:pt idx="0">
                  <c:v>0.98799999999999999</c:v>
                </c:pt>
                <c:pt idx="1">
                  <c:v>1.028</c:v>
                </c:pt>
                <c:pt idx="2">
                  <c:v>1.044</c:v>
                </c:pt>
                <c:pt idx="3">
                  <c:v>1.03</c:v>
                </c:pt>
              </c:numCache>
            </c:numRef>
          </c:yVal>
          <c:bubbleSize>
            <c:numRef>
              <c:f>Sheet1!$C$2:$C$5</c:f>
              <c:numCache>
                <c:formatCode>General</c:formatCode>
                <c:ptCount val="4"/>
                <c:pt idx="0">
                  <c:v>74193</c:v>
                </c:pt>
                <c:pt idx="1">
                  <c:v>21158</c:v>
                </c:pt>
                <c:pt idx="2">
                  <c:v>5564</c:v>
                </c:pt>
                <c:pt idx="3">
                  <c:v>2582</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B543BB-D266-4F1E-B7E4-4325A3E336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7AAB58-D1EF-49D8-B577-AF1EB3F784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7BB0AA-E2E7-4DE5-8115-F5CEC5FB25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82B899-E87B-4456-A126-A7CDA8CEDF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693CC8B-202B-404B-A793-9329C89A97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9CAD44E-609D-468A-B290-916AD204DB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335684-DE15-4DBA-A9B6-95E5F85766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EF94055-97B2-40F9-A67C-233A27D2D9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662</c:v>
                </c:pt>
                <c:pt idx="1">
                  <c:v>30.448499999999999</c:v>
                </c:pt>
                <c:pt idx="2">
                  <c:v>31.352499999999999</c:v>
                </c:pt>
                <c:pt idx="3">
                  <c:v>34.601999999999997</c:v>
                </c:pt>
              </c:numCache>
            </c:numRef>
          </c:xVal>
          <c:yVal>
            <c:numRef>
              <c:f>Sheet1!$B$2:$B$5</c:f>
              <c:numCache>
                <c:formatCode>General</c:formatCode>
                <c:ptCount val="4"/>
                <c:pt idx="0">
                  <c:v>0.98799999999999999</c:v>
                </c:pt>
                <c:pt idx="1">
                  <c:v>1.014</c:v>
                </c:pt>
                <c:pt idx="2">
                  <c:v>1.044</c:v>
                </c:pt>
                <c:pt idx="3">
                  <c:v>1.097</c:v>
                </c:pt>
              </c:numCache>
            </c:numRef>
          </c:yVal>
          <c:bubbleSize>
            <c:numRef>
              <c:f>Sheet1!$C$2:$C$5</c:f>
              <c:numCache>
                <c:formatCode>General</c:formatCode>
                <c:ptCount val="4"/>
                <c:pt idx="0">
                  <c:v>1479719</c:v>
                </c:pt>
                <c:pt idx="1">
                  <c:v>386635</c:v>
                </c:pt>
                <c:pt idx="2">
                  <c:v>205547</c:v>
                </c:pt>
                <c:pt idx="3">
                  <c:v>456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A4D43E-A998-4A5C-959C-9810603781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2821EB-171D-4BBE-A7B8-F12925D983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B83E7D-28B9-4218-95AD-3D2E163331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C40561-9103-47A2-99BD-BBC12BA536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C26FF4D-5AA1-430E-9C1F-5EF4076620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8C78B7-07BD-463C-AB4E-DC36ECA611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7C6267-B117-4348-B027-14B1600EF5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3D6A91C-3BD7-4F73-B323-CE99FBE2D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3569</c:v>
                </c:pt>
                <c:pt idx="1">
                  <c:v>30.4191</c:v>
                </c:pt>
                <c:pt idx="2">
                  <c:v>31.601700000000001</c:v>
                </c:pt>
                <c:pt idx="3">
                  <c:v>35.307699999999997</c:v>
                </c:pt>
              </c:numCache>
            </c:numRef>
          </c:xVal>
          <c:yVal>
            <c:numRef>
              <c:f>Sheet1!$B$2:$B$5</c:f>
              <c:numCache>
                <c:formatCode>General</c:formatCode>
                <c:ptCount val="4"/>
                <c:pt idx="0">
                  <c:v>0.98099999999999998</c:v>
                </c:pt>
                <c:pt idx="1">
                  <c:v>1.0189999999999999</c:v>
                </c:pt>
                <c:pt idx="2">
                  <c:v>1.048</c:v>
                </c:pt>
                <c:pt idx="3">
                  <c:v>1.0780000000000001</c:v>
                </c:pt>
              </c:numCache>
            </c:numRef>
          </c:yVal>
          <c:bubbleSize>
            <c:numRef>
              <c:f>Sheet1!$C$2:$C$5</c:f>
              <c:numCache>
                <c:formatCode>General</c:formatCode>
                <c:ptCount val="4"/>
                <c:pt idx="0">
                  <c:v>130785</c:v>
                </c:pt>
                <c:pt idx="1">
                  <c:v>29324</c:v>
                </c:pt>
                <c:pt idx="2">
                  <c:v>14600</c:v>
                </c:pt>
                <c:pt idx="3">
                  <c:v>6885</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7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DB7032-3E5A-4281-A5E9-3627EDD952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4C9621-7D5D-47EF-9234-14FFFF6CD2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9ED02D-4594-4C99-A9C9-948B0CA005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06B577-4E97-4324-8D68-B8C346EC27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A8B803F-6593-49FF-87E0-7E1FB86F1B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4C00D8F-8BB1-43E9-B924-B09203E470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D60E07A-AD40-40F7-BC52-5D16747821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16E76F-9E80-4119-8E69-7F107B5F6F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57700000000001</c:v>
                </c:pt>
                <c:pt idx="1">
                  <c:v>30.572399999999998</c:v>
                </c:pt>
                <c:pt idx="2">
                  <c:v>32.226799999999997</c:v>
                </c:pt>
                <c:pt idx="3">
                  <c:v>37.310899999999997</c:v>
                </c:pt>
              </c:numCache>
            </c:numRef>
          </c:xVal>
          <c:yVal>
            <c:numRef>
              <c:f>Sheet1!$B$2:$B$5</c:f>
              <c:numCache>
                <c:formatCode>General</c:formatCode>
                <c:ptCount val="4"/>
                <c:pt idx="0">
                  <c:v>0.98599999999999999</c:v>
                </c:pt>
                <c:pt idx="1">
                  <c:v>1.022</c:v>
                </c:pt>
                <c:pt idx="2">
                  <c:v>1.0620000000000001</c:v>
                </c:pt>
                <c:pt idx="3">
                  <c:v>1.1220000000000001</c:v>
                </c:pt>
              </c:numCache>
            </c:numRef>
          </c:yVal>
          <c:bubbleSize>
            <c:numRef>
              <c:f>Sheet1!$C$2:$C$5</c:f>
              <c:numCache>
                <c:formatCode>General</c:formatCode>
                <c:ptCount val="4"/>
                <c:pt idx="0">
                  <c:v>105787</c:v>
                </c:pt>
                <c:pt idx="1">
                  <c:v>23663</c:v>
                </c:pt>
                <c:pt idx="2">
                  <c:v>9378</c:v>
                </c:pt>
                <c:pt idx="3">
                  <c:v>4440</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5"/>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032492-3E49-4A4A-B52B-499E4C2B57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D7AF92-EC5E-4F8C-A558-D3C9890EB4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722F0E-208C-4572-B9EC-78193F7126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A0C21A-8A15-47E8-8BE8-7DC76EBD4D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6DAC085-874D-4149-82EF-CFEF109CB5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BFAB329-B4B4-403B-B80E-4BC2FEF094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81A4B0-138B-4296-91EE-FE5AA45B82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48BBFCE-BB6F-45A7-A14D-FF95D6AC15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436900000000001</c:v>
                </c:pt>
                <c:pt idx="1">
                  <c:v>31.312200000000001</c:v>
                </c:pt>
                <c:pt idx="2">
                  <c:v>30.658899999999999</c:v>
                </c:pt>
                <c:pt idx="3">
                  <c:v>40.5139</c:v>
                </c:pt>
              </c:numCache>
            </c:numRef>
          </c:xVal>
          <c:yVal>
            <c:numRef>
              <c:f>Sheet1!$B$2:$B$5</c:f>
              <c:numCache>
                <c:formatCode>General</c:formatCode>
                <c:ptCount val="4"/>
                <c:pt idx="0">
                  <c:v>0.98</c:v>
                </c:pt>
                <c:pt idx="1">
                  <c:v>1.0369999999999999</c:v>
                </c:pt>
                <c:pt idx="2">
                  <c:v>1.0249999999999999</c:v>
                </c:pt>
                <c:pt idx="3">
                  <c:v>1.085</c:v>
                </c:pt>
              </c:numCache>
            </c:numRef>
          </c:yVal>
          <c:bubbleSize>
            <c:numRef>
              <c:f>Sheet1!$C$2:$C$5</c:f>
              <c:numCache>
                <c:formatCode>General</c:formatCode>
                <c:ptCount val="4"/>
                <c:pt idx="0">
                  <c:v>59698</c:v>
                </c:pt>
                <c:pt idx="1">
                  <c:v>19257</c:v>
                </c:pt>
                <c:pt idx="2">
                  <c:v>13122</c:v>
                </c:pt>
                <c:pt idx="3">
                  <c:v>2917</c:v>
                </c:pt>
              </c:numCache>
            </c:numRef>
          </c:bubbleSize>
          <c:bubble3D val="0"/>
          <c:extLst>
            <c:ext xmlns:c15="http://schemas.microsoft.com/office/drawing/2012/chart" uri="{02D57815-91ED-43cb-92C2-25804820EDAC}">
              <c15:datalabelsRange>
                <c15:f>Sheet1!$E$2:$E$10</c15:f>
                <c15:dlblRangeCache>
                  <c:ptCount val="9"/>
                  <c:pt idx="0">
                    <c:v>Malard</c:v>
                  </c:pt>
                  <c:pt idx="1">
                    <c:v>Louis Martin</c:v>
                  </c:pt>
                  <c:pt idx="2">
                    <c:v>Vesselle</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8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1A9A61-5BF3-48FE-B014-73CEE5E0DE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5D9A83-0C9D-45A4-B15C-7939DE1A14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ADD233-136F-42A0-AA04-6782BEDEC8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A5B63D-D9BB-4BD0-BE06-5C60CBD06F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59E5DE-DE9B-4CEE-B2AE-B18B8A144E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379CB99-B595-4256-AA49-CA68AE5B58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82ECFAB-808E-471E-803A-F86C50104B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C8C4670-8158-40B8-BBD1-B7DC1AD943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215199999999999</c:v>
                </c:pt>
                <c:pt idx="1">
                  <c:v>30.151700000000002</c:v>
                </c:pt>
                <c:pt idx="2">
                  <c:v>31.995200000000001</c:v>
                </c:pt>
                <c:pt idx="3">
                  <c:v>39.242400000000004</c:v>
                </c:pt>
              </c:numCache>
            </c:numRef>
          </c:xVal>
          <c:yVal>
            <c:numRef>
              <c:f>Sheet1!$B$2:$B$5</c:f>
              <c:numCache>
                <c:formatCode>General</c:formatCode>
                <c:ptCount val="4"/>
                <c:pt idx="0">
                  <c:v>0.98599999999999999</c:v>
                </c:pt>
                <c:pt idx="1">
                  <c:v>1.0049999999999999</c:v>
                </c:pt>
                <c:pt idx="2">
                  <c:v>1.0469999999999999</c:v>
                </c:pt>
                <c:pt idx="3">
                  <c:v>1.0920000000000001</c:v>
                </c:pt>
              </c:numCache>
            </c:numRef>
          </c:yVal>
          <c:bubbleSize>
            <c:numRef>
              <c:f>Sheet1!$C$2:$C$5</c:f>
              <c:numCache>
                <c:formatCode>General</c:formatCode>
                <c:ptCount val="4"/>
                <c:pt idx="0">
                  <c:v>32984</c:v>
                </c:pt>
                <c:pt idx="1">
                  <c:v>11729</c:v>
                </c:pt>
                <c:pt idx="2">
                  <c:v>6623</c:v>
                </c:pt>
                <c:pt idx="3">
                  <c:v>1295</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
          <c:min val="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66FE8D-A387-4866-9D7A-84192A8111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134925-E556-4DDF-91B5-2EC4B5C6AE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E1A320-9FA1-44A3-A67D-7F668CF50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9E7785-0874-4C50-991C-150872C11D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237D753-7122-483C-BC57-1DD22E0A04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20D8684-8ADF-438A-8C51-640E07D46F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384BD8D-2F08-483E-9624-D31B003677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D412395-5B37-44F4-B911-275CD31AC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31199999999998</c:v>
                </c:pt>
                <c:pt idx="1">
                  <c:v>30.371099999999998</c:v>
                </c:pt>
                <c:pt idx="2">
                  <c:v>31.214400000000001</c:v>
                </c:pt>
                <c:pt idx="3">
                  <c:v>36.494700000000002</c:v>
                </c:pt>
              </c:numCache>
            </c:numRef>
          </c:xVal>
          <c:yVal>
            <c:numRef>
              <c:f>Sheet1!$B$2:$B$5</c:f>
              <c:numCache>
                <c:formatCode>General</c:formatCode>
                <c:ptCount val="4"/>
                <c:pt idx="0">
                  <c:v>0.98599999999999999</c:v>
                </c:pt>
                <c:pt idx="1">
                  <c:v>1.014</c:v>
                </c:pt>
                <c:pt idx="2">
                  <c:v>1.0409999999999999</c:v>
                </c:pt>
                <c:pt idx="3">
                  <c:v>1.101</c:v>
                </c:pt>
              </c:numCache>
            </c:numRef>
          </c:yVal>
          <c:bubbleSize>
            <c:numRef>
              <c:f>Sheet1!$C$2:$C$5</c:f>
              <c:numCache>
                <c:formatCode>General</c:formatCode>
                <c:ptCount val="4"/>
                <c:pt idx="0">
                  <c:v>508084</c:v>
                </c:pt>
                <c:pt idx="1">
                  <c:v>137581</c:v>
                </c:pt>
                <c:pt idx="2">
                  <c:v>98575</c:v>
                </c:pt>
                <c:pt idx="3">
                  <c:v>10328</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0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68CEBCD-2461-414B-99E1-4EA50B0815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A8E5EBA-5A61-4F67-A629-BF7F317BD0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EE3B7321-FFD9-4714-9F87-2EB508CF62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D6562C48-E948-4A86-8497-D1B91448A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5DBCD47-577B-421B-8E83-B76C299CF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36C63127-FBA8-458C-A3E0-EC70FB6D4C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CF3B94F-58C9-4FB6-AF7D-D40B9D9660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315D42D-8753-4BC2-A953-3140CD1271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535</c:v>
                </c:pt>
                <c:pt idx="1">
                  <c:v>11.4306</c:v>
                </c:pt>
              </c:numCache>
            </c:numRef>
          </c:xVal>
          <c:yVal>
            <c:numRef>
              <c:f>Sheet1!$B$2:$B$3</c:f>
              <c:numCache>
                <c:formatCode>General</c:formatCode>
                <c:ptCount val="2"/>
                <c:pt idx="0">
                  <c:v>1.665</c:v>
                </c:pt>
                <c:pt idx="1">
                  <c:v>0.65500000000000003</c:v>
                </c:pt>
              </c:numCache>
            </c:numRef>
          </c:yVal>
          <c:bubbleSize>
            <c:numRef>
              <c:f>Sheet1!$C$2:$C$3</c:f>
              <c:numCache>
                <c:formatCode>General</c:formatCode>
                <c:ptCount val="2"/>
                <c:pt idx="0">
                  <c:v>74377</c:v>
                </c:pt>
                <c:pt idx="1">
                  <c:v>4796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C7450E-6F77-4168-AE29-B83B3661A0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677D3F-00C6-4391-809E-022ED39C56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4B32E5-12BA-4E52-9BBA-BA0102FC35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90E351-17C9-445F-903E-BDCE822772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4D4C7AA-A7E4-444D-8819-B86FF6FEE0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7D33C6E-131A-4D07-A5DE-292039AD29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36263C-17E3-4962-A5EB-F0A337C4F5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9B4CBC6-2DAD-4A28-8C8B-3BEFF41117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7699999999999</c:v>
                </c:pt>
                <c:pt idx="1">
                  <c:v>30.427199999999999</c:v>
                </c:pt>
                <c:pt idx="2">
                  <c:v>31.374600000000001</c:v>
                </c:pt>
                <c:pt idx="3">
                  <c:v>35.311599999999999</c:v>
                </c:pt>
              </c:numCache>
            </c:numRef>
          </c:xVal>
          <c:yVal>
            <c:numRef>
              <c:f>Sheet1!$B$2:$B$5</c:f>
              <c:numCache>
                <c:formatCode>General</c:formatCode>
                <c:ptCount val="4"/>
                <c:pt idx="0">
                  <c:v>0.98699999999999999</c:v>
                </c:pt>
                <c:pt idx="1">
                  <c:v>1.016</c:v>
                </c:pt>
                <c:pt idx="2">
                  <c:v>1.042</c:v>
                </c:pt>
                <c:pt idx="3">
                  <c:v>1.0920000000000001</c:v>
                </c:pt>
              </c:numCache>
            </c:numRef>
          </c:yVal>
          <c:bubbleSize>
            <c:numRef>
              <c:f>Sheet1!$C$2:$C$5</c:f>
              <c:numCache>
                <c:formatCode>General</c:formatCode>
                <c:ptCount val="4"/>
                <c:pt idx="0">
                  <c:v>294104</c:v>
                </c:pt>
                <c:pt idx="1">
                  <c:v>80845</c:v>
                </c:pt>
                <c:pt idx="2">
                  <c:v>39281</c:v>
                </c:pt>
                <c:pt idx="3">
                  <c:v>10311</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34E865-8CBA-4201-93B4-3B5973759A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5827AC-E82B-4C42-A379-80B376CC6D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35F12D-714F-4A38-A890-1E45AA1A26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7DC35D-495E-421A-9D47-DD2F6F574B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04CED40-EFF1-437E-AB51-8F21886239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1BB1981-B775-47DE-AB7A-74E998C458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AF65224-B093-4B83-B864-9E499A37A0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8041E71-BC8E-41C5-B2D0-526765EC58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88699999999999</c:v>
                </c:pt>
                <c:pt idx="1">
                  <c:v>30.354199999999999</c:v>
                </c:pt>
                <c:pt idx="2">
                  <c:v>31.344000000000001</c:v>
                </c:pt>
                <c:pt idx="3">
                  <c:v>35.375900000000001</c:v>
                </c:pt>
              </c:numCache>
            </c:numRef>
          </c:xVal>
          <c:yVal>
            <c:numRef>
              <c:f>Sheet1!$B$2:$B$5</c:f>
              <c:numCache>
                <c:formatCode>General</c:formatCode>
                <c:ptCount val="4"/>
                <c:pt idx="0">
                  <c:v>0.98799999999999999</c:v>
                </c:pt>
                <c:pt idx="1">
                  <c:v>1.014</c:v>
                </c:pt>
                <c:pt idx="2">
                  <c:v>1.044</c:v>
                </c:pt>
                <c:pt idx="3">
                  <c:v>1.095</c:v>
                </c:pt>
              </c:numCache>
            </c:numRef>
          </c:yVal>
          <c:bubbleSize>
            <c:numRef>
              <c:f>Sheet1!$C$2:$C$5</c:f>
              <c:numCache>
                <c:formatCode>General</c:formatCode>
                <c:ptCount val="4"/>
                <c:pt idx="0">
                  <c:v>452589</c:v>
                </c:pt>
                <c:pt idx="1">
                  <c:v>112098</c:v>
                </c:pt>
                <c:pt idx="2">
                  <c:v>59585</c:v>
                </c:pt>
                <c:pt idx="3">
                  <c:v>14398</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849DB7-8C20-4504-ABCB-651610F249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D04801-4054-4045-A8FE-78C52D0FD1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EA7AD9-1AA6-4703-BB72-E78E335C10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8C8B86-9C32-405F-B895-C177DD7246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73B8DE0-88A7-4178-89E4-0C1398B2DC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C133444-B763-4D96-9C20-7733E2F192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A231011-C80A-49D0-B81D-6D854FE66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8C60C0-F5C0-48C9-9219-DD5FA1E675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44600000000001</c:v>
                </c:pt>
                <c:pt idx="1">
                  <c:v>30.648399999999999</c:v>
                </c:pt>
                <c:pt idx="2">
                  <c:v>31.499199999999998</c:v>
                </c:pt>
                <c:pt idx="3">
                  <c:v>35.204099999999997</c:v>
                </c:pt>
              </c:numCache>
            </c:numRef>
          </c:xVal>
          <c:yVal>
            <c:numRef>
              <c:f>Sheet1!$B$2:$B$5</c:f>
              <c:numCache>
                <c:formatCode>General</c:formatCode>
                <c:ptCount val="4"/>
                <c:pt idx="0">
                  <c:v>0.98699999999999999</c:v>
                </c:pt>
                <c:pt idx="1">
                  <c:v>1.02</c:v>
                </c:pt>
                <c:pt idx="2">
                  <c:v>1.0489999999999999</c:v>
                </c:pt>
                <c:pt idx="3">
                  <c:v>1.0669999999999999</c:v>
                </c:pt>
              </c:numCache>
            </c:numRef>
          </c:yVal>
          <c:bubbleSize>
            <c:numRef>
              <c:f>Sheet1!$C$2:$C$5</c:f>
              <c:numCache>
                <c:formatCode>General</c:formatCode>
                <c:ptCount val="4"/>
                <c:pt idx="0">
                  <c:v>397653</c:v>
                </c:pt>
                <c:pt idx="1">
                  <c:v>109231</c:v>
                </c:pt>
                <c:pt idx="2">
                  <c:v>41012</c:v>
                </c:pt>
                <c:pt idx="3">
                  <c:v>15349</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1A1A70-AD60-4498-9F93-50A792B817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F1C310-A5FF-4549-8149-604F4A9689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0465F7-203D-4728-ACCA-845C961D6F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C2E868-7E10-4CC0-94E6-26C6964E46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BED336C-3BE2-4218-9C12-EE2E9ECCFC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C0FD2D-AE6B-4E8A-9F00-0D50307D4A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232B00D-0B28-4E30-8C05-6E8F27C957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49D2DC3-DBF5-496F-BBB8-5F913E998C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189</c:v>
                </c:pt>
                <c:pt idx="1">
                  <c:v>30.450399999999998</c:v>
                </c:pt>
                <c:pt idx="2">
                  <c:v>31.941800000000001</c:v>
                </c:pt>
                <c:pt idx="3">
                  <c:v>34.472900000000003</c:v>
                </c:pt>
              </c:numCache>
            </c:numRef>
          </c:xVal>
          <c:yVal>
            <c:numRef>
              <c:f>Sheet1!$B$2:$B$5</c:f>
              <c:numCache>
                <c:formatCode>General</c:formatCode>
                <c:ptCount val="4"/>
                <c:pt idx="0">
                  <c:v>0.98599999999999999</c:v>
                </c:pt>
                <c:pt idx="1">
                  <c:v>1.016</c:v>
                </c:pt>
                <c:pt idx="2">
                  <c:v>1.0640000000000001</c:v>
                </c:pt>
                <c:pt idx="3">
                  <c:v>1.06</c:v>
                </c:pt>
              </c:numCache>
            </c:numRef>
          </c:yVal>
          <c:bubbleSize>
            <c:numRef>
              <c:f>Sheet1!$C$2:$C$5</c:f>
              <c:numCache>
                <c:formatCode>General</c:formatCode>
                <c:ptCount val="4"/>
                <c:pt idx="0">
                  <c:v>354983</c:v>
                </c:pt>
                <c:pt idx="1">
                  <c:v>90468</c:v>
                </c:pt>
                <c:pt idx="2">
                  <c:v>40598</c:v>
                </c:pt>
                <c:pt idx="3">
                  <c:v>19684</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Malard Nicola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41A28B-8B64-4400-8FF8-5FE4629CE3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22BDC6-EBB2-4036-A569-CF83F5CDFE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6F4774-B861-4174-9F3F-69B7B753B0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D4E8B5C-6881-40B2-9779-77662FFDB9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87EB75E-2AA4-4215-8B8A-EAEC5076BC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3505070-E2DF-43F3-9E39-9024FC7C2D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124E74-929F-4FD7-945C-761BD43713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C7A0BA-8D21-4828-BBD5-C51621831E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64100000000001</c:v>
                </c:pt>
                <c:pt idx="1">
                  <c:v>31.168800000000001</c:v>
                </c:pt>
                <c:pt idx="2">
                  <c:v>43.229799999999997</c:v>
                </c:pt>
              </c:numCache>
            </c:numRef>
          </c:xVal>
          <c:yVal>
            <c:numRef>
              <c:f>Sheet1!$B$2:$B$4</c:f>
              <c:numCache>
                <c:formatCode>General</c:formatCode>
                <c:ptCount val="3"/>
                <c:pt idx="0">
                  <c:v>0.95399999999999996</c:v>
                </c:pt>
                <c:pt idx="1">
                  <c:v>0.98599999999999999</c:v>
                </c:pt>
                <c:pt idx="2">
                  <c:v>1.369</c:v>
                </c:pt>
              </c:numCache>
            </c:numRef>
          </c:yVal>
          <c:bubbleSize>
            <c:numRef>
              <c:f>Sheet1!$C$2:$C$4</c:f>
              <c:numCache>
                <c:formatCode>General</c:formatCode>
                <c:ptCount val="3"/>
                <c:pt idx="0">
                  <c:v>2201675</c:v>
                </c:pt>
                <c:pt idx="1">
                  <c:v>1768174</c:v>
                </c:pt>
                <c:pt idx="2">
                  <c:v>478122</c:v>
                </c:pt>
              </c:numCache>
            </c:numRef>
          </c:bubbleSize>
          <c:bubble3D val="0"/>
          <c:extLst>
            <c:ext xmlns:c15="http://schemas.microsoft.com/office/drawing/2012/chart" uri="{02D57815-91ED-43cb-92C2-25804820EDAC}">
              <c15:datalabelsRange>
                <c15:f>Sheet1!$E$2:$E$10</c15:f>
                <c15:dlblRangeCache>
                  <c:ptCount val="9"/>
                  <c:pt idx="0">
                    <c:v>C&amp;C Sas France</c:v>
                  </c:pt>
                  <c:pt idx="1">
                    <c:v>Cfgv</c:v>
                  </c:pt>
                  <c:pt idx="2">
                    <c:v>Mhc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1A3A36-1307-493A-98B2-65CF7666C1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C4B0DA-98CD-4E5A-B26F-33668C1C5D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A073FB-15D2-4A36-900E-6CBC0C65A8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7ECB9A5-F2C4-4E06-81C5-D60FE6634D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DF0B79E-4F78-4E6C-8F17-BB83D33858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BBBC67D-9D33-4A48-BE63-9FF8F84E4A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3DD4CA-23AC-41AE-8400-D49E2A8EEF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B70869C-1504-4882-AF77-C47AE8E9D5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06</c:v>
                </c:pt>
                <c:pt idx="1">
                  <c:v>43.504300000000001</c:v>
                </c:pt>
                <c:pt idx="2">
                  <c:v>39.130899999999997</c:v>
                </c:pt>
              </c:numCache>
            </c:numRef>
          </c:xVal>
          <c:yVal>
            <c:numRef>
              <c:f>Sheet1!$B$2:$B$4</c:f>
              <c:numCache>
                <c:formatCode>General</c:formatCode>
                <c:ptCount val="3"/>
                <c:pt idx="0">
                  <c:v>0.93700000000000006</c:v>
                </c:pt>
                <c:pt idx="1">
                  <c:v>1.3069999999999999</c:v>
                </c:pt>
                <c:pt idx="2">
                  <c:v>1.1140000000000001</c:v>
                </c:pt>
              </c:numCache>
            </c:numRef>
          </c:yVal>
          <c:bubbleSize>
            <c:numRef>
              <c:f>Sheet1!$C$2:$C$4</c:f>
              <c:numCache>
                <c:formatCode>General</c:formatCode>
                <c:ptCount val="3"/>
                <c:pt idx="0">
                  <c:v>1767506</c:v>
                </c:pt>
                <c:pt idx="1">
                  <c:v>484768</c:v>
                </c:pt>
                <c:pt idx="2">
                  <c:v>30796</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A720C9-BB6C-4756-BFEA-4FEF93DBCD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E32173E-7CB5-41BA-8209-79ED78689B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35D6FCD-0B5A-4308-A2F9-36DCCC1450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4FF755A-EA68-4EE3-84DC-8831A1DA73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E688854-E9B9-47C4-85DE-975C7797E5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6C51D58-0EFC-48EA-9261-1E79E9B869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F08B7A-7B70-4E4E-B11C-65658F4B34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2D624F5-320E-47AB-AB21-2E205BDCDB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0.0794</c:v>
                </c:pt>
              </c:numCache>
            </c:numRef>
          </c:xVal>
          <c:yVal>
            <c:numRef>
              <c:f>Sheet1!$B$2:$B$2</c:f>
              <c:numCache>
                <c:formatCode>General</c:formatCode>
                <c:ptCount val="1"/>
                <c:pt idx="0">
                  <c:v>1</c:v>
                </c:pt>
              </c:numCache>
            </c:numRef>
          </c:yVal>
          <c:bubbleSize>
            <c:numRef>
              <c:f>Sheet1!$C$2:$C$2</c:f>
              <c:numCache>
                <c:formatCode>General</c:formatCode>
                <c:ptCount val="1"/>
                <c:pt idx="0">
                  <c:v>2170979</c:v>
                </c:pt>
              </c:numCache>
            </c:numRef>
          </c:bubbleSize>
          <c:bubble3D val="0"/>
          <c:extLst>
            <c:ext xmlns:c15="http://schemas.microsoft.com/office/drawing/2012/chart" uri="{02D57815-91ED-43cb-92C2-25804820EDAC}">
              <c15:datalabelsRange>
                <c15:f>Sheet1!$E$2:$E$10</c15:f>
                <c15:dlblRangeCache>
                  <c:ptCount val="9"/>
                  <c:pt idx="0">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6CE9B1-5533-4307-8CE7-1D202839AE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B8DA7E-875F-4777-AA5B-F366264419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FA2EAE-59D1-43F3-A565-8A072CC468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E4C4D20-1E08-4C63-B09D-BC5EA6A531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EDD3512-AD77-4BF7-BAD9-7D44C73D4A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6BDBA2A-EC54-4BB0-848C-F853A3C853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784C78C-744D-45AB-8211-B79E268FE6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7E8581-D0A6-40FB-A7F1-466F8B38F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83</c:v>
                </c:pt>
                <c:pt idx="1">
                  <c:v>43.559199999999997</c:v>
                </c:pt>
                <c:pt idx="2">
                  <c:v>38.469000000000001</c:v>
                </c:pt>
              </c:numCache>
            </c:numRef>
          </c:xVal>
          <c:yVal>
            <c:numRef>
              <c:f>Sheet1!$B$2:$B$4</c:f>
              <c:numCache>
                <c:formatCode>General</c:formatCode>
                <c:ptCount val="3"/>
                <c:pt idx="0">
                  <c:v>0.94</c:v>
                </c:pt>
                <c:pt idx="1">
                  <c:v>1.3120000000000001</c:v>
                </c:pt>
                <c:pt idx="2">
                  <c:v>1.1519999999999999</c:v>
                </c:pt>
              </c:numCache>
            </c:numRef>
          </c:yVal>
          <c:bubbleSize>
            <c:numRef>
              <c:f>Sheet1!$C$2:$C$4</c:f>
              <c:numCache>
                <c:formatCode>General</c:formatCode>
                <c:ptCount val="3"/>
                <c:pt idx="0">
                  <c:v>827128</c:v>
                </c:pt>
                <c:pt idx="1">
                  <c:v>211001</c:v>
                </c:pt>
                <c:pt idx="2">
                  <c:v>17388</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25A492-9749-482B-B218-3208E4B584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0A6626-C80F-423B-8157-4DD7368F8D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5D0A4A-90D0-4EB9-8FE4-F67AEACE2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6E7E020-8510-45E4-ACDE-81B31E9F0E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6B7D78C-C6A5-4D9D-A565-28CB780929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306D517-26E4-4A5F-9236-016CE8E036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17BA96-7D3B-4D1B-9C56-8DD1C5870F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DFEAE4A-87BD-4041-80F9-9A3BE65288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7600000000001</c:v>
                </c:pt>
                <c:pt idx="1">
                  <c:v>43.201500000000003</c:v>
                </c:pt>
                <c:pt idx="2">
                  <c:v>39.285699999999999</c:v>
                </c:pt>
              </c:numCache>
            </c:numRef>
          </c:xVal>
          <c:yVal>
            <c:numRef>
              <c:f>Sheet1!$B$2:$B$4</c:f>
              <c:numCache>
                <c:formatCode>General</c:formatCode>
                <c:ptCount val="3"/>
                <c:pt idx="0">
                  <c:v>0.94499999999999995</c:v>
                </c:pt>
                <c:pt idx="1">
                  <c:v>1.3169999999999999</c:v>
                </c:pt>
                <c:pt idx="2">
                  <c:v>1.1459999999999999</c:v>
                </c:pt>
              </c:numCache>
            </c:numRef>
          </c:yVal>
          <c:bubbleSize>
            <c:numRef>
              <c:f>Sheet1!$C$2:$C$4</c:f>
              <c:numCache>
                <c:formatCode>General</c:formatCode>
                <c:ptCount val="3"/>
                <c:pt idx="0">
                  <c:v>331167</c:v>
                </c:pt>
                <c:pt idx="1">
                  <c:v>75689</c:v>
                </c:pt>
                <c:pt idx="2">
                  <c:v>5225</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274911-5DDE-48BC-AA74-2D1E02DBA5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7EDEDB-0D9D-4FAD-B8B5-E80EA9C8E5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7AF505-513A-4589-BE30-C876E755D2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7D229DF-F1C5-41EB-A7AC-A9B66099A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5C8B3B0-3028-4EFA-94E8-CF21AE9578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46181DA-6DEB-4D11-AB4C-2337EC288D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CA65EA8-C56E-4E6A-ACB6-A1124AABCC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C308090-C461-45B6-BC90-1E8135B15A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551100000000002</c:v>
                </c:pt>
                <c:pt idx="1">
                  <c:v>43.418399999999998</c:v>
                </c:pt>
                <c:pt idx="2">
                  <c:v>39.845399999999998</c:v>
                </c:pt>
              </c:numCache>
            </c:numRef>
          </c:xVal>
          <c:yVal>
            <c:numRef>
              <c:f>Sheet1!$B$2:$B$4</c:f>
              <c:numCache>
                <c:formatCode>General</c:formatCode>
                <c:ptCount val="3"/>
                <c:pt idx="0">
                  <c:v>0.93600000000000005</c:v>
                </c:pt>
                <c:pt idx="1">
                  <c:v>1.2929999999999999</c:v>
                </c:pt>
                <c:pt idx="2">
                  <c:v>1.0620000000000001</c:v>
                </c:pt>
              </c:numCache>
            </c:numRef>
          </c:yVal>
          <c:bubbleSize>
            <c:numRef>
              <c:f>Sheet1!$C$2:$C$4</c:f>
              <c:numCache>
                <c:formatCode>General</c:formatCode>
                <c:ptCount val="3"/>
                <c:pt idx="0">
                  <c:v>218807</c:v>
                </c:pt>
                <c:pt idx="1">
                  <c:v>63304</c:v>
                </c:pt>
                <c:pt idx="2">
                  <c:v>3865</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EED93E-817B-4E24-A061-F0242129BD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067E83-7A2D-4D30-8039-580170CC5E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DE8220-849A-4620-AE7C-209AD01322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94A374-29A1-466C-93AD-E9EC82BEF9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D84BBD-0145-4B3F-98DA-8788FBF895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CAC7FD-8819-4727-B265-FF6534494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48657E-2C61-46BD-AE0E-AF201462BB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D7431D-C7D6-42FE-8522-0C73446A82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515299999999996</c:v>
                </c:pt>
                <c:pt idx="1">
                  <c:v>23.7239</c:v>
                </c:pt>
                <c:pt idx="2">
                  <c:v>49.200299999999999</c:v>
                </c:pt>
                <c:pt idx="3">
                  <c:v>31.5063</c:v>
                </c:pt>
                <c:pt idx="4">
                  <c:v>52.281500000000001</c:v>
                </c:pt>
                <c:pt idx="5">
                  <c:v>32.801400000000001</c:v>
                </c:pt>
                <c:pt idx="6">
                  <c:v>29.312200000000001</c:v>
                </c:pt>
                <c:pt idx="7">
                  <c:v>30.9068</c:v>
                </c:pt>
              </c:numCache>
            </c:numRef>
          </c:xVal>
          <c:yVal>
            <c:numRef>
              <c:f>Sheet1!$B$2:$B$9</c:f>
              <c:numCache>
                <c:formatCode>General</c:formatCode>
                <c:ptCount val="8"/>
                <c:pt idx="0">
                  <c:v>1.625</c:v>
                </c:pt>
                <c:pt idx="1">
                  <c:v>0.56499999999999995</c:v>
                </c:pt>
                <c:pt idx="2">
                  <c:v>1.141</c:v>
                </c:pt>
                <c:pt idx="3">
                  <c:v>0.748</c:v>
                </c:pt>
                <c:pt idx="4">
                  <c:v>1.0960000000000001</c:v>
                </c:pt>
                <c:pt idx="5">
                  <c:v>0.75700000000000001</c:v>
                </c:pt>
                <c:pt idx="6">
                  <c:v>0.69499999999999995</c:v>
                </c:pt>
                <c:pt idx="7">
                  <c:v>0.73299999999999998</c:v>
                </c:pt>
              </c:numCache>
            </c:numRef>
          </c:yVal>
          <c:bubbleSize>
            <c:numRef>
              <c:f>Sheet1!$C$2:$C$9</c:f>
              <c:numCache>
                <c:formatCode>General</c:formatCode>
                <c:ptCount val="8"/>
                <c:pt idx="0">
                  <c:v>2733549</c:v>
                </c:pt>
                <c:pt idx="1">
                  <c:v>1023352</c:v>
                </c:pt>
                <c:pt idx="2">
                  <c:v>901841</c:v>
                </c:pt>
                <c:pt idx="3">
                  <c:v>627069</c:v>
                </c:pt>
                <c:pt idx="4">
                  <c:v>511679</c:v>
                </c:pt>
                <c:pt idx="5">
                  <c:v>429337</c:v>
                </c:pt>
                <c:pt idx="6">
                  <c:v>405270</c:v>
                </c:pt>
                <c:pt idx="7">
                  <c:v>37400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Heidsieck &amp; Co Monopol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5380F2-2F04-4150-BB3C-11025E2679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CCA9A8-F4E8-4857-8A06-BC828B9337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B61C16F-AE51-4CE3-8C9C-9C7651D2FE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5013471-3806-43D7-AB42-280FC1B9DF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0AF0611-57D2-40B4-93A5-A495416430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A6EC708-156D-460D-95CF-0BD0B88BBA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D7199FE-2B64-4769-859F-AE739BF46F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CD46FD5-AF94-44F4-AFEC-F16303C1F3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42999999999999</c:v>
                </c:pt>
                <c:pt idx="1">
                  <c:v>42.777900000000002</c:v>
                </c:pt>
              </c:numCache>
            </c:numRef>
          </c:xVal>
          <c:yVal>
            <c:numRef>
              <c:f>Sheet1!$B$2:$B$3</c:f>
              <c:numCache>
                <c:formatCode>General</c:formatCode>
                <c:ptCount val="2"/>
                <c:pt idx="0">
                  <c:v>0.92200000000000004</c:v>
                </c:pt>
                <c:pt idx="1">
                  <c:v>1.2669999999999999</c:v>
                </c:pt>
              </c:numCache>
            </c:numRef>
          </c:yVal>
          <c:bubbleSize>
            <c:numRef>
              <c:f>Sheet1!$C$2:$C$3</c:f>
              <c:numCache>
                <c:formatCode>General</c:formatCode>
                <c:ptCount val="2"/>
                <c:pt idx="0">
                  <c:v>161589</c:v>
                </c:pt>
                <c:pt idx="1">
                  <c:v>64894</c:v>
                </c:pt>
              </c:numCache>
            </c:numRef>
          </c:bubbleSize>
          <c:bubble3D val="0"/>
          <c:extLst>
            <c:ext xmlns:c15="http://schemas.microsoft.com/office/drawing/2012/chart" uri="{02D57815-91ED-43cb-92C2-25804820EDAC}">
              <c15:datalabelsRange>
                <c15:f>Sheet1!$E$2:$E$10</c15:f>
                <c15:dlblRangeCache>
                  <c:ptCount val="9"/>
                  <c:pt idx="0">
                    <c:v>Cfgv</c:v>
                  </c:pt>
                  <c:pt idx="1">
                    <c:v>Mhc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970E43-1206-4171-B36D-5162FAEB99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C887AB-D17E-4BB5-822C-176D42B243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87F8C4A-2848-4F37-855E-956CEDB48D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D823B57-E859-4A1D-BC78-9D97D78ECE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D2DF3C-8A37-4C0C-BF34-7E49320E0D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3D2E942-4F32-4025-B3A2-5BAC1C5398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C68C4B-B6D3-4359-823C-BB9C4D93A1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E2CEF7-463E-46A6-B29C-BCF72B0546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0.879000000000001</c:v>
                </c:pt>
                <c:pt idx="1">
                  <c:v>44.436199999999999</c:v>
                </c:pt>
              </c:numCache>
            </c:numRef>
          </c:xVal>
          <c:yVal>
            <c:numRef>
              <c:f>Sheet1!$B$2:$B$3</c:f>
              <c:numCache>
                <c:formatCode>General</c:formatCode>
                <c:ptCount val="2"/>
                <c:pt idx="0">
                  <c:v>0.92900000000000005</c:v>
                </c:pt>
                <c:pt idx="1">
                  <c:v>1.3420000000000001</c:v>
                </c:pt>
              </c:numCache>
            </c:numRef>
          </c:yVal>
          <c:bubbleSize>
            <c:numRef>
              <c:f>Sheet1!$C$2:$C$3</c:f>
              <c:numCache>
                <c:formatCode>General</c:formatCode>
                <c:ptCount val="2"/>
                <c:pt idx="0">
                  <c:v>79359</c:v>
                </c:pt>
                <c:pt idx="1">
                  <c:v>23329</c:v>
                </c:pt>
              </c:numCache>
            </c:numRef>
          </c:bubbleSize>
          <c:bubble3D val="0"/>
          <c:extLst>
            <c:ext xmlns:c15="http://schemas.microsoft.com/office/drawing/2012/chart" uri="{02D57815-91ED-43cb-92C2-25804820EDAC}">
              <c15:datalabelsRange>
                <c15:f>Sheet1!$E$2:$E$10</c15:f>
                <c15:dlblRangeCache>
                  <c:ptCount val="9"/>
                  <c:pt idx="0">
                    <c:v>Cfgv</c:v>
                  </c:pt>
                  <c:pt idx="1">
                    <c:v>Mhc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CD8ABE-DABD-4083-98E8-28640240BC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6FF549-E20C-4214-8381-E487030295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8CC05D-A7EC-44C6-83D1-EE6BA13B71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4F883B7-E7B0-42DF-9B22-AFE0E76A83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7CBBE81-0089-4AB5-97EF-6215905C60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36B17F1-A91F-4D1D-823E-83E4568316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EB94AD7-8E43-47A7-99B4-E35A206E8A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7463F3-C88A-4F73-A436-CCAB6CD0BC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1982</c:v>
                </c:pt>
                <c:pt idx="1">
                  <c:v>43.2714</c:v>
                </c:pt>
                <c:pt idx="2">
                  <c:v>38.2958</c:v>
                </c:pt>
              </c:numCache>
            </c:numRef>
          </c:xVal>
          <c:yVal>
            <c:numRef>
              <c:f>Sheet1!$B$2:$B$4</c:f>
              <c:numCache>
                <c:formatCode>General</c:formatCode>
                <c:ptCount val="3"/>
                <c:pt idx="0">
                  <c:v>0.93600000000000005</c:v>
                </c:pt>
                <c:pt idx="1">
                  <c:v>1.298</c:v>
                </c:pt>
                <c:pt idx="2">
                  <c:v>1.1539999999999999</c:v>
                </c:pt>
              </c:numCache>
            </c:numRef>
          </c:yVal>
          <c:bubbleSize>
            <c:numRef>
              <c:f>Sheet1!$C$2:$C$4</c:f>
              <c:numCache>
                <c:formatCode>General</c:formatCode>
                <c:ptCount val="3"/>
                <c:pt idx="0">
                  <c:v>1328637</c:v>
                </c:pt>
                <c:pt idx="1">
                  <c:v>380745</c:v>
                </c:pt>
                <c:pt idx="2">
                  <c:v>21752</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1AC7F6-B30D-4AD9-BFF2-93F8850E65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9CC1D0-2B60-4C62-80A9-18A4FE617A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15632CE-88CC-4578-BDEA-CC505D3C7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FC2FB40-BEDA-44CD-8CC1-9B0CE8DE96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EB742CB-C448-4238-BD93-ABC73FFE7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2F002F8-8102-464A-B883-9499001288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D836CD3-FA77-479F-8105-208E58286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AE6159-772A-42F4-98D0-A9CA84835F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259499999999999</c:v>
                </c:pt>
                <c:pt idx="1">
                  <c:v>43.661499999999997</c:v>
                </c:pt>
              </c:numCache>
            </c:numRef>
          </c:xVal>
          <c:yVal>
            <c:numRef>
              <c:f>Sheet1!$B$2:$B$3</c:f>
              <c:numCache>
                <c:formatCode>General</c:formatCode>
                <c:ptCount val="2"/>
                <c:pt idx="0">
                  <c:v>0.93300000000000005</c:v>
                </c:pt>
                <c:pt idx="1">
                  <c:v>1.304</c:v>
                </c:pt>
              </c:numCache>
            </c:numRef>
          </c:yVal>
          <c:bubbleSize>
            <c:numRef>
              <c:f>Sheet1!$C$2:$C$3</c:f>
              <c:numCache>
                <c:formatCode>General</c:formatCode>
                <c:ptCount val="2"/>
                <c:pt idx="0">
                  <c:v>132884</c:v>
                </c:pt>
                <c:pt idx="1">
                  <c:v>39732</c:v>
                </c:pt>
              </c:numCache>
            </c:numRef>
          </c:bubbleSize>
          <c:bubble3D val="0"/>
          <c:extLst>
            <c:ext xmlns:c15="http://schemas.microsoft.com/office/drawing/2012/chart" uri="{02D57815-91ED-43cb-92C2-25804820EDAC}">
              <c15:datalabelsRange>
                <c15:f>Sheet1!$E$2:$E$10</c15:f>
                <c15:dlblRangeCache>
                  <c:ptCount val="9"/>
                  <c:pt idx="0">
                    <c:v>Cfgv</c:v>
                  </c:pt>
                  <c:pt idx="1">
                    <c:v>Mhc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1EC30B-5EE3-4D92-BCD4-C604B41F50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43E9AE-B750-461A-B59B-23174A6FF9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C4D9B1-D32D-4BDB-823B-53598A4D4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6803B53-3294-4D32-9D8A-9659243CE2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2DF4144-A6DB-485F-9E4A-A5CEBAC967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3214915-B108-4C67-AD5F-AE3B58089B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C43F9C4-03F4-48A7-8FE5-E773672AE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EFA7CB-F354-4E8D-8E8D-31D017D75F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12800000000001</c:v>
                </c:pt>
                <c:pt idx="1">
                  <c:v>44.533299999999997</c:v>
                </c:pt>
                <c:pt idx="2">
                  <c:v>40.75</c:v>
                </c:pt>
              </c:numCache>
            </c:numRef>
          </c:xVal>
          <c:yVal>
            <c:numRef>
              <c:f>Sheet1!$B$2:$B$4</c:f>
              <c:numCache>
                <c:formatCode>General</c:formatCode>
                <c:ptCount val="3"/>
                <c:pt idx="0">
                  <c:v>0.94399999999999995</c:v>
                </c:pt>
                <c:pt idx="1">
                  <c:v>1.333</c:v>
                </c:pt>
                <c:pt idx="2">
                  <c:v>1.022</c:v>
                </c:pt>
              </c:numCache>
            </c:numRef>
          </c:yVal>
          <c:bubbleSize>
            <c:numRef>
              <c:f>Sheet1!$C$2:$C$4</c:f>
              <c:numCache>
                <c:formatCode>General</c:formatCode>
                <c:ptCount val="3"/>
                <c:pt idx="0">
                  <c:v>83558</c:v>
                </c:pt>
                <c:pt idx="1">
                  <c:v>19372</c:v>
                </c:pt>
                <c:pt idx="2">
                  <c:v>1630</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33E162-5F4E-4472-9FCD-E94695EC5B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12267D-A43E-411D-9DD3-4B789F87B5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D95E28-E26F-4DA3-82AD-F886FC49AD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48F4917-B046-4490-B853-FF6603518E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E6DDC15-EB8A-4259-9629-F25C77E5A5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D8BEC0E-B9C4-4313-A5F7-ABAFE571BD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F43C0AE-EC5E-4FAC-8210-274E45E9F5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28E6D3-9C51-4CE1-A1D0-EB879AB957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644300000000001</c:v>
                </c:pt>
                <c:pt idx="1">
                  <c:v>45.026499999999999</c:v>
                </c:pt>
                <c:pt idx="2">
                  <c:v>41.7</c:v>
                </c:pt>
              </c:numCache>
            </c:numRef>
          </c:xVal>
          <c:yVal>
            <c:numRef>
              <c:f>Sheet1!$B$2:$B$4</c:f>
              <c:numCache>
                <c:formatCode>General</c:formatCode>
                <c:ptCount val="3"/>
                <c:pt idx="0">
                  <c:v>0.96199999999999997</c:v>
                </c:pt>
                <c:pt idx="1">
                  <c:v>1.2869999999999999</c:v>
                </c:pt>
                <c:pt idx="2">
                  <c:v>1.1859999999999999</c:v>
                </c:pt>
              </c:numCache>
            </c:numRef>
          </c:yVal>
          <c:bubbleSize>
            <c:numRef>
              <c:f>Sheet1!$C$2:$C$4</c:f>
              <c:numCache>
                <c:formatCode>General</c:formatCode>
                <c:ptCount val="3"/>
                <c:pt idx="0">
                  <c:v>32562</c:v>
                </c:pt>
                <c:pt idx="1">
                  <c:v>5088</c:v>
                </c:pt>
                <c:pt idx="2">
                  <c:v>417</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52B9AD2-6F0A-483F-BF38-B18BE2EF1B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706F9C-C00F-4F27-A6D5-E73519D48C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7C3E04-F134-4C6A-93AF-BC114FFB0B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636495-FE4F-45E9-84BD-8304F24E7A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CCA55ED-C47D-41F1-8360-C267961078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768D499-FECE-4298-96FC-ABFCC8E174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C36B67-72AD-4FB2-8B0A-37E4D6CB36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C912C21-A6AE-4AEA-A11D-9ECE79A8BE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1.212</c:v>
                </c:pt>
                <c:pt idx="1">
                  <c:v>43.988500000000002</c:v>
                </c:pt>
                <c:pt idx="2">
                  <c:v>39.526299999999999</c:v>
                </c:pt>
                <c:pt idx="3">
                  <c:v>40.066699999999997</c:v>
                </c:pt>
              </c:numCache>
            </c:numRef>
          </c:xVal>
          <c:yVal>
            <c:numRef>
              <c:f>Sheet1!$B$2:$B$5</c:f>
              <c:numCache>
                <c:formatCode>General</c:formatCode>
                <c:ptCount val="4"/>
                <c:pt idx="0">
                  <c:v>0.94599999999999995</c:v>
                </c:pt>
                <c:pt idx="1">
                  <c:v>1.335</c:v>
                </c:pt>
                <c:pt idx="2">
                  <c:v>0.98099999999999998</c:v>
                </c:pt>
                <c:pt idx="3">
                  <c:v>1.145</c:v>
                </c:pt>
              </c:numCache>
            </c:numRef>
          </c:yVal>
          <c:bubbleSize>
            <c:numRef>
              <c:f>Sheet1!$C$2:$C$5</c:f>
              <c:numCache>
                <c:formatCode>General</c:formatCode>
                <c:ptCount val="4"/>
                <c:pt idx="0">
                  <c:v>34739</c:v>
                </c:pt>
                <c:pt idx="1">
                  <c:v>7654</c:v>
                </c:pt>
                <c:pt idx="2">
                  <c:v>1502</c:v>
                </c:pt>
                <c:pt idx="3">
                  <c:v>601</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pt idx="3">
                    <c:v>Ep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599446-BD6A-4799-B55C-EA7FD5FE38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EC8278-573F-41C2-8D19-735BBA9D53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199DB3-C438-4CEA-94B5-093907465F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406B918-4539-4E5D-8911-6148FC0811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5A39388-6E21-4083-8423-4547CC762A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5B7925B-C55C-4CAE-BA27-30DFB0282D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A58B70F-30B2-45B3-B895-78E626F77A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FB958A4-20C7-4527-B1B4-FC8389C3A4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17700000000001</c:v>
                </c:pt>
                <c:pt idx="1">
                  <c:v>43.048900000000003</c:v>
                </c:pt>
                <c:pt idx="2">
                  <c:v>38.2864</c:v>
                </c:pt>
              </c:numCache>
            </c:numRef>
          </c:xVal>
          <c:yVal>
            <c:numRef>
              <c:f>Sheet1!$B$2:$B$4</c:f>
              <c:numCache>
                <c:formatCode>General</c:formatCode>
                <c:ptCount val="3"/>
                <c:pt idx="0">
                  <c:v>0.93100000000000005</c:v>
                </c:pt>
                <c:pt idx="1">
                  <c:v>1.2849999999999999</c:v>
                </c:pt>
                <c:pt idx="2">
                  <c:v>1.149</c:v>
                </c:pt>
              </c:numCache>
            </c:numRef>
          </c:yVal>
          <c:bubbleSize>
            <c:numRef>
              <c:f>Sheet1!$C$2:$C$4</c:f>
              <c:numCache>
                <c:formatCode>General</c:formatCode>
                <c:ptCount val="3"/>
                <c:pt idx="0">
                  <c:v>484873</c:v>
                </c:pt>
                <c:pt idx="1">
                  <c:v>156612</c:v>
                </c:pt>
                <c:pt idx="2">
                  <c:v>8423</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06F96D-2333-4EB8-9F88-F6962FDD1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4B7A04-16C1-4BCA-A7EF-E7EABFA28C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F6D07C6-EF00-4910-8627-EE568CDBA0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B7348E6-D28B-4B6A-B7F9-989D5EA99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10A60E7-B578-4421-A65B-8183D1B7C7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AAADDC4-8D56-4800-96F5-B6849CC568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A5DD88-4E9E-4417-B23C-682B3BAB63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85C556-E450-4E7D-90CF-53E592A76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130199999999999</c:v>
                </c:pt>
                <c:pt idx="1">
                  <c:v>43.843800000000002</c:v>
                </c:pt>
              </c:numCache>
            </c:numRef>
          </c:xVal>
          <c:yVal>
            <c:numRef>
              <c:f>Sheet1!$B$2:$B$3</c:f>
              <c:numCache>
                <c:formatCode>General</c:formatCode>
                <c:ptCount val="2"/>
                <c:pt idx="0">
                  <c:v>0.92900000000000005</c:v>
                </c:pt>
                <c:pt idx="1">
                  <c:v>1.3089999999999999</c:v>
                </c:pt>
              </c:numCache>
            </c:numRef>
          </c:yVal>
          <c:bubbleSize>
            <c:numRef>
              <c:f>Sheet1!$C$2:$C$3</c:f>
              <c:numCache>
                <c:formatCode>General</c:formatCode>
                <c:ptCount val="2"/>
                <c:pt idx="0">
                  <c:v>254707</c:v>
                </c:pt>
                <c:pt idx="1">
                  <c:v>81944</c:v>
                </c:pt>
              </c:numCache>
            </c:numRef>
          </c:bubbleSize>
          <c:bubble3D val="0"/>
          <c:extLst>
            <c:ext xmlns:c15="http://schemas.microsoft.com/office/drawing/2012/chart" uri="{02D57815-91ED-43cb-92C2-25804820EDAC}">
              <c15:datalabelsRange>
                <c15:f>Sheet1!$E$2:$E$10</c15:f>
                <c15:dlblRangeCache>
                  <c:ptCount val="9"/>
                  <c:pt idx="0">
                    <c:v>Cfgv</c:v>
                  </c:pt>
                  <c:pt idx="1">
                    <c:v>Mhc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70C455-55A4-42E8-BCB6-C829B8849F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6294E5-B05A-4ADA-A85B-C34E648EA1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BA6E09-0C3E-43D8-9EED-0B035BEF51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85E2BB5-B371-46E7-8AC1-69A14A42BB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30D06B4-05EC-4F11-8547-B514EFE9A0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CF5D249-1329-4CCD-9CF4-F401527FEF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9787584-D3C6-4F70-9337-84222C031B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256ABC-8E7E-49A8-9DF6-2188178693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94999999999999</c:v>
                </c:pt>
                <c:pt idx="1">
                  <c:v>43.808300000000003</c:v>
                </c:pt>
                <c:pt idx="2">
                  <c:v>38.920200000000001</c:v>
                </c:pt>
              </c:numCache>
            </c:numRef>
          </c:xVal>
          <c:yVal>
            <c:numRef>
              <c:f>Sheet1!$B$2:$B$4</c:f>
              <c:numCache>
                <c:formatCode>General</c:formatCode>
                <c:ptCount val="3"/>
                <c:pt idx="0">
                  <c:v>0.94099999999999995</c:v>
                </c:pt>
                <c:pt idx="1">
                  <c:v>1.325</c:v>
                </c:pt>
                <c:pt idx="2">
                  <c:v>1.161</c:v>
                </c:pt>
              </c:numCache>
            </c:numRef>
          </c:yVal>
          <c:bubbleSize>
            <c:numRef>
              <c:f>Sheet1!$C$2:$C$4</c:f>
              <c:numCache>
                <c:formatCode>General</c:formatCode>
                <c:ptCount val="3"/>
                <c:pt idx="0">
                  <c:v>410703</c:v>
                </c:pt>
                <c:pt idx="1">
                  <c:v>99620</c:v>
                </c:pt>
                <c:pt idx="2">
                  <c:v>7317</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3"/>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DA43E0D-5471-4A8A-AE68-D11B6FFCD1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E6D0CD1-2018-4976-8014-7166C66698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2CB471F-AAA1-4D16-898F-24F25AD329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BE4F7CF-E929-4BF6-A7FB-EB41441914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0C9A289-4480-4B8F-AB80-7D9596D16A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84F5360-9806-48B0-ACCC-E1D75A5C2F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09F1D71-68DF-4CB9-BB4F-FD09A32A52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A36ED73-D30A-4BB3-AAFC-EA71FE0A12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3996</c:v>
                </c:pt>
                <c:pt idx="1">
                  <c:v>12.751099999999999</c:v>
                </c:pt>
                <c:pt idx="2">
                  <c:v>17.6111</c:v>
                </c:pt>
                <c:pt idx="3">
                  <c:v>9.1219000000000001</c:v>
                </c:pt>
                <c:pt idx="4">
                  <c:v>11.9292</c:v>
                </c:pt>
                <c:pt idx="5">
                  <c:v>11.430300000000001</c:v>
                </c:pt>
                <c:pt idx="6">
                  <c:v>13.4643</c:v>
                </c:pt>
                <c:pt idx="7">
                  <c:v>11.543699999999999</c:v>
                </c:pt>
              </c:numCache>
            </c:numRef>
          </c:xVal>
          <c:yVal>
            <c:numRef>
              <c:f>Sheet1!$B$2:$B$9</c:f>
              <c:numCache>
                <c:formatCode>General</c:formatCode>
                <c:ptCount val="8"/>
                <c:pt idx="0">
                  <c:v>1.06</c:v>
                </c:pt>
                <c:pt idx="1">
                  <c:v>1.1859999999999999</c:v>
                </c:pt>
                <c:pt idx="2">
                  <c:v>1.6619999999999999</c:v>
                </c:pt>
                <c:pt idx="3">
                  <c:v>0.84899999999999998</c:v>
                </c:pt>
                <c:pt idx="4">
                  <c:v>1.0469999999999999</c:v>
                </c:pt>
                <c:pt idx="5">
                  <c:v>1.0620000000000001</c:v>
                </c:pt>
                <c:pt idx="6">
                  <c:v>1.25</c:v>
                </c:pt>
                <c:pt idx="7">
                  <c:v>0.89800000000000002</c:v>
                </c:pt>
              </c:numCache>
            </c:numRef>
          </c:yVal>
          <c:bubbleSize>
            <c:numRef>
              <c:f>Sheet1!$C$2:$C$9</c:f>
              <c:numCache>
                <c:formatCode>General</c:formatCode>
                <c:ptCount val="8"/>
                <c:pt idx="0">
                  <c:v>101593</c:v>
                </c:pt>
                <c:pt idx="1">
                  <c:v>99140</c:v>
                </c:pt>
                <c:pt idx="2">
                  <c:v>82244</c:v>
                </c:pt>
                <c:pt idx="3">
                  <c:v>56501</c:v>
                </c:pt>
                <c:pt idx="4">
                  <c:v>55399</c:v>
                </c:pt>
                <c:pt idx="5">
                  <c:v>53231</c:v>
                </c:pt>
                <c:pt idx="6">
                  <c:v>27871</c:v>
                </c:pt>
                <c:pt idx="7">
                  <c:v>17154</c:v>
                </c:pt>
              </c:numCache>
            </c:numRef>
          </c:bubbleSize>
          <c:bubble3D val="0"/>
          <c:extLst>
            <c:ext xmlns:c15="http://schemas.microsoft.com/office/drawing/2012/chart" uri="{02D57815-91ED-43cb-92C2-25804820EDAC}">
              <c15:datalabelsRange>
                <c15:f>Sheet1!$E$2:$E$10</c15:f>
                <c15:dlblRangeCache>
                  <c:ptCount val="9"/>
                  <c:pt idx="0">
                    <c:v>Bottega</c:v>
                  </c:pt>
                  <c:pt idx="1">
                    <c:v>Patriarche</c:v>
                  </c:pt>
                  <c:pt idx="2">
                    <c:v>Mure</c:v>
                  </c:pt>
                  <c:pt idx="3">
                    <c:v>Savian</c:v>
                  </c:pt>
                  <c:pt idx="4">
                    <c:v>Bouvet-Ladubay</c:v>
                  </c:pt>
                  <c:pt idx="5">
                    <c:v>Chateau Moncontour</c:v>
                  </c:pt>
                  <c:pt idx="6">
                    <c:v>De Chanceny</c:v>
                  </c:pt>
                  <c:pt idx="7">
                    <c:v>Contarin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9BE8C5-145B-4578-96C7-B30FB64325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15BB94-E6E7-43BD-9F43-00567ED5FD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71EEE4-2B45-4E09-B827-4DB81B35AE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0145315-5E5D-47B4-BA95-E401260136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CFBDD9A-8172-4922-BF7D-F7D43F535F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EFB591A-1846-46F3-9C28-2B4A22CC4B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B1EBAF8-759C-4D6B-AAA4-FB782E2993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116E7BD-7966-4F3A-B8AF-C57DAF2067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053699999999999</c:v>
                </c:pt>
                <c:pt idx="1">
                  <c:v>43.280700000000003</c:v>
                </c:pt>
                <c:pt idx="2">
                  <c:v>39.226999999999997</c:v>
                </c:pt>
              </c:numCache>
            </c:numRef>
          </c:xVal>
          <c:yVal>
            <c:numRef>
              <c:f>Sheet1!$B$2:$B$4</c:f>
              <c:numCache>
                <c:formatCode>General</c:formatCode>
                <c:ptCount val="3"/>
                <c:pt idx="0">
                  <c:v>0.94099999999999995</c:v>
                </c:pt>
                <c:pt idx="1">
                  <c:v>1.3109999999999999</c:v>
                </c:pt>
                <c:pt idx="2">
                  <c:v>1.153</c:v>
                </c:pt>
              </c:numCache>
            </c:numRef>
          </c:yVal>
          <c:bubbleSize>
            <c:numRef>
              <c:f>Sheet1!$C$2:$C$4</c:f>
              <c:numCache>
                <c:formatCode>General</c:formatCode>
                <c:ptCount val="3"/>
                <c:pt idx="0">
                  <c:v>343050</c:v>
                </c:pt>
                <c:pt idx="1">
                  <c:v>84657</c:v>
                </c:pt>
                <c:pt idx="2">
                  <c:v>7257</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E1C32B-8F9B-4D34-902D-FDABD61D84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DF91BE-AB84-414F-97F5-54DF45B19D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B86EE5-8D61-462F-BEC6-2F7E7F56A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AEF4D66-CEAA-474C-AD09-4C7108EE3D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E67DB1A-D51C-4ED5-B8C7-4505F1B80F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72054D6-EF01-4EF3-94A6-B218C3CFA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5730A96-2340-4534-8DA2-98D40C944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EC8AA5A-DD58-4EBF-AA62-DFB425D226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4998</c:v>
                </c:pt>
                <c:pt idx="1">
                  <c:v>43.330100000000002</c:v>
                </c:pt>
                <c:pt idx="2">
                  <c:v>39.1479</c:v>
                </c:pt>
              </c:numCache>
            </c:numRef>
          </c:xVal>
          <c:yVal>
            <c:numRef>
              <c:f>Sheet1!$B$2:$B$4</c:f>
              <c:numCache>
                <c:formatCode>General</c:formatCode>
                <c:ptCount val="3"/>
                <c:pt idx="0">
                  <c:v>0.94699999999999995</c:v>
                </c:pt>
                <c:pt idx="1">
                  <c:v>1.302</c:v>
                </c:pt>
                <c:pt idx="2">
                  <c:v>1.1080000000000001</c:v>
                </c:pt>
              </c:numCache>
            </c:numRef>
          </c:yVal>
          <c:bubbleSize>
            <c:numRef>
              <c:f>Sheet1!$C$2:$C$4</c:f>
              <c:numCache>
                <c:formatCode>General</c:formatCode>
                <c:ptCount val="3"/>
                <c:pt idx="0">
                  <c:v>274206</c:v>
                </c:pt>
                <c:pt idx="1">
                  <c:v>61962</c:v>
                </c:pt>
                <c:pt idx="2">
                  <c:v>5559</c:v>
                </c:pt>
              </c:numCache>
            </c:numRef>
          </c:bubbleSize>
          <c:bubble3D val="0"/>
          <c:extLst>
            <c:ext xmlns:c15="http://schemas.microsoft.com/office/drawing/2012/chart" uri="{02D57815-91ED-43cb-92C2-25804820EDAC}">
              <c15:datalabelsRange>
                <c15:f>Sheet1!$E$2:$E$10</c15:f>
                <c15:dlblRangeCache>
                  <c:ptCount val="9"/>
                  <c:pt idx="0">
                    <c:v>Cfgv</c:v>
                  </c:pt>
                  <c:pt idx="1">
                    <c:v>Mhcs</c:v>
                  </c:pt>
                  <c:pt idx="2">
                    <c:v>C&amp;C Sas Fra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C9415D-F38E-4B6C-A5D4-7AB5333177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5E4835-6E41-4E48-99E1-A5D5A5D133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37120F-D26A-4650-9382-D7CFC91EBA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F18A68-5605-42F9-AFEE-B036C2CEF8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900381-692F-4A23-A7AC-AF2529622B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D76564-B542-4792-895B-27D0BD7C6E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4BCA757-CEF9-4ABE-B8EB-49E73D9053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31D94E-AA74-45DF-88AE-820CEC71E9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4.69210000000001</c:v>
                </c:pt>
                <c:pt idx="1">
                  <c:v>167.14019999999999</c:v>
                </c:pt>
                <c:pt idx="2">
                  <c:v>37.241900000000001</c:v>
                </c:pt>
                <c:pt idx="3">
                  <c:v>65.030100000000004</c:v>
                </c:pt>
                <c:pt idx="4">
                  <c:v>232.976</c:v>
                </c:pt>
                <c:pt idx="5">
                  <c:v>264.97140000000002</c:v>
                </c:pt>
                <c:pt idx="6">
                  <c:v>257.2319</c:v>
                </c:pt>
                <c:pt idx="7">
                  <c:v>246.36920000000001</c:v>
                </c:pt>
              </c:numCache>
            </c:numRef>
          </c:xVal>
          <c:yVal>
            <c:numRef>
              <c:f>Sheet1!$B$2:$B$9</c:f>
              <c:numCache>
                <c:formatCode>General</c:formatCode>
                <c:ptCount val="8"/>
                <c:pt idx="0">
                  <c:v>1.387</c:v>
                </c:pt>
                <c:pt idx="1">
                  <c:v>1.228</c:v>
                </c:pt>
                <c:pt idx="2">
                  <c:v>0.28100000000000003</c:v>
                </c:pt>
                <c:pt idx="3">
                  <c:v>0.46800000000000003</c:v>
                </c:pt>
                <c:pt idx="4">
                  <c:v>1.7110000000000001</c:v>
                </c:pt>
                <c:pt idx="5">
                  <c:v>1.7989999999999999</c:v>
                </c:pt>
                <c:pt idx="6">
                  <c:v>1.6919999999999999</c:v>
                </c:pt>
                <c:pt idx="7">
                  <c:v>1.5269999999999999</c:v>
                </c:pt>
              </c:numCache>
            </c:numRef>
          </c:yVal>
          <c:bubbleSize>
            <c:numRef>
              <c:f>Sheet1!$C$2:$C$9</c:f>
              <c:numCache>
                <c:formatCode>General</c:formatCode>
                <c:ptCount val="8"/>
                <c:pt idx="0">
                  <c:v>1443738</c:v>
                </c:pt>
                <c:pt idx="1">
                  <c:v>644827</c:v>
                </c:pt>
                <c:pt idx="2">
                  <c:v>189077</c:v>
                </c:pt>
                <c:pt idx="3">
                  <c:v>101707</c:v>
                </c:pt>
                <c:pt idx="4">
                  <c:v>77814</c:v>
                </c:pt>
                <c:pt idx="5">
                  <c:v>37096</c:v>
                </c:pt>
                <c:pt idx="6">
                  <c:v>35498</c:v>
                </c:pt>
                <c:pt idx="7">
                  <c:v>3202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Bollinger</c:v>
                  </c:pt>
                  <c:pt idx="5">
                    <c:v>Epi</c:v>
                  </c:pt>
                  <c:pt idx="6">
                    <c:v>Pernod Ricard</c:v>
                  </c:pt>
                  <c:pt idx="7">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99AED6-D675-4BDF-B5C7-B984259B7D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8A327E-F4C7-42FA-9A77-EB14185EDD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ECF395-ECC0-4950-B597-93C033CAE8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56D1F8-5E50-4D03-9A84-BFDAFAE805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EC697D-7A70-422F-ABC9-2EEB4503A6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FED10D-0659-4094-B4B5-B59534A72D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EFFE3A7-1972-4F98-ACCF-436439243A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ABAE0F-8A85-4254-A359-A78212EBCF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9.99359999999999</c:v>
                </c:pt>
                <c:pt idx="1">
                  <c:v>172.6182</c:v>
                </c:pt>
                <c:pt idx="2">
                  <c:v>37.6342</c:v>
                </c:pt>
                <c:pt idx="3">
                  <c:v>243.43379999999999</c:v>
                </c:pt>
                <c:pt idx="4">
                  <c:v>64.109499999999997</c:v>
                </c:pt>
                <c:pt idx="5">
                  <c:v>270.57780000000002</c:v>
                </c:pt>
                <c:pt idx="6">
                  <c:v>271.20159999999998</c:v>
                </c:pt>
                <c:pt idx="7">
                  <c:v>258.30650000000003</c:v>
                </c:pt>
              </c:numCache>
            </c:numRef>
          </c:xVal>
          <c:yVal>
            <c:numRef>
              <c:f>Sheet1!$B$2:$B$9</c:f>
              <c:numCache>
                <c:formatCode>General</c:formatCode>
                <c:ptCount val="8"/>
                <c:pt idx="0">
                  <c:v>1.421</c:v>
                </c:pt>
                <c:pt idx="1">
                  <c:v>1.1830000000000001</c:v>
                </c:pt>
                <c:pt idx="2">
                  <c:v>0.27600000000000002</c:v>
                </c:pt>
                <c:pt idx="3">
                  <c:v>1.5860000000000001</c:v>
                </c:pt>
                <c:pt idx="4">
                  <c:v>0.45400000000000001</c:v>
                </c:pt>
                <c:pt idx="5">
                  <c:v>1.663</c:v>
                </c:pt>
                <c:pt idx="6">
                  <c:v>1.593</c:v>
                </c:pt>
                <c:pt idx="7">
                  <c:v>1.4830000000000001</c:v>
                </c:pt>
              </c:numCache>
            </c:numRef>
          </c:yVal>
          <c:bubbleSize>
            <c:numRef>
              <c:f>Sheet1!$C$2:$C$9</c:f>
              <c:numCache>
                <c:formatCode>General</c:formatCode>
                <c:ptCount val="8"/>
                <c:pt idx="0">
                  <c:v>1410755</c:v>
                </c:pt>
                <c:pt idx="1">
                  <c:v>632128</c:v>
                </c:pt>
                <c:pt idx="2">
                  <c:v>189300</c:v>
                </c:pt>
                <c:pt idx="3">
                  <c:v>79116</c:v>
                </c:pt>
                <c:pt idx="4">
                  <c:v>72572</c:v>
                </c:pt>
                <c:pt idx="5">
                  <c:v>36528</c:v>
                </c:pt>
                <c:pt idx="6">
                  <c:v>34985</c:v>
                </c:pt>
                <c:pt idx="7">
                  <c:v>3203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Epi</c:v>
                  </c:pt>
                  <c:pt idx="6">
                    <c:v>Pernod Ricard</c:v>
                  </c:pt>
                  <c:pt idx="7">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6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650DF0-CFEA-42E1-A29E-3E336E2361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637F5F-8384-4730-847A-E34677C575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7DE039-88DD-420F-AE9F-078FCE5F74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FAA7306-65A6-4DB3-9258-5E5BC8E79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E8DBEFD-2D23-4B4A-A8E8-D7F8777E16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29EC94F-3D5F-4D4E-ACB1-577B0977CF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6CDD27-730B-442C-A6CB-5481F29D60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C0B15BE-BDF7-4C90-A9B8-D67B01C5A9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3.635399999999997</c:v>
                </c:pt>
                <c:pt idx="1">
                  <c:v>72</c:v>
                </c:pt>
                <c:pt idx="2">
                  <c:v>173.15629999999999</c:v>
                </c:pt>
              </c:numCache>
            </c:numRef>
          </c:xVal>
          <c:yVal>
            <c:numRef>
              <c:f>Sheet1!$B$2:$B$4</c:f>
              <c:numCache>
                <c:formatCode>General</c:formatCode>
                <c:ptCount val="3"/>
                <c:pt idx="0">
                  <c:v>0.92100000000000004</c:v>
                </c:pt>
                <c:pt idx="1">
                  <c:v>0.874</c:v>
                </c:pt>
                <c:pt idx="2">
                  <c:v>1.8620000000000001</c:v>
                </c:pt>
              </c:numCache>
            </c:numRef>
          </c:yVal>
          <c:bubbleSize>
            <c:numRef>
              <c:f>Sheet1!$C$2:$C$4</c:f>
              <c:numCache>
                <c:formatCode>General</c:formatCode>
                <c:ptCount val="3"/>
                <c:pt idx="0">
                  <c:v>40663</c:v>
                </c:pt>
                <c:pt idx="1">
                  <c:v>29160</c:v>
                </c:pt>
                <c:pt idx="2">
                  <c:v>16623</c:v>
                </c:pt>
              </c:numCache>
            </c:numRef>
          </c:bubbleSize>
          <c:bubble3D val="0"/>
          <c:extLst>
            <c:ext xmlns:c15="http://schemas.microsoft.com/office/drawing/2012/chart" uri="{02D57815-91ED-43cb-92C2-25804820EDAC}">
              <c15:datalabelsRange>
                <c15:f>Sheet1!$E$2:$E$10</c15:f>
                <c15:dlblRangeCache>
                  <c:ptCount val="9"/>
                  <c:pt idx="0">
                    <c:v>Mhcs</c:v>
                  </c:pt>
                  <c:pt idx="1">
                    <c:v>Laurent Perrier</c:v>
                  </c:pt>
                  <c:pt idx="2">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8"/>
          <c:min val="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778863-EBE6-43EB-97BD-3C03BD0656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5697B3-FAEE-4076-8D9E-0AEB877659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A97E6A-174F-4320-8505-476A133738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F10A33-68BF-41FB-A52A-BD9837180B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54DAD5-39E8-43FA-8967-71AB42F424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BBC2A9-CEE1-4B0E-A772-3BB4984A27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CAB2F4-C5A4-4082-882E-0991198682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184984-6232-4BA2-AC97-1191F4CCB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94.40350000000001</c:v>
                </c:pt>
                <c:pt idx="1">
                  <c:v>155.4597</c:v>
                </c:pt>
                <c:pt idx="2">
                  <c:v>37.252499999999998</c:v>
                </c:pt>
                <c:pt idx="3">
                  <c:v>62.747599999999998</c:v>
                </c:pt>
                <c:pt idx="4">
                  <c:v>254.06059999999999</c:v>
                </c:pt>
                <c:pt idx="5">
                  <c:v>268.13209999999998</c:v>
                </c:pt>
                <c:pt idx="6">
                  <c:v>226.28569999999999</c:v>
                </c:pt>
              </c:numCache>
            </c:numRef>
          </c:xVal>
          <c:yVal>
            <c:numRef>
              <c:f>Sheet1!$B$2:$B$8</c:f>
              <c:numCache>
                <c:formatCode>General</c:formatCode>
                <c:ptCount val="7"/>
                <c:pt idx="0">
                  <c:v>1.573</c:v>
                </c:pt>
                <c:pt idx="1">
                  <c:v>1.24</c:v>
                </c:pt>
                <c:pt idx="2">
                  <c:v>0.30299999999999999</c:v>
                </c:pt>
                <c:pt idx="3">
                  <c:v>0.50800000000000001</c:v>
                </c:pt>
                <c:pt idx="4">
                  <c:v>1.905</c:v>
                </c:pt>
                <c:pt idx="5">
                  <c:v>1.855</c:v>
                </c:pt>
                <c:pt idx="6">
                  <c:v>1.5820000000000001</c:v>
                </c:pt>
              </c:numCache>
            </c:numRef>
          </c:yVal>
          <c:bubbleSize>
            <c:numRef>
              <c:f>Sheet1!$C$2:$C$8</c:f>
              <c:numCache>
                <c:formatCode>General</c:formatCode>
                <c:ptCount val="7"/>
                <c:pt idx="0">
                  <c:v>454321</c:v>
                </c:pt>
                <c:pt idx="1">
                  <c:v>256353</c:v>
                </c:pt>
                <c:pt idx="2">
                  <c:v>92796</c:v>
                </c:pt>
                <c:pt idx="3">
                  <c:v>32315</c:v>
                </c:pt>
                <c:pt idx="4">
                  <c:v>25152</c:v>
                </c:pt>
                <c:pt idx="5">
                  <c:v>14211</c:v>
                </c:pt>
                <c:pt idx="6">
                  <c:v>1108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Bollinger</c:v>
                  </c:pt>
                  <c:pt idx="5">
                    <c:v>Epi</c:v>
                  </c:pt>
                  <c:pt idx="6">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0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7E3AE5-759F-4B3D-92A6-1D35467853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0904F3-A994-4AF9-9928-9CA9597E83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E412A4-B866-4120-96B0-2E214BB2A3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A371E9-29FC-481B-937E-BD82708D62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6273A1-3FE7-49C2-A2AB-B55B94F6EA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71EE245-D8E7-4415-81B8-9FCB606F1D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144FEF-0705-4EFE-95AF-E9ED9764BA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E62DE4-84AC-4E75-8885-F70A75BCD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74.84289999999999</c:v>
                </c:pt>
                <c:pt idx="1">
                  <c:v>162.61619999999999</c:v>
                </c:pt>
                <c:pt idx="2">
                  <c:v>37.590299999999999</c:v>
                </c:pt>
                <c:pt idx="3">
                  <c:v>219.04169999999999</c:v>
                </c:pt>
                <c:pt idx="4">
                  <c:v>64.075400000000002</c:v>
                </c:pt>
                <c:pt idx="5">
                  <c:v>270.6207</c:v>
                </c:pt>
                <c:pt idx="6">
                  <c:v>258.72730000000001</c:v>
                </c:pt>
                <c:pt idx="7">
                  <c:v>223.125</c:v>
                </c:pt>
              </c:numCache>
            </c:numRef>
          </c:xVal>
          <c:yVal>
            <c:numRef>
              <c:f>Sheet1!$B$2:$B$9</c:f>
              <c:numCache>
                <c:formatCode>General</c:formatCode>
                <c:ptCount val="8"/>
                <c:pt idx="0">
                  <c:v>1.3740000000000001</c:v>
                </c:pt>
                <c:pt idx="1">
                  <c:v>1.21</c:v>
                </c:pt>
                <c:pt idx="2">
                  <c:v>0.30299999999999999</c:v>
                </c:pt>
                <c:pt idx="3">
                  <c:v>1.633</c:v>
                </c:pt>
                <c:pt idx="4">
                  <c:v>0.49199999999999999</c:v>
                </c:pt>
                <c:pt idx="5">
                  <c:v>1.901</c:v>
                </c:pt>
                <c:pt idx="6">
                  <c:v>1.5669999999999999</c:v>
                </c:pt>
                <c:pt idx="7">
                  <c:v>1.544</c:v>
                </c:pt>
              </c:numCache>
            </c:numRef>
          </c:yVal>
          <c:bubbleSize>
            <c:numRef>
              <c:f>Sheet1!$C$2:$C$9</c:f>
              <c:numCache>
                <c:formatCode>General</c:formatCode>
                <c:ptCount val="8"/>
                <c:pt idx="0">
                  <c:v>251599</c:v>
                </c:pt>
                <c:pt idx="1">
                  <c:v>94480</c:v>
                </c:pt>
                <c:pt idx="2">
                  <c:v>37064</c:v>
                </c:pt>
                <c:pt idx="3">
                  <c:v>21028</c:v>
                </c:pt>
                <c:pt idx="4">
                  <c:v>12751</c:v>
                </c:pt>
                <c:pt idx="5">
                  <c:v>7848</c:v>
                </c:pt>
                <c:pt idx="6">
                  <c:v>5692</c:v>
                </c:pt>
                <c:pt idx="7">
                  <c:v>535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Epi</c:v>
                  </c:pt>
                  <c:pt idx="6">
                    <c:v>Pernod Ricard</c:v>
                  </c:pt>
                  <c:pt idx="7">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415B20-0D3B-42D4-9627-21FBB25791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897DED-9E85-4F56-83E0-97B74F0AB4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0FF162-4B09-4498-BA98-3AC09E1C29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F02769-B2EC-4DB0-8055-5AB5C2264C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54379C-7DC9-4525-B726-645489954A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4398DC-EC62-41E9-ADEE-1AC9B4A07B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0A7F50-0651-498B-BD95-75D3385AE4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EC4176D-5076-4041-BCCF-0C24DB0F8C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3.04509999999999</c:v>
                </c:pt>
                <c:pt idx="1">
                  <c:v>198.09710000000001</c:v>
                </c:pt>
                <c:pt idx="2">
                  <c:v>37.631700000000002</c:v>
                </c:pt>
                <c:pt idx="3">
                  <c:v>242.32650000000001</c:v>
                </c:pt>
                <c:pt idx="4">
                  <c:v>269.16219999999998</c:v>
                </c:pt>
                <c:pt idx="5">
                  <c:v>65.087000000000003</c:v>
                </c:pt>
                <c:pt idx="6">
                  <c:v>423.70589999999999</c:v>
                </c:pt>
                <c:pt idx="7">
                  <c:v>180.94290000000001</c:v>
                </c:pt>
              </c:numCache>
            </c:numRef>
          </c:xVal>
          <c:yVal>
            <c:numRef>
              <c:f>Sheet1!$B$2:$B$9</c:f>
              <c:numCache>
                <c:formatCode>General</c:formatCode>
                <c:ptCount val="8"/>
                <c:pt idx="0">
                  <c:v>1.3360000000000001</c:v>
                </c:pt>
                <c:pt idx="1">
                  <c:v>1.206</c:v>
                </c:pt>
                <c:pt idx="2">
                  <c:v>0.25</c:v>
                </c:pt>
                <c:pt idx="3">
                  <c:v>1.381</c:v>
                </c:pt>
                <c:pt idx="4">
                  <c:v>1.51</c:v>
                </c:pt>
                <c:pt idx="5">
                  <c:v>0.40699999999999997</c:v>
                </c:pt>
                <c:pt idx="6">
                  <c:v>1.5009999999999999</c:v>
                </c:pt>
                <c:pt idx="7">
                  <c:v>1.022</c:v>
                </c:pt>
              </c:numCache>
            </c:numRef>
          </c:yVal>
          <c:bubbleSize>
            <c:numRef>
              <c:f>Sheet1!$C$2:$C$9</c:f>
              <c:numCache>
                <c:formatCode>General</c:formatCode>
                <c:ptCount val="8"/>
                <c:pt idx="0">
                  <c:v>207719</c:v>
                </c:pt>
                <c:pt idx="1">
                  <c:v>114302</c:v>
                </c:pt>
                <c:pt idx="2">
                  <c:v>23294</c:v>
                </c:pt>
                <c:pt idx="3">
                  <c:v>11874</c:v>
                </c:pt>
                <c:pt idx="4">
                  <c:v>9959</c:v>
                </c:pt>
                <c:pt idx="5">
                  <c:v>7485</c:v>
                </c:pt>
                <c:pt idx="6">
                  <c:v>7203</c:v>
                </c:pt>
                <c:pt idx="7">
                  <c:v>633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Pernod Ricard</c:v>
                  </c:pt>
                  <c:pt idx="5">
                    <c:v>Laurent Perrier</c:v>
                  </c:pt>
                  <c:pt idx="6">
                    <c:v>Vranken Pommery</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8"/>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DD1F06-E411-46B0-80A3-63C74C4A1D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074A54-5FB3-4DF4-9CAE-69B7DBEA75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5C89F2-2F5C-4392-8225-A5944F145F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8EBFD0-50BB-4ABC-A676-BE7D02FF27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72D00F-9236-4398-9CA1-A1A1D96D97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E0E5DE-34CB-4B8C-8EDC-0C9CA77BE5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A2A1DC-6652-4819-9851-C957C5250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F9A0478-3EBE-406E-B41E-F996399066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8.63069999999999</c:v>
                </c:pt>
                <c:pt idx="1">
                  <c:v>196.52090000000001</c:v>
                </c:pt>
                <c:pt idx="2">
                  <c:v>37.771700000000003</c:v>
                </c:pt>
                <c:pt idx="3">
                  <c:v>285.23329999999999</c:v>
                </c:pt>
                <c:pt idx="4">
                  <c:v>66.152000000000001</c:v>
                </c:pt>
                <c:pt idx="5">
                  <c:v>259.58330000000001</c:v>
                </c:pt>
                <c:pt idx="6">
                  <c:v>231.84620000000001</c:v>
                </c:pt>
              </c:numCache>
            </c:numRef>
          </c:xVal>
          <c:yVal>
            <c:numRef>
              <c:f>Sheet1!$B$2:$B$8</c:f>
              <c:numCache>
                <c:formatCode>General</c:formatCode>
                <c:ptCount val="7"/>
                <c:pt idx="0">
                  <c:v>1.296</c:v>
                </c:pt>
                <c:pt idx="1">
                  <c:v>1.05</c:v>
                </c:pt>
                <c:pt idx="2">
                  <c:v>0.23100000000000001</c:v>
                </c:pt>
                <c:pt idx="3">
                  <c:v>1.47</c:v>
                </c:pt>
                <c:pt idx="4">
                  <c:v>0.38400000000000001</c:v>
                </c:pt>
                <c:pt idx="5">
                  <c:v>1.3140000000000001</c:v>
                </c:pt>
                <c:pt idx="6">
                  <c:v>1.165</c:v>
                </c:pt>
              </c:numCache>
            </c:numRef>
          </c:yVal>
          <c:bubbleSize>
            <c:numRef>
              <c:f>Sheet1!$C$2:$C$8</c:f>
              <c:numCache>
                <c:formatCode>General</c:formatCode>
                <c:ptCount val="7"/>
                <c:pt idx="0">
                  <c:v>198298</c:v>
                </c:pt>
                <c:pt idx="1">
                  <c:v>61118</c:v>
                </c:pt>
                <c:pt idx="2">
                  <c:v>11747</c:v>
                </c:pt>
                <c:pt idx="3">
                  <c:v>8557</c:v>
                </c:pt>
                <c:pt idx="4">
                  <c:v>8269</c:v>
                </c:pt>
                <c:pt idx="5">
                  <c:v>3115</c:v>
                </c:pt>
                <c:pt idx="6">
                  <c:v>3014</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Pernod Ricard</c:v>
                  </c:pt>
                  <c:pt idx="6">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2"/>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A24669-E470-4171-BAC0-0C75764DF3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282F0C-C9D0-477E-8F5F-9DE2A13E83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D55C5F-3942-4695-9A3B-350AF26039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B838DD-52BA-4755-AEC8-28CCC149F0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3BB1CB-C920-40D3-BE2E-231E6A4484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E4AE1C-705D-4671-8637-94DA7D3CF4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B252F3-5248-466E-895C-D8E4A8F13E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2DFB7D-6E1F-4A80-A8C3-E1A16333F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5.96610000000001</c:v>
                </c:pt>
                <c:pt idx="1">
                  <c:v>157.21260000000001</c:v>
                </c:pt>
                <c:pt idx="2">
                  <c:v>39.217599999999997</c:v>
                </c:pt>
                <c:pt idx="3">
                  <c:v>241.33330000000001</c:v>
                </c:pt>
                <c:pt idx="4">
                  <c:v>65.263900000000007</c:v>
                </c:pt>
                <c:pt idx="5">
                  <c:v>300.57139999999998</c:v>
                </c:pt>
                <c:pt idx="6">
                  <c:v>253.21430000000001</c:v>
                </c:pt>
                <c:pt idx="7">
                  <c:v>223.27269999999999</c:v>
                </c:pt>
              </c:numCache>
            </c:numRef>
          </c:xVal>
          <c:yVal>
            <c:numRef>
              <c:f>Sheet1!$B$2:$B$9</c:f>
              <c:numCache>
                <c:formatCode>General</c:formatCode>
                <c:ptCount val="8"/>
                <c:pt idx="0">
                  <c:v>1.319</c:v>
                </c:pt>
                <c:pt idx="1">
                  <c:v>0.93799999999999994</c:v>
                </c:pt>
                <c:pt idx="2">
                  <c:v>0.26800000000000002</c:v>
                </c:pt>
                <c:pt idx="3">
                  <c:v>1.3640000000000001</c:v>
                </c:pt>
                <c:pt idx="4">
                  <c:v>0.432</c:v>
                </c:pt>
                <c:pt idx="5">
                  <c:v>1.754</c:v>
                </c:pt>
                <c:pt idx="6">
                  <c:v>1.4770000000000001</c:v>
                </c:pt>
                <c:pt idx="7">
                  <c:v>1.21</c:v>
                </c:pt>
              </c:numCache>
            </c:numRef>
          </c:yVal>
          <c:bubbleSize>
            <c:numRef>
              <c:f>Sheet1!$C$2:$C$9</c:f>
              <c:numCache>
                <c:formatCode>General</c:formatCode>
                <c:ptCount val="8"/>
                <c:pt idx="0">
                  <c:v>98375</c:v>
                </c:pt>
                <c:pt idx="1">
                  <c:v>27355</c:v>
                </c:pt>
                <c:pt idx="2">
                  <c:v>7569</c:v>
                </c:pt>
                <c:pt idx="3">
                  <c:v>5792</c:v>
                </c:pt>
                <c:pt idx="4">
                  <c:v>4699</c:v>
                </c:pt>
                <c:pt idx="5">
                  <c:v>4208</c:v>
                </c:pt>
                <c:pt idx="6">
                  <c:v>3545</c:v>
                </c:pt>
                <c:pt idx="7">
                  <c:v>2456</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Epi</c:v>
                  </c:pt>
                  <c:pt idx="6">
                    <c:v>Vranken Pommery</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1"/>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5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A191D92-7CA1-48D5-AF54-4BD2F69B2F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9EBDCC5-8D7B-4194-9226-B49A3CA7DA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E77155F-C3D1-4B82-9EBA-09C9FAA2EC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9F399818-2A78-4B63-B4A5-1CFA45A9A9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0E4B57D-F941-4546-89ED-E1F12F6587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C1DC6B7-846B-4E3C-96DC-275F54963B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CCAFDFA-844D-4117-B94D-135429408E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92AD4FE-E576-4474-B673-219694F6C9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99299999999999</c:v>
                </c:pt>
                <c:pt idx="1">
                  <c:v>11.4146</c:v>
                </c:pt>
              </c:numCache>
            </c:numRef>
          </c:xVal>
          <c:yVal>
            <c:numRef>
              <c:f>Sheet1!$B$2:$B$3</c:f>
              <c:numCache>
                <c:formatCode>General</c:formatCode>
                <c:ptCount val="2"/>
                <c:pt idx="0">
                  <c:v>1.766</c:v>
                </c:pt>
                <c:pt idx="1">
                  <c:v>0.69199999999999995</c:v>
                </c:pt>
              </c:numCache>
            </c:numRef>
          </c:yVal>
          <c:bubbleSize>
            <c:numRef>
              <c:f>Sheet1!$C$2:$C$3</c:f>
              <c:numCache>
                <c:formatCode>General</c:formatCode>
                <c:ptCount val="2"/>
                <c:pt idx="0">
                  <c:v>52466</c:v>
                </c:pt>
                <c:pt idx="1">
                  <c:v>43330</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3CB3FF-3278-4FB1-8278-074BDBCF65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689DD8-77CF-42B2-B572-0AA58EBD27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200579-1632-4140-8972-D263F548AD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CD2EE9-1D21-421F-BFC8-65CA26B8DA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B9EEF7-3CD2-45B3-ACEA-D2BDDB2524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F74152-8161-4A4D-988B-FC3C512DAE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8AA0E0-2295-46F3-95C7-F92AED95B7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A9A099-15BC-4EA8-9018-FDD9E54CB3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5.55289999999999</c:v>
                </c:pt>
                <c:pt idx="1">
                  <c:v>167.41409999999999</c:v>
                </c:pt>
                <c:pt idx="2">
                  <c:v>37.205300000000001</c:v>
                </c:pt>
                <c:pt idx="3">
                  <c:v>236.89070000000001</c:v>
                </c:pt>
                <c:pt idx="4">
                  <c:v>62.492800000000003</c:v>
                </c:pt>
                <c:pt idx="5">
                  <c:v>262.91759999999999</c:v>
                </c:pt>
                <c:pt idx="6">
                  <c:v>267.70890000000003</c:v>
                </c:pt>
                <c:pt idx="7">
                  <c:v>267.21429999999998</c:v>
                </c:pt>
              </c:numCache>
            </c:numRef>
          </c:xVal>
          <c:yVal>
            <c:numRef>
              <c:f>Sheet1!$B$2:$B$9</c:f>
              <c:numCache>
                <c:formatCode>General</c:formatCode>
                <c:ptCount val="8"/>
                <c:pt idx="0">
                  <c:v>1.45</c:v>
                </c:pt>
                <c:pt idx="1">
                  <c:v>1.222</c:v>
                </c:pt>
                <c:pt idx="2">
                  <c:v>0.27700000000000002</c:v>
                </c:pt>
                <c:pt idx="3">
                  <c:v>1.69</c:v>
                </c:pt>
                <c:pt idx="4">
                  <c:v>0.46300000000000002</c:v>
                </c:pt>
                <c:pt idx="5">
                  <c:v>1.605</c:v>
                </c:pt>
                <c:pt idx="6">
                  <c:v>1.6919999999999999</c:v>
                </c:pt>
                <c:pt idx="7">
                  <c:v>1.637</c:v>
                </c:pt>
              </c:numCache>
            </c:numRef>
          </c:yVal>
          <c:bubbleSize>
            <c:numRef>
              <c:f>Sheet1!$C$2:$C$9</c:f>
              <c:numCache>
                <c:formatCode>General</c:formatCode>
                <c:ptCount val="8"/>
                <c:pt idx="0">
                  <c:v>917143</c:v>
                </c:pt>
                <c:pt idx="1">
                  <c:v>458045</c:v>
                </c:pt>
                <c:pt idx="2">
                  <c:v>138478</c:v>
                </c:pt>
                <c:pt idx="3">
                  <c:v>58512</c:v>
                </c:pt>
                <c:pt idx="4">
                  <c:v>51869</c:v>
                </c:pt>
                <c:pt idx="5">
                  <c:v>22348</c:v>
                </c:pt>
                <c:pt idx="6">
                  <c:v>21149</c:v>
                </c:pt>
                <c:pt idx="7">
                  <c:v>1870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Vranken Pommery</c:v>
                  </c:pt>
                  <c:pt idx="6">
                    <c:v>Epi</c:v>
                  </c:pt>
                  <c:pt idx="7">
                    <c:v>Pernod Ric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1"/>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E18DCD-05B1-41AA-8A4F-C9BE6C1D48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913AF8-9C6E-4AC5-B07F-7E8201AEAD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B269A9-A504-4889-B1CB-E7F4A8B95E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023865-8FFE-4C25-AC84-4913318C20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7ED94C-DF42-48D8-963E-0AFF1C6402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FE88A8-BF60-4AEB-B5FE-7567FEEBA2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1F9402-09C3-487A-A174-CB0DF60CD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69BA459-C44F-4ACE-92BE-243729DF70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8.9068</c:v>
                </c:pt>
                <c:pt idx="1">
                  <c:v>204.5564</c:v>
                </c:pt>
                <c:pt idx="2">
                  <c:v>37.682400000000001</c:v>
                </c:pt>
                <c:pt idx="3">
                  <c:v>264.74290000000002</c:v>
                </c:pt>
                <c:pt idx="4">
                  <c:v>245.7576</c:v>
                </c:pt>
                <c:pt idx="5">
                  <c:v>274.2593</c:v>
                </c:pt>
                <c:pt idx="6">
                  <c:v>65.481899999999996</c:v>
                </c:pt>
              </c:numCache>
            </c:numRef>
          </c:xVal>
          <c:yVal>
            <c:numRef>
              <c:f>Sheet1!$B$2:$B$8</c:f>
              <c:numCache>
                <c:formatCode>General</c:formatCode>
                <c:ptCount val="7"/>
                <c:pt idx="0">
                  <c:v>1.2310000000000001</c:v>
                </c:pt>
                <c:pt idx="1">
                  <c:v>1.1220000000000001</c:v>
                </c:pt>
                <c:pt idx="2">
                  <c:v>0.219</c:v>
                </c:pt>
                <c:pt idx="3">
                  <c:v>1.327</c:v>
                </c:pt>
                <c:pt idx="4">
                  <c:v>1.2</c:v>
                </c:pt>
                <c:pt idx="5">
                  <c:v>1.3149999999999999</c:v>
                </c:pt>
                <c:pt idx="6">
                  <c:v>0.35</c:v>
                </c:pt>
              </c:numCache>
            </c:numRef>
          </c:yVal>
          <c:bubbleSize>
            <c:numRef>
              <c:f>Sheet1!$C$2:$C$8</c:f>
              <c:numCache>
                <c:formatCode>General</c:formatCode>
                <c:ptCount val="7"/>
                <c:pt idx="0">
                  <c:v>206648</c:v>
                </c:pt>
                <c:pt idx="1">
                  <c:v>81618</c:v>
                </c:pt>
                <c:pt idx="2">
                  <c:v>11983</c:v>
                </c:pt>
                <c:pt idx="3">
                  <c:v>9266</c:v>
                </c:pt>
                <c:pt idx="4">
                  <c:v>8110</c:v>
                </c:pt>
                <c:pt idx="5">
                  <c:v>7405</c:v>
                </c:pt>
                <c:pt idx="6">
                  <c:v>543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Pernod Ricard</c:v>
                  </c:pt>
                  <c:pt idx="4">
                    <c:v>Bollinger</c:v>
                  </c:pt>
                  <c:pt idx="5">
                    <c:v>Epi</c:v>
                  </c:pt>
                  <c:pt idx="6">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E3C712-8EA8-4D00-836A-283D542262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9C8CA4-320A-4664-9C1C-FA8F583785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0E5C4D-7A02-445F-9352-99AA1AAA83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C3F573-067E-45D8-986D-C0D9BF57A7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D12DBE8-4638-4A2C-B260-4FCD32E11A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85BCCE-FA60-48D9-8B5F-C08F27C0FB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02BBDA-61D7-4E06-A52E-386C93D8DF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95BAEE-8BBB-406C-BEF5-E7A2020B3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5.798</c:v>
                </c:pt>
                <c:pt idx="1">
                  <c:v>161.57050000000001</c:v>
                </c:pt>
                <c:pt idx="2">
                  <c:v>38.633200000000002</c:v>
                </c:pt>
                <c:pt idx="3">
                  <c:v>65.814800000000005</c:v>
                </c:pt>
                <c:pt idx="4">
                  <c:v>307.44439999999997</c:v>
                </c:pt>
                <c:pt idx="5">
                  <c:v>272.39999999999998</c:v>
                </c:pt>
                <c:pt idx="6">
                  <c:v>235.4545</c:v>
                </c:pt>
                <c:pt idx="7">
                  <c:v>387.6</c:v>
                </c:pt>
              </c:numCache>
            </c:numRef>
          </c:xVal>
          <c:yVal>
            <c:numRef>
              <c:f>Sheet1!$B$2:$B$9</c:f>
              <c:numCache>
                <c:formatCode>General</c:formatCode>
                <c:ptCount val="8"/>
                <c:pt idx="0">
                  <c:v>1.375</c:v>
                </c:pt>
                <c:pt idx="1">
                  <c:v>0.99099999999999999</c:v>
                </c:pt>
                <c:pt idx="2">
                  <c:v>0.27</c:v>
                </c:pt>
                <c:pt idx="3">
                  <c:v>0.41899999999999998</c:v>
                </c:pt>
                <c:pt idx="4">
                  <c:v>1.849</c:v>
                </c:pt>
                <c:pt idx="5">
                  <c:v>1.456</c:v>
                </c:pt>
                <c:pt idx="6">
                  <c:v>1.3839999999999999</c:v>
                </c:pt>
                <c:pt idx="7">
                  <c:v>2.0720000000000001</c:v>
                </c:pt>
              </c:numCache>
            </c:numRef>
          </c:yVal>
          <c:bubbleSize>
            <c:numRef>
              <c:f>Sheet1!$C$2:$C$9</c:f>
              <c:numCache>
                <c:formatCode>General</c:formatCode>
                <c:ptCount val="8"/>
                <c:pt idx="0">
                  <c:v>100841</c:v>
                </c:pt>
                <c:pt idx="1">
                  <c:v>25205</c:v>
                </c:pt>
                <c:pt idx="2">
                  <c:v>8847</c:v>
                </c:pt>
                <c:pt idx="3">
                  <c:v>5331</c:v>
                </c:pt>
                <c:pt idx="4">
                  <c:v>2767</c:v>
                </c:pt>
                <c:pt idx="5">
                  <c:v>2724</c:v>
                </c:pt>
                <c:pt idx="6">
                  <c:v>2590</c:v>
                </c:pt>
                <c:pt idx="7">
                  <c:v>193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Vranken Pommery</c:v>
                  </c:pt>
                  <c:pt idx="5">
                    <c:v>Epi</c:v>
                  </c:pt>
                  <c:pt idx="6">
                    <c:v>Bollinger</c:v>
                  </c:pt>
                  <c:pt idx="7">
                    <c:v>Pernod Ric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5"/>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72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A8FCCB-D043-4179-93CB-FBA5E71AA3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ADC533-F5D1-446C-9FFD-C040715CA8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C38D76-621E-44B5-98B1-3255CF4B03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DBDC0D-2227-4925-A700-A24E04446A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566434-BF8C-479C-9A75-514533390A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73762B-51D9-4D02-BAF4-8EF1A7E0D5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00BB68-81FA-407A-8C91-CC074E9DA0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E4E1C4-BCF9-41DE-9395-D072DA86D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4.90799999999999</c:v>
                </c:pt>
                <c:pt idx="1">
                  <c:v>208.47620000000001</c:v>
                </c:pt>
                <c:pt idx="2">
                  <c:v>39.538499999999999</c:v>
                </c:pt>
                <c:pt idx="3">
                  <c:v>68.75</c:v>
                </c:pt>
                <c:pt idx="4">
                  <c:v>236</c:v>
                </c:pt>
                <c:pt idx="5">
                  <c:v>198.57140000000001</c:v>
                </c:pt>
                <c:pt idx="6">
                  <c:v>246.25</c:v>
                </c:pt>
                <c:pt idx="7">
                  <c:v>246</c:v>
                </c:pt>
              </c:numCache>
            </c:numRef>
          </c:xVal>
          <c:yVal>
            <c:numRef>
              <c:f>Sheet1!$B$2:$B$9</c:f>
              <c:numCache>
                <c:formatCode>General</c:formatCode>
                <c:ptCount val="8"/>
                <c:pt idx="0">
                  <c:v>1.327</c:v>
                </c:pt>
                <c:pt idx="1">
                  <c:v>1.24</c:v>
                </c:pt>
                <c:pt idx="2">
                  <c:v>0.26100000000000001</c:v>
                </c:pt>
                <c:pt idx="3">
                  <c:v>0.443</c:v>
                </c:pt>
                <c:pt idx="4">
                  <c:v>1.248</c:v>
                </c:pt>
                <c:pt idx="5">
                  <c:v>1.2250000000000001</c:v>
                </c:pt>
                <c:pt idx="6">
                  <c:v>1.302</c:v>
                </c:pt>
                <c:pt idx="7">
                  <c:v>1.3009999999999999</c:v>
                </c:pt>
              </c:numCache>
            </c:numRef>
          </c:yVal>
          <c:bubbleSize>
            <c:numRef>
              <c:f>Sheet1!$C$2:$C$9</c:f>
              <c:numCache>
                <c:formatCode>General</c:formatCode>
                <c:ptCount val="8"/>
                <c:pt idx="0">
                  <c:v>37394</c:v>
                </c:pt>
                <c:pt idx="1">
                  <c:v>13134</c:v>
                </c:pt>
                <c:pt idx="2">
                  <c:v>3598</c:v>
                </c:pt>
                <c:pt idx="3">
                  <c:v>1925</c:v>
                </c:pt>
                <c:pt idx="4">
                  <c:v>1652</c:v>
                </c:pt>
                <c:pt idx="5">
                  <c:v>1390</c:v>
                </c:pt>
                <c:pt idx="6">
                  <c:v>985</c:v>
                </c:pt>
                <c:pt idx="7">
                  <c:v>73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Bollinger</c:v>
                  </c:pt>
                  <c:pt idx="5">
                    <c:v>Vranken Pommery</c:v>
                  </c:pt>
                  <c:pt idx="6">
                    <c:v>Epi</c:v>
                  </c:pt>
                  <c:pt idx="7">
                    <c:v>Pernod Ric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6"/>
          <c:min val="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CB211D-AD25-4B5F-9528-D9918ABA62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E7A417-CE7D-441F-A66E-492F7AEF89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41ACDD-7390-4DC0-9E30-4EC5A6CA19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D08826-1B2D-40ED-BEFA-ADD65BE5A3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A0FBD8-2AB2-4E87-A59C-5A0BD9B7DC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7E63CF-8585-4C4A-B21E-4E5C61E77A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18BCEF5-9F05-41E4-B973-0F3CC83CAA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ED0C8C-B953-427D-BC77-82B2F2D25D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9.22970000000001</c:v>
                </c:pt>
                <c:pt idx="1">
                  <c:v>147.25739999999999</c:v>
                </c:pt>
                <c:pt idx="2">
                  <c:v>38.807899999999997</c:v>
                </c:pt>
                <c:pt idx="3">
                  <c:v>255.3158</c:v>
                </c:pt>
                <c:pt idx="4">
                  <c:v>67.7</c:v>
                </c:pt>
                <c:pt idx="5">
                  <c:v>218.27269999999999</c:v>
                </c:pt>
                <c:pt idx="6">
                  <c:v>341.1429</c:v>
                </c:pt>
                <c:pt idx="7">
                  <c:v>143.07140000000001</c:v>
                </c:pt>
              </c:numCache>
            </c:numRef>
          </c:xVal>
          <c:yVal>
            <c:numRef>
              <c:f>Sheet1!$B$2:$B$9</c:f>
              <c:numCache>
                <c:formatCode>General</c:formatCode>
                <c:ptCount val="8"/>
                <c:pt idx="0">
                  <c:v>1.571</c:v>
                </c:pt>
                <c:pt idx="1">
                  <c:v>1.107</c:v>
                </c:pt>
                <c:pt idx="2">
                  <c:v>0.34100000000000003</c:v>
                </c:pt>
                <c:pt idx="3">
                  <c:v>1.976</c:v>
                </c:pt>
                <c:pt idx="4">
                  <c:v>0.52100000000000002</c:v>
                </c:pt>
                <c:pt idx="5">
                  <c:v>1.5109999999999999</c:v>
                </c:pt>
                <c:pt idx="6">
                  <c:v>2.3620000000000001</c:v>
                </c:pt>
                <c:pt idx="7">
                  <c:v>0.99099999999999999</c:v>
                </c:pt>
              </c:numCache>
            </c:numRef>
          </c:yVal>
          <c:bubbleSize>
            <c:numRef>
              <c:f>Sheet1!$C$2:$C$9</c:f>
              <c:numCache>
                <c:formatCode>General</c:formatCode>
                <c:ptCount val="8"/>
                <c:pt idx="0">
                  <c:v>29486</c:v>
                </c:pt>
                <c:pt idx="1">
                  <c:v>14873</c:v>
                </c:pt>
                <c:pt idx="2">
                  <c:v>5860</c:v>
                </c:pt>
                <c:pt idx="3">
                  <c:v>4851</c:v>
                </c:pt>
                <c:pt idx="4">
                  <c:v>2708</c:v>
                </c:pt>
                <c:pt idx="5">
                  <c:v>2401</c:v>
                </c:pt>
                <c:pt idx="6">
                  <c:v>2388</c:v>
                </c:pt>
                <c:pt idx="7">
                  <c:v>200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Pernod Ricard</c:v>
                  </c:pt>
                  <c:pt idx="6">
                    <c:v>Epi</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9"/>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5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32B86C-9CFE-4FCB-A8C6-1662B179E3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C15F49-7DB3-45D8-A7FC-5B06D59AF5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503A07-1AA4-4586-9362-81965C8AD8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1DE9A1-AC38-4EA8-B1AF-4428BF566E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3E0720-9A06-4EE4-90E3-D5727EF062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3414A9-C360-490F-8818-1C4C393B62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A329EE-68E9-45C0-A30C-E7369910E8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44024FF-460C-4B70-97AA-7A34AA94C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2.60810000000001</c:v>
                </c:pt>
                <c:pt idx="1">
                  <c:v>184.46119999999999</c:v>
                </c:pt>
                <c:pt idx="2">
                  <c:v>37.124699999999997</c:v>
                </c:pt>
                <c:pt idx="3">
                  <c:v>62.449199999999998</c:v>
                </c:pt>
                <c:pt idx="4">
                  <c:v>240.72479999999999</c:v>
                </c:pt>
                <c:pt idx="5">
                  <c:v>255.81819999999999</c:v>
                </c:pt>
                <c:pt idx="6">
                  <c:v>322.5385</c:v>
                </c:pt>
              </c:numCache>
            </c:numRef>
          </c:xVal>
          <c:yVal>
            <c:numRef>
              <c:f>Sheet1!$B$2:$B$8</c:f>
              <c:numCache>
                <c:formatCode>General</c:formatCode>
                <c:ptCount val="7"/>
                <c:pt idx="0">
                  <c:v>1.3420000000000001</c:v>
                </c:pt>
                <c:pt idx="1">
                  <c:v>1.143</c:v>
                </c:pt>
                <c:pt idx="2">
                  <c:v>0.23799999999999999</c:v>
                </c:pt>
                <c:pt idx="3">
                  <c:v>0.4</c:v>
                </c:pt>
                <c:pt idx="4">
                  <c:v>1.355</c:v>
                </c:pt>
                <c:pt idx="5">
                  <c:v>1.371</c:v>
                </c:pt>
                <c:pt idx="6">
                  <c:v>1.3420000000000001</c:v>
                </c:pt>
              </c:numCache>
            </c:numRef>
          </c:yVal>
          <c:bubbleSize>
            <c:numRef>
              <c:f>Sheet1!$C$2:$C$8</c:f>
              <c:numCache>
                <c:formatCode>General</c:formatCode>
                <c:ptCount val="7"/>
                <c:pt idx="0">
                  <c:v>585310</c:v>
                </c:pt>
                <c:pt idx="1">
                  <c:v>273556</c:v>
                </c:pt>
                <c:pt idx="2">
                  <c:v>47037</c:v>
                </c:pt>
                <c:pt idx="3">
                  <c:v>29476</c:v>
                </c:pt>
                <c:pt idx="4">
                  <c:v>26239</c:v>
                </c:pt>
                <c:pt idx="5">
                  <c:v>19698</c:v>
                </c:pt>
                <c:pt idx="6">
                  <c:v>12579</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Bollinger</c:v>
                  </c:pt>
                  <c:pt idx="5">
                    <c:v>Pernod Ricard</c:v>
                  </c:pt>
                  <c:pt idx="6">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7"/>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1238CD-B44B-430F-89DA-8B96D36ADE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7D8B36-7527-4E81-9A74-88FC813EB2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F32016-FD29-4899-9D20-76F464FE35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251E0E-F351-4D24-89A4-C076AC9DC2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4737BC-F6F5-4F30-80B1-93AC961CCE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C56D7B-AFBC-4FCC-A698-10BD88D78E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17B0B79-D718-4561-92E1-88AE63947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69F7F4-664D-4E79-829A-763935B816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0.9853</c:v>
                </c:pt>
                <c:pt idx="1">
                  <c:v>156.2414</c:v>
                </c:pt>
                <c:pt idx="2">
                  <c:v>37.572499999999998</c:v>
                </c:pt>
                <c:pt idx="3">
                  <c:v>64.150199999999998</c:v>
                </c:pt>
                <c:pt idx="4">
                  <c:v>278.46809999999999</c:v>
                </c:pt>
                <c:pt idx="5">
                  <c:v>286.47370000000001</c:v>
                </c:pt>
              </c:numCache>
            </c:numRef>
          </c:xVal>
          <c:yVal>
            <c:numRef>
              <c:f>Sheet1!$B$2:$B$7</c:f>
              <c:numCache>
                <c:formatCode>General</c:formatCode>
                <c:ptCount val="6"/>
                <c:pt idx="0">
                  <c:v>1.4990000000000001</c:v>
                </c:pt>
                <c:pt idx="1">
                  <c:v>1.111</c:v>
                </c:pt>
                <c:pt idx="2">
                  <c:v>0.29199999999999998</c:v>
                </c:pt>
                <c:pt idx="3">
                  <c:v>0.48899999999999999</c:v>
                </c:pt>
                <c:pt idx="4">
                  <c:v>1.802</c:v>
                </c:pt>
                <c:pt idx="5">
                  <c:v>1.9670000000000001</c:v>
                </c:pt>
              </c:numCache>
            </c:numRef>
          </c:yVal>
          <c:bubbleSize>
            <c:numRef>
              <c:f>Sheet1!$C$2:$C$7</c:f>
              <c:numCache>
                <c:formatCode>General</c:formatCode>
                <c:ptCount val="6"/>
                <c:pt idx="0">
                  <c:v>178073</c:v>
                </c:pt>
                <c:pt idx="1">
                  <c:v>77027</c:v>
                </c:pt>
                <c:pt idx="2">
                  <c:v>25662</c:v>
                </c:pt>
                <c:pt idx="3">
                  <c:v>16230</c:v>
                </c:pt>
                <c:pt idx="4">
                  <c:v>13088</c:v>
                </c:pt>
                <c:pt idx="5">
                  <c:v>544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Bollinger</c:v>
                  </c:pt>
                  <c:pt idx="5">
                    <c:v>Ep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4"/>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6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DF4908-C5EC-4CA5-A98E-D20624020D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7EBDE2-FD2E-45BC-A6C1-D6A06D958B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45C354-1CAA-4D95-AFA8-FF1F02F9A6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1F9341-3E85-489F-9162-DFEC475A16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986CDB8-0A3C-4839-B199-5431965845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1B4566-013C-45CD-9F61-103EB575C2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2A1A9C-AF88-4F98-91FB-F860E5E4AC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DEF33B-8A66-44BF-8E30-464D42A9A8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9.60130000000001</c:v>
                </c:pt>
                <c:pt idx="1">
                  <c:v>165.7234</c:v>
                </c:pt>
                <c:pt idx="2">
                  <c:v>37.135100000000001</c:v>
                </c:pt>
                <c:pt idx="3">
                  <c:v>271.21949999999998</c:v>
                </c:pt>
                <c:pt idx="4">
                  <c:v>227.80430000000001</c:v>
                </c:pt>
                <c:pt idx="5">
                  <c:v>64.681399999999996</c:v>
                </c:pt>
                <c:pt idx="6">
                  <c:v>232.8065</c:v>
                </c:pt>
                <c:pt idx="7">
                  <c:v>309.1053</c:v>
                </c:pt>
              </c:numCache>
            </c:numRef>
          </c:xVal>
          <c:yVal>
            <c:numRef>
              <c:f>Sheet1!$B$2:$B$9</c:f>
              <c:numCache>
                <c:formatCode>General</c:formatCode>
                <c:ptCount val="8"/>
                <c:pt idx="0">
                  <c:v>1.37</c:v>
                </c:pt>
                <c:pt idx="1">
                  <c:v>1.163</c:v>
                </c:pt>
                <c:pt idx="2">
                  <c:v>0.27300000000000002</c:v>
                </c:pt>
                <c:pt idx="3">
                  <c:v>1.6559999999999999</c:v>
                </c:pt>
                <c:pt idx="4">
                  <c:v>1.375</c:v>
                </c:pt>
                <c:pt idx="5">
                  <c:v>0.46300000000000002</c:v>
                </c:pt>
                <c:pt idx="6">
                  <c:v>1.5289999999999999</c:v>
                </c:pt>
                <c:pt idx="7">
                  <c:v>1.7030000000000001</c:v>
                </c:pt>
              </c:numCache>
            </c:numRef>
          </c:yVal>
          <c:bubbleSize>
            <c:numRef>
              <c:f>Sheet1!$C$2:$C$9</c:f>
              <c:numCache>
                <c:formatCode>General</c:formatCode>
                <c:ptCount val="8"/>
                <c:pt idx="0">
                  <c:v>284402</c:v>
                </c:pt>
                <c:pt idx="1">
                  <c:v>129430</c:v>
                </c:pt>
                <c:pt idx="2">
                  <c:v>37655</c:v>
                </c:pt>
                <c:pt idx="3">
                  <c:v>11120</c:v>
                </c:pt>
                <c:pt idx="4">
                  <c:v>10479</c:v>
                </c:pt>
                <c:pt idx="5">
                  <c:v>7309</c:v>
                </c:pt>
                <c:pt idx="6">
                  <c:v>7217</c:v>
                </c:pt>
                <c:pt idx="7">
                  <c:v>587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Epi</c:v>
                  </c:pt>
                  <c:pt idx="4">
                    <c:v>Bollinger</c:v>
                  </c:pt>
                  <c:pt idx="5">
                    <c:v>Laurent Perrier</c:v>
                  </c:pt>
                  <c:pt idx="6">
                    <c:v>Vranken Pommery</c:v>
                  </c:pt>
                  <c:pt idx="7">
                    <c:v>Pernod Ric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1"/>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8EEE82-F282-4D9A-B085-E1A1BF3EFC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AA6DA1-14B5-45F8-AB25-80A2F3A94B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F33253-F41C-4BF2-958A-38E849460F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CE1CB7-719D-494E-80E8-3A0388077E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E4AD7B-AFE9-48A4-841E-1FC9FBF6E1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4F1361-16D5-4112-AD10-B3378B6E50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74C075-76FB-49A8-924F-DF227B0E4D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DAE711-B3D0-4D48-967B-0FD0116FB0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7.29089999999999</c:v>
                </c:pt>
                <c:pt idx="1">
                  <c:v>168.5444</c:v>
                </c:pt>
                <c:pt idx="2">
                  <c:v>37.530099999999997</c:v>
                </c:pt>
                <c:pt idx="3">
                  <c:v>229.54740000000001</c:v>
                </c:pt>
                <c:pt idx="4">
                  <c:v>65.619699999999995</c:v>
                </c:pt>
                <c:pt idx="5">
                  <c:v>241.26089999999999</c:v>
                </c:pt>
                <c:pt idx="6">
                  <c:v>304</c:v>
                </c:pt>
                <c:pt idx="7">
                  <c:v>247.94739999999999</c:v>
                </c:pt>
              </c:numCache>
            </c:numRef>
          </c:xVal>
          <c:yVal>
            <c:numRef>
              <c:f>Sheet1!$B$2:$B$9</c:f>
              <c:numCache>
                <c:formatCode>General</c:formatCode>
                <c:ptCount val="8"/>
                <c:pt idx="0">
                  <c:v>1.4410000000000001</c:v>
                </c:pt>
                <c:pt idx="1">
                  <c:v>1.206</c:v>
                </c:pt>
                <c:pt idx="2">
                  <c:v>0.29499999999999998</c:v>
                </c:pt>
                <c:pt idx="3">
                  <c:v>1.6319999999999999</c:v>
                </c:pt>
                <c:pt idx="4">
                  <c:v>0.48799999999999999</c:v>
                </c:pt>
                <c:pt idx="5">
                  <c:v>1.492</c:v>
                </c:pt>
                <c:pt idx="6">
                  <c:v>1.798</c:v>
                </c:pt>
                <c:pt idx="7">
                  <c:v>1.466</c:v>
                </c:pt>
              </c:numCache>
            </c:numRef>
          </c:yVal>
          <c:bubbleSize>
            <c:numRef>
              <c:f>Sheet1!$C$2:$C$9</c:f>
              <c:numCache>
                <c:formatCode>General</c:formatCode>
                <c:ptCount val="8"/>
                <c:pt idx="0">
                  <c:v>195719</c:v>
                </c:pt>
                <c:pt idx="1">
                  <c:v>87306</c:v>
                </c:pt>
                <c:pt idx="2">
                  <c:v>33627</c:v>
                </c:pt>
                <c:pt idx="3">
                  <c:v>21807</c:v>
                </c:pt>
                <c:pt idx="4">
                  <c:v>9318</c:v>
                </c:pt>
                <c:pt idx="5">
                  <c:v>5549</c:v>
                </c:pt>
                <c:pt idx="6">
                  <c:v>5168</c:v>
                </c:pt>
                <c:pt idx="7">
                  <c:v>4711</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Bollinger</c:v>
                  </c:pt>
                  <c:pt idx="4">
                    <c:v>Laurent Perrier</c:v>
                  </c:pt>
                  <c:pt idx="5">
                    <c:v>Vranken Pommery</c:v>
                  </c:pt>
                  <c:pt idx="6">
                    <c:v>Epi</c:v>
                  </c:pt>
                  <c:pt idx="7">
                    <c:v>Pernod Ric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5"/>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59A0A2-333F-4DF1-81F3-AF1A931C3F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9BEE86-B76B-421D-8EEF-62FA4DEBF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CFB65B-4F44-4315-B0CD-54DD8AB476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9B0524-FE41-49C5-A07C-0CB8DC51A3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4EBCD1-9D63-42D2-9100-31B0C23930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321C49-E1FA-43A9-8F26-ACB4F3DC4C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1400A9-7374-450E-BBA7-6F320FB802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7E9E1DD-16E5-41F2-83E2-2AF7BCE4FE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0.28559999999999</c:v>
                </c:pt>
                <c:pt idx="1">
                  <c:v>155.84129999999999</c:v>
                </c:pt>
                <c:pt idx="2">
                  <c:v>37.944800000000001</c:v>
                </c:pt>
                <c:pt idx="3">
                  <c:v>66.116100000000003</c:v>
                </c:pt>
                <c:pt idx="4">
                  <c:v>242.03229999999999</c:v>
                </c:pt>
                <c:pt idx="5">
                  <c:v>241.36840000000001</c:v>
                </c:pt>
                <c:pt idx="6">
                  <c:v>257.4667</c:v>
                </c:pt>
              </c:numCache>
            </c:numRef>
          </c:xVal>
          <c:yVal>
            <c:numRef>
              <c:f>Sheet1!$B$2:$B$8</c:f>
              <c:numCache>
                <c:formatCode>General</c:formatCode>
                <c:ptCount val="7"/>
                <c:pt idx="0">
                  <c:v>1.621</c:v>
                </c:pt>
                <c:pt idx="1">
                  <c:v>1.286</c:v>
                </c:pt>
                <c:pt idx="2">
                  <c:v>0.35899999999999999</c:v>
                </c:pt>
                <c:pt idx="3">
                  <c:v>0.58199999999999996</c:v>
                </c:pt>
                <c:pt idx="4">
                  <c:v>1.9179999999999999</c:v>
                </c:pt>
                <c:pt idx="5">
                  <c:v>1.8240000000000001</c:v>
                </c:pt>
                <c:pt idx="6">
                  <c:v>1.843</c:v>
                </c:pt>
              </c:numCache>
            </c:numRef>
          </c:yVal>
          <c:bubbleSize>
            <c:numRef>
              <c:f>Sheet1!$C$2:$C$8</c:f>
              <c:numCache>
                <c:formatCode>General</c:formatCode>
                <c:ptCount val="7"/>
                <c:pt idx="0">
                  <c:v>167305</c:v>
                </c:pt>
                <c:pt idx="1">
                  <c:v>64830</c:v>
                </c:pt>
                <c:pt idx="2">
                  <c:v>45344</c:v>
                </c:pt>
                <c:pt idx="3">
                  <c:v>10248</c:v>
                </c:pt>
                <c:pt idx="4">
                  <c:v>7503</c:v>
                </c:pt>
                <c:pt idx="5">
                  <c:v>4586</c:v>
                </c:pt>
                <c:pt idx="6">
                  <c:v>3862</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c:v>
                  </c:pt>
                  <c:pt idx="3">
                    <c:v>Laurent Perrier</c:v>
                  </c:pt>
                  <c:pt idx="4">
                    <c:v>Bollinger</c:v>
                  </c:pt>
                  <c:pt idx="5">
                    <c:v>Epi</c:v>
                  </c:pt>
                  <c:pt idx="6">
                    <c:v>Vranken Pomme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9"/>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1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DEDECD-2066-4124-A969-F2A7F638EF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C19705-7F7D-4AAA-BBBA-DC1C1F7185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CE3D34-BC72-436D-9357-32E1EBA1C5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58C79B-30E7-49A3-B2EF-43D176FD9A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01F18F-4ACC-4C7C-A4DA-DCDFAA6AF6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25ED9E-EF05-4A0F-A304-FAB3B2FB3C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50C903-43DF-4AA6-8ED7-3E7F000239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7B4477-2FFE-42EB-9B33-1286DC0CDE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4.606999999999999</c:v>
                </c:pt>
                <c:pt idx="1">
                  <c:v>50.238399999999999</c:v>
                </c:pt>
                <c:pt idx="2">
                  <c:v>52.996000000000002</c:v>
                </c:pt>
                <c:pt idx="3">
                  <c:v>23.661899999999999</c:v>
                </c:pt>
                <c:pt idx="4">
                  <c:v>95.832400000000007</c:v>
                </c:pt>
                <c:pt idx="5">
                  <c:v>31.808399999999999</c:v>
                </c:pt>
                <c:pt idx="6">
                  <c:v>32.778799999999997</c:v>
                </c:pt>
                <c:pt idx="7">
                  <c:v>287.9796</c:v>
                </c:pt>
              </c:numCache>
            </c:numRef>
          </c:xVal>
          <c:yVal>
            <c:numRef>
              <c:f>Sheet1!$B$2:$B$9</c:f>
              <c:numCache>
                <c:formatCode>General</c:formatCode>
                <c:ptCount val="8"/>
                <c:pt idx="0">
                  <c:v>1.7290000000000001</c:v>
                </c:pt>
                <c:pt idx="1">
                  <c:v>1.1479999999999999</c:v>
                </c:pt>
                <c:pt idx="2">
                  <c:v>1.1180000000000001</c:v>
                </c:pt>
                <c:pt idx="3">
                  <c:v>0.55800000000000005</c:v>
                </c:pt>
                <c:pt idx="4">
                  <c:v>2.2170000000000001</c:v>
                </c:pt>
                <c:pt idx="5">
                  <c:v>0.745</c:v>
                </c:pt>
                <c:pt idx="6">
                  <c:v>0.751</c:v>
                </c:pt>
                <c:pt idx="7">
                  <c:v>6.57</c:v>
                </c:pt>
              </c:numCache>
            </c:numRef>
          </c:yVal>
          <c:bubbleSize>
            <c:numRef>
              <c:f>Sheet1!$C$2:$C$9</c:f>
              <c:numCache>
                <c:formatCode>General</c:formatCode>
                <c:ptCount val="8"/>
                <c:pt idx="0">
                  <c:v>1590547</c:v>
                </c:pt>
                <c:pt idx="1">
                  <c:v>430995</c:v>
                </c:pt>
                <c:pt idx="2">
                  <c:v>366626</c:v>
                </c:pt>
                <c:pt idx="3">
                  <c:v>343168</c:v>
                </c:pt>
                <c:pt idx="4">
                  <c:v>228081</c:v>
                </c:pt>
                <c:pt idx="5">
                  <c:v>210031</c:v>
                </c:pt>
                <c:pt idx="6">
                  <c:v>199000</c:v>
                </c:pt>
                <c:pt idx="7">
                  <c:v>18315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Laurent Perrier</c:v>
                  </c:pt>
                  <c:pt idx="3">
                    <c:v>Nicolas</c:v>
                  </c:pt>
                  <c:pt idx="4">
                    <c:v>Roederer</c:v>
                  </c:pt>
                  <c:pt idx="5">
                    <c:v>Malard</c:v>
                  </c:pt>
                  <c:pt idx="6">
                    <c:v>Nicolas Feuillatte</c:v>
                  </c:pt>
                  <c:pt idx="7">
                    <c:v>Dom Perign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355465-BF77-409C-91E5-865EE8527B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3E7EF5-F941-4F59-AB3F-70740D6AC4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17C20A-B76D-4996-819E-9EDBFEDE01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966AC8-83A6-4100-AE39-710B87BD09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07D606-5855-4ACA-A389-871C194148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251C7A-B45E-4671-B18A-EAC35B91B1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2CFB8A-2EDD-4CEC-B3E2-DA23F800E8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FCFF2E-6747-492E-A13A-B2AB738370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8.593400000000003</c:v>
                </c:pt>
                <c:pt idx="1">
                  <c:v>23.808499999999999</c:v>
                </c:pt>
                <c:pt idx="2">
                  <c:v>50.115900000000003</c:v>
                </c:pt>
                <c:pt idx="3">
                  <c:v>31.6996</c:v>
                </c:pt>
                <c:pt idx="4">
                  <c:v>52.491900000000001</c:v>
                </c:pt>
                <c:pt idx="5">
                  <c:v>29.232500000000002</c:v>
                </c:pt>
                <c:pt idx="6">
                  <c:v>33.807899999999997</c:v>
                </c:pt>
                <c:pt idx="7">
                  <c:v>31.170300000000001</c:v>
                </c:pt>
              </c:numCache>
            </c:numRef>
          </c:xVal>
          <c:yVal>
            <c:numRef>
              <c:f>Sheet1!$B$2:$B$9</c:f>
              <c:numCache>
                <c:formatCode>General</c:formatCode>
                <c:ptCount val="8"/>
                <c:pt idx="0">
                  <c:v>1.6279999999999999</c:v>
                </c:pt>
                <c:pt idx="1">
                  <c:v>0.57399999999999995</c:v>
                </c:pt>
                <c:pt idx="2">
                  <c:v>1.1639999999999999</c:v>
                </c:pt>
                <c:pt idx="3">
                  <c:v>0.76200000000000001</c:v>
                </c:pt>
                <c:pt idx="4">
                  <c:v>1.1220000000000001</c:v>
                </c:pt>
                <c:pt idx="5">
                  <c:v>0.70299999999999996</c:v>
                </c:pt>
                <c:pt idx="6">
                  <c:v>0.78200000000000003</c:v>
                </c:pt>
                <c:pt idx="7">
                  <c:v>0.749</c:v>
                </c:pt>
              </c:numCache>
            </c:numRef>
          </c:yVal>
          <c:bubbleSize>
            <c:numRef>
              <c:f>Sheet1!$C$2:$C$9</c:f>
              <c:numCache>
                <c:formatCode>General</c:formatCode>
                <c:ptCount val="8"/>
                <c:pt idx="0">
                  <c:v>2452284</c:v>
                </c:pt>
                <c:pt idx="1">
                  <c:v>1052215</c:v>
                </c:pt>
                <c:pt idx="2">
                  <c:v>800953</c:v>
                </c:pt>
                <c:pt idx="3">
                  <c:v>584730</c:v>
                </c:pt>
                <c:pt idx="4">
                  <c:v>451798</c:v>
                </c:pt>
                <c:pt idx="5">
                  <c:v>367569</c:v>
                </c:pt>
                <c:pt idx="6">
                  <c:v>360663</c:v>
                </c:pt>
                <c:pt idx="7">
                  <c:v>351009</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Heidsieck &amp; Co Monopole</c:v>
                  </c:pt>
                  <c:pt idx="6">
                    <c:v>Nicolas Feuillatte</c:v>
                  </c:pt>
                  <c:pt idx="7">
                    <c:v>De Bli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9C76CB-BA54-4257-A5A3-7F75EDF28D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0C2E6A-30FC-4A83-82F9-6C6066B1DF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0B142E-5122-43FA-9A5E-B725A499C4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CCD618-B412-4D13-B965-877AABA60C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4A81F5-5BCA-49E3-BC09-384179864A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CC498A-A72A-441F-8D2A-EB5683DC25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EFBCD6-CBFB-4CF6-B7E8-0F6F5FB995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7C17C6-D67C-42AE-90FD-C0408C074A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27399999999999</c:v>
                </c:pt>
                <c:pt idx="1">
                  <c:v>32.021000000000001</c:v>
                </c:pt>
                <c:pt idx="2">
                  <c:v>62.957700000000003</c:v>
                </c:pt>
                <c:pt idx="3">
                  <c:v>32.944400000000002</c:v>
                </c:pt>
                <c:pt idx="4">
                  <c:v>28.646999999999998</c:v>
                </c:pt>
                <c:pt idx="5">
                  <c:v>36.854300000000002</c:v>
                </c:pt>
                <c:pt idx="6">
                  <c:v>26.394300000000001</c:v>
                </c:pt>
                <c:pt idx="7">
                  <c:v>31.0166</c:v>
                </c:pt>
              </c:numCache>
            </c:numRef>
          </c:xVal>
          <c:yVal>
            <c:numRef>
              <c:f>Sheet1!$B$2:$B$9</c:f>
              <c:numCache>
                <c:formatCode>General</c:formatCode>
                <c:ptCount val="8"/>
                <c:pt idx="0">
                  <c:v>0.94799999999999995</c:v>
                </c:pt>
                <c:pt idx="1">
                  <c:v>0.998</c:v>
                </c:pt>
                <c:pt idx="2">
                  <c:v>1.98</c:v>
                </c:pt>
                <c:pt idx="3">
                  <c:v>1.038</c:v>
                </c:pt>
                <c:pt idx="4">
                  <c:v>0.90800000000000003</c:v>
                </c:pt>
                <c:pt idx="5">
                  <c:v>1.169</c:v>
                </c:pt>
                <c:pt idx="6">
                  <c:v>0.83799999999999997</c:v>
                </c:pt>
                <c:pt idx="7">
                  <c:v>0.94599999999999995</c:v>
                </c:pt>
              </c:numCache>
            </c:numRef>
          </c:yVal>
          <c:bubbleSize>
            <c:numRef>
              <c:f>Sheet1!$C$2:$C$9</c:f>
              <c:numCache>
                <c:formatCode>General</c:formatCode>
                <c:ptCount val="8"/>
                <c:pt idx="0">
                  <c:v>11833795</c:v>
                </c:pt>
                <c:pt idx="1">
                  <c:v>5113789</c:v>
                </c:pt>
                <c:pt idx="2">
                  <c:v>4875253</c:v>
                </c:pt>
                <c:pt idx="3">
                  <c:v>4036279</c:v>
                </c:pt>
                <c:pt idx="4">
                  <c:v>3306117</c:v>
                </c:pt>
                <c:pt idx="5">
                  <c:v>2453762</c:v>
                </c:pt>
                <c:pt idx="6">
                  <c:v>1878563</c:v>
                </c:pt>
                <c:pt idx="7">
                  <c:v>1842294</c:v>
                </c:pt>
              </c:numCache>
            </c:numRef>
          </c:bubbleSize>
          <c:bubble3D val="0"/>
          <c:extLst>
            <c:ext xmlns:c15="http://schemas.microsoft.com/office/drawing/2012/chart" uri="{02D57815-91ED-43cb-92C2-25804820EDAC}">
              <c15:datalabelsRange>
                <c15:f>Sheet1!$E$2:$E$10</c15:f>
                <c15:dlblRangeCache>
                  <c:ptCount val="9"/>
                  <c:pt idx="0">
                    <c:v>Cfgv</c:v>
                  </c:pt>
                  <c:pt idx="1">
                    <c:v>Vranken Pommery</c:v>
                  </c:pt>
                  <c:pt idx="2">
                    <c:v>Mhcs</c:v>
                  </c:pt>
                  <c:pt idx="3">
                    <c:v>Lanson-Bcc</c:v>
                  </c:pt>
                  <c:pt idx="4">
                    <c:v>C&amp;C Sas France</c:v>
                  </c:pt>
                  <c:pt idx="5">
                    <c:v>Pernod Ricard</c:v>
                  </c:pt>
                  <c:pt idx="6">
                    <c:v>Maison Burtin</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80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A335DC-3F66-4BBB-8032-0B05C0F55F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CBB7A9-5902-45FB-B3F1-84DFA71019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16E2EF-97EE-43AE-892E-8CA060DBD8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A96CA6-254D-4A98-994B-37F58362BA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949CB4-382B-407E-926B-E64E9D66E0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759F36-8344-4E09-B43A-4CDCFED657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E00756-ED1F-4A28-8CAC-3745D1F290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CAC378-3811-4006-A1D2-C4E95C7AB4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9.631699999999995</c:v>
                </c:pt>
                <c:pt idx="1">
                  <c:v>60.246400000000001</c:v>
                </c:pt>
                <c:pt idx="2">
                  <c:v>40.531100000000002</c:v>
                </c:pt>
                <c:pt idx="3">
                  <c:v>26.826699999999999</c:v>
                </c:pt>
                <c:pt idx="4">
                  <c:v>81.242900000000006</c:v>
                </c:pt>
                <c:pt idx="5">
                  <c:v>37.790300000000002</c:v>
                </c:pt>
                <c:pt idx="6">
                  <c:v>41.337299999999999</c:v>
                </c:pt>
                <c:pt idx="7">
                  <c:v>36.3018</c:v>
                </c:pt>
              </c:numCache>
            </c:numRef>
          </c:xVal>
          <c:yVal>
            <c:numRef>
              <c:f>Sheet1!$B$2:$B$9</c:f>
              <c:numCache>
                <c:formatCode>General</c:formatCode>
                <c:ptCount val="8"/>
                <c:pt idx="0">
                  <c:v>1.78</c:v>
                </c:pt>
                <c:pt idx="1">
                  <c:v>1.196</c:v>
                </c:pt>
                <c:pt idx="2">
                  <c:v>0.71099999999999997</c:v>
                </c:pt>
                <c:pt idx="3">
                  <c:v>0.504</c:v>
                </c:pt>
                <c:pt idx="4">
                  <c:v>1.421</c:v>
                </c:pt>
                <c:pt idx="5">
                  <c:v>0.66200000000000003</c:v>
                </c:pt>
                <c:pt idx="6">
                  <c:v>0.86299999999999999</c:v>
                </c:pt>
                <c:pt idx="7">
                  <c:v>0.63500000000000001</c:v>
                </c:pt>
              </c:numCache>
            </c:numRef>
          </c:yVal>
          <c:bubbleSize>
            <c:numRef>
              <c:f>Sheet1!$C$2:$C$9</c:f>
              <c:numCache>
                <c:formatCode>General</c:formatCode>
                <c:ptCount val="8"/>
                <c:pt idx="0">
                  <c:v>1413674</c:v>
                </c:pt>
                <c:pt idx="1">
                  <c:v>690605</c:v>
                </c:pt>
                <c:pt idx="2">
                  <c:v>591024</c:v>
                </c:pt>
                <c:pt idx="3">
                  <c:v>415089</c:v>
                </c:pt>
                <c:pt idx="4">
                  <c:v>398659</c:v>
                </c:pt>
                <c:pt idx="5">
                  <c:v>237021</c:v>
                </c:pt>
                <c:pt idx="6">
                  <c:v>204661</c:v>
                </c:pt>
                <c:pt idx="7">
                  <c:v>18125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0"/>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97922F-8EDB-4FA9-B577-4E219129B4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B217D2-FFBA-409A-9D3F-B82B4DED2A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F0A789-7BE1-4C96-8D9F-F9213E7100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9926CD-5322-4B0E-8202-4EDB642718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E5B144-6D72-4292-8F86-08472DB92F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DFA9B1-BBA0-4661-A1AC-67239FFE2B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77A5BE-897B-42BB-85DC-A96D71D782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C00461-E988-4FA9-AB9E-F976B6444C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717</c:v>
                </c:pt>
                <c:pt idx="1">
                  <c:v>31.207100000000001</c:v>
                </c:pt>
                <c:pt idx="2">
                  <c:v>32.614100000000001</c:v>
                </c:pt>
                <c:pt idx="3">
                  <c:v>54.9084</c:v>
                </c:pt>
                <c:pt idx="4">
                  <c:v>28.646999999999998</c:v>
                </c:pt>
                <c:pt idx="5">
                  <c:v>36.527700000000003</c:v>
                </c:pt>
                <c:pt idx="6">
                  <c:v>26.394300000000001</c:v>
                </c:pt>
                <c:pt idx="7">
                  <c:v>26.513500000000001</c:v>
                </c:pt>
              </c:numCache>
            </c:numRef>
          </c:xVal>
          <c:yVal>
            <c:numRef>
              <c:f>Sheet1!$B$2:$B$9</c:f>
              <c:numCache>
                <c:formatCode>General</c:formatCode>
                <c:ptCount val="8"/>
                <c:pt idx="0">
                  <c:v>0.99</c:v>
                </c:pt>
                <c:pt idx="1">
                  <c:v>1.0169999999999999</c:v>
                </c:pt>
                <c:pt idx="2">
                  <c:v>1.069</c:v>
                </c:pt>
                <c:pt idx="3">
                  <c:v>1.7969999999999999</c:v>
                </c:pt>
                <c:pt idx="4">
                  <c:v>0.95099999999999996</c:v>
                </c:pt>
                <c:pt idx="5">
                  <c:v>1.214</c:v>
                </c:pt>
                <c:pt idx="6">
                  <c:v>0.878</c:v>
                </c:pt>
                <c:pt idx="7">
                  <c:v>0.84399999999999997</c:v>
                </c:pt>
              </c:numCache>
            </c:numRef>
          </c:yVal>
          <c:bubbleSize>
            <c:numRef>
              <c:f>Sheet1!$C$2:$C$9</c:f>
              <c:numCache>
                <c:formatCode>General</c:formatCode>
                <c:ptCount val="8"/>
                <c:pt idx="0">
                  <c:v>11598081</c:v>
                </c:pt>
                <c:pt idx="1">
                  <c:v>4529900</c:v>
                </c:pt>
                <c:pt idx="2">
                  <c:v>3832321</c:v>
                </c:pt>
                <c:pt idx="3">
                  <c:v>3468179</c:v>
                </c:pt>
                <c:pt idx="4">
                  <c:v>3306117</c:v>
                </c:pt>
                <c:pt idx="5">
                  <c:v>2420106</c:v>
                </c:pt>
                <c:pt idx="6">
                  <c:v>1878563</c:v>
                </c:pt>
                <c:pt idx="7">
                  <c:v>1443739</c:v>
                </c:pt>
              </c:numCache>
            </c:numRef>
          </c:bubbleSize>
          <c:bubble3D val="0"/>
          <c:extLst>
            <c:ext xmlns:c15="http://schemas.microsoft.com/office/drawing/2012/chart" uri="{02D57815-91ED-43cb-92C2-25804820EDAC}">
              <c15:datalabelsRange>
                <c15:f>Sheet1!$E$2:$E$10</c15:f>
                <c15:dlblRangeCache>
                  <c:ptCount val="9"/>
                  <c:pt idx="0">
                    <c:v>Cfgv</c:v>
                  </c:pt>
                  <c:pt idx="1">
                    <c:v>Vranken Pommery</c:v>
                  </c:pt>
                  <c:pt idx="2">
                    <c:v>Lanson-Bcc</c:v>
                  </c:pt>
                  <c:pt idx="3">
                    <c:v>Mhcs</c:v>
                  </c:pt>
                  <c:pt idx="4">
                    <c:v>C&amp;C Sas France</c:v>
                  </c:pt>
                  <c:pt idx="5">
                    <c:v>Pernod Ricard</c:v>
                  </c:pt>
                  <c:pt idx="6">
                    <c:v>Maison Burtin</c:v>
                  </c:pt>
                  <c:pt idx="7">
                    <c:v>Laurent Perr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5E4FE8-1E14-4148-87B1-134798C314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BB6011-52AD-4FE7-8A67-0D0EDA3674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BED88E-62C4-4829-83C9-C3BA3EB6CE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678DC9-DA0E-4536-A6A3-46FFFD2FF3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BE9493-D9EC-4E4F-8239-E6198A68FA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DC0180-E3E5-4129-8606-6335777CF0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E06B57-6550-43F3-ACC5-DFEE44280B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244D52-C94C-4E34-87FB-18A40160DD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878</c:v>
                </c:pt>
                <c:pt idx="1">
                  <c:v>58.924999999999997</c:v>
                </c:pt>
                <c:pt idx="2">
                  <c:v>40.274000000000001</c:v>
                </c:pt>
                <c:pt idx="3">
                  <c:v>26.687899999999999</c:v>
                </c:pt>
                <c:pt idx="4">
                  <c:v>80.448099999999997</c:v>
                </c:pt>
                <c:pt idx="5">
                  <c:v>37.557499999999997</c:v>
                </c:pt>
                <c:pt idx="6">
                  <c:v>40.275100000000002</c:v>
                </c:pt>
                <c:pt idx="7">
                  <c:v>35.996699999999997</c:v>
                </c:pt>
              </c:numCache>
            </c:numRef>
          </c:xVal>
          <c:yVal>
            <c:numRef>
              <c:f>Sheet1!$B$2:$B$9</c:f>
              <c:numCache>
                <c:formatCode>General</c:formatCode>
                <c:ptCount val="8"/>
                <c:pt idx="0">
                  <c:v>1.881</c:v>
                </c:pt>
                <c:pt idx="1">
                  <c:v>1.2010000000000001</c:v>
                </c:pt>
                <c:pt idx="2">
                  <c:v>0.71699999999999997</c:v>
                </c:pt>
                <c:pt idx="3">
                  <c:v>0.51300000000000001</c:v>
                </c:pt>
                <c:pt idx="4">
                  <c:v>1.43</c:v>
                </c:pt>
                <c:pt idx="5">
                  <c:v>0.66800000000000004</c:v>
                </c:pt>
                <c:pt idx="6">
                  <c:v>0.86699999999999999</c:v>
                </c:pt>
                <c:pt idx="7">
                  <c:v>0.64</c:v>
                </c:pt>
              </c:numCache>
            </c:numRef>
          </c:yVal>
          <c:bubbleSize>
            <c:numRef>
              <c:f>Sheet1!$C$2:$C$9</c:f>
              <c:numCache>
                <c:formatCode>General</c:formatCode>
                <c:ptCount val="8"/>
                <c:pt idx="0">
                  <c:v>572516</c:v>
                </c:pt>
                <c:pt idx="1">
                  <c:v>288261</c:v>
                </c:pt>
                <c:pt idx="2">
                  <c:v>258398</c:v>
                </c:pt>
                <c:pt idx="3">
                  <c:v>180357</c:v>
                </c:pt>
                <c:pt idx="4">
                  <c:v>149553</c:v>
                </c:pt>
                <c:pt idx="5">
                  <c:v>103471</c:v>
                </c:pt>
                <c:pt idx="6">
                  <c:v>96338</c:v>
                </c:pt>
                <c:pt idx="7">
                  <c:v>86320</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3"/>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8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D24A98-B2C2-488F-9C62-E2A823F6EF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F747E8-50CE-484D-8201-234D9F7482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81682E-CEED-490D-B64D-BB3090A0F5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475A7E-719A-40B9-977C-CCBB58B754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24BBF4-80FB-422E-8AD9-07580D18AC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14026F-11AF-4926-BC3B-3146EEB468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DC6E2F-3ACF-41CE-A2C4-10AF550335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D73D81-1755-44B0-9817-B4C7FEC011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2.3446</c:v>
                </c:pt>
                <c:pt idx="1">
                  <c:v>39.909100000000002</c:v>
                </c:pt>
                <c:pt idx="2">
                  <c:v>53.0456</c:v>
                </c:pt>
                <c:pt idx="3">
                  <c:v>26.510400000000001</c:v>
                </c:pt>
                <c:pt idx="4">
                  <c:v>81.043800000000005</c:v>
                </c:pt>
                <c:pt idx="5">
                  <c:v>37.565300000000001</c:v>
                </c:pt>
                <c:pt idx="6">
                  <c:v>41.231999999999999</c:v>
                </c:pt>
                <c:pt idx="7">
                  <c:v>36.067500000000003</c:v>
                </c:pt>
              </c:numCache>
            </c:numRef>
          </c:xVal>
          <c:yVal>
            <c:numRef>
              <c:f>Sheet1!$B$2:$B$9</c:f>
              <c:numCache>
                <c:formatCode>General</c:formatCode>
                <c:ptCount val="8"/>
                <c:pt idx="0">
                  <c:v>1.788</c:v>
                </c:pt>
                <c:pt idx="1">
                  <c:v>0.76400000000000001</c:v>
                </c:pt>
                <c:pt idx="2">
                  <c:v>1.1359999999999999</c:v>
                </c:pt>
                <c:pt idx="3">
                  <c:v>0.54100000000000004</c:v>
                </c:pt>
                <c:pt idx="4">
                  <c:v>1.5469999999999999</c:v>
                </c:pt>
                <c:pt idx="5">
                  <c:v>0.72099999999999997</c:v>
                </c:pt>
                <c:pt idx="6">
                  <c:v>0.93400000000000005</c:v>
                </c:pt>
                <c:pt idx="7">
                  <c:v>0.69499999999999995</c:v>
                </c:pt>
              </c:numCache>
            </c:numRef>
          </c:yVal>
          <c:bubbleSize>
            <c:numRef>
              <c:f>Sheet1!$C$2:$C$9</c:f>
              <c:numCache>
                <c:formatCode>General</c:formatCode>
                <c:ptCount val="8"/>
                <c:pt idx="0">
                  <c:v>267707</c:v>
                </c:pt>
                <c:pt idx="1">
                  <c:v>145828</c:v>
                </c:pt>
                <c:pt idx="2">
                  <c:v>125665</c:v>
                </c:pt>
                <c:pt idx="3">
                  <c:v>95729</c:v>
                </c:pt>
                <c:pt idx="4">
                  <c:v>68401</c:v>
                </c:pt>
                <c:pt idx="5">
                  <c:v>42261</c:v>
                </c:pt>
                <c:pt idx="6">
                  <c:v>40696</c:v>
                </c:pt>
                <c:pt idx="7">
                  <c:v>37943</c:v>
                </c:pt>
              </c:numCache>
            </c:numRef>
          </c:bubbleSize>
          <c:bubble3D val="0"/>
          <c:extLst>
            <c:ext xmlns:c15="http://schemas.microsoft.com/office/drawing/2012/chart" uri="{02D57815-91ED-43cb-92C2-25804820EDAC}">
              <c15:datalabelsRange>
                <c15:f>Sheet1!$E$2:$E$10</c15:f>
                <c15:dlblRangeCache>
                  <c:ptCount val="9"/>
                  <c:pt idx="0">
                    <c:v>Mhcs</c:v>
                  </c:pt>
                  <c:pt idx="1">
                    <c:v>Vranken Pommery</c:v>
                  </c:pt>
                  <c:pt idx="2">
                    <c:v>Roederer</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1"/>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8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91EC78-F35F-458F-8C06-553FC29A0F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BA2331-6B1A-4C73-A4F9-BDF5F90872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952072-7407-4859-B62A-4ADC65E9A2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0F366A-8DB2-4973-B35C-A0A2FFCA4B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8D28B8-B45B-42C2-B542-B26A433906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74098B-0225-40F3-9683-77C893DE52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00C0555-A06A-4A78-83FC-6FDB8E62F9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862770-21B8-41A8-953C-C96BE4FEBD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129900000000006</c:v>
                </c:pt>
                <c:pt idx="1">
                  <c:v>52.991900000000001</c:v>
                </c:pt>
                <c:pt idx="2">
                  <c:v>81.850300000000004</c:v>
                </c:pt>
                <c:pt idx="3">
                  <c:v>41.756999999999998</c:v>
                </c:pt>
                <c:pt idx="4">
                  <c:v>26.938700000000001</c:v>
                </c:pt>
                <c:pt idx="5">
                  <c:v>37.7181</c:v>
                </c:pt>
                <c:pt idx="6">
                  <c:v>41.338900000000002</c:v>
                </c:pt>
                <c:pt idx="7">
                  <c:v>36.402099999999997</c:v>
                </c:pt>
              </c:numCache>
            </c:numRef>
          </c:xVal>
          <c:yVal>
            <c:numRef>
              <c:f>Sheet1!$B$2:$B$9</c:f>
              <c:numCache>
                <c:formatCode>General</c:formatCode>
                <c:ptCount val="8"/>
                <c:pt idx="0">
                  <c:v>1.69</c:v>
                </c:pt>
                <c:pt idx="1">
                  <c:v>1.0509999999999999</c:v>
                </c:pt>
                <c:pt idx="2">
                  <c:v>1.4019999999999999</c:v>
                </c:pt>
                <c:pt idx="3">
                  <c:v>0.71699999999999997</c:v>
                </c:pt>
                <c:pt idx="4">
                  <c:v>0.50600000000000001</c:v>
                </c:pt>
                <c:pt idx="5">
                  <c:v>0.64400000000000002</c:v>
                </c:pt>
                <c:pt idx="6">
                  <c:v>0.85399999999999998</c:v>
                </c:pt>
                <c:pt idx="7">
                  <c:v>0.623</c:v>
                </c:pt>
              </c:numCache>
            </c:numRef>
          </c:yVal>
          <c:bubbleSize>
            <c:numRef>
              <c:f>Sheet1!$C$2:$C$9</c:f>
              <c:numCache>
                <c:formatCode>General</c:formatCode>
                <c:ptCount val="8"/>
                <c:pt idx="0">
                  <c:v>151020</c:v>
                </c:pt>
                <c:pt idx="1">
                  <c:v>72387</c:v>
                </c:pt>
                <c:pt idx="2">
                  <c:v>68345</c:v>
                </c:pt>
                <c:pt idx="3">
                  <c:v>50860</c:v>
                </c:pt>
                <c:pt idx="4">
                  <c:v>42644</c:v>
                </c:pt>
                <c:pt idx="5">
                  <c:v>33720</c:v>
                </c:pt>
                <c:pt idx="6">
                  <c:v>19884</c:v>
                </c:pt>
                <c:pt idx="7">
                  <c:v>1765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Laurent Perrier</c:v>
                  </c:pt>
                  <c:pt idx="3">
                    <c:v>Vranken Pommery</c:v>
                  </c:pt>
                  <c:pt idx="4">
                    <c:v>Malard Nicolas</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5"/>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410A6D-AE5B-41C1-BEBF-A401BED85B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B892A6-34B8-4D65-897A-881C43DE20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9CAA61-AE00-4ADA-8EF3-C823242FA5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28FD65-3A1F-4C22-A06E-E19C3FBDA9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8394DE-FCCE-4BB1-8325-E51717AE87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5EBD6D-84CF-4045-B4D0-B9E8B1336E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6EF9D5-BA81-4CC1-8C75-749597D3A4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A92236-E57C-4876-B462-32212EA62B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7.247</c:v>
                </c:pt>
                <c:pt idx="1">
                  <c:v>104.3814</c:v>
                </c:pt>
                <c:pt idx="2">
                  <c:v>80.4315</c:v>
                </c:pt>
                <c:pt idx="3">
                  <c:v>41.240400000000001</c:v>
                </c:pt>
                <c:pt idx="4">
                  <c:v>27.0364</c:v>
                </c:pt>
                <c:pt idx="5">
                  <c:v>37.879600000000003</c:v>
                </c:pt>
                <c:pt idx="6">
                  <c:v>78.916200000000003</c:v>
                </c:pt>
                <c:pt idx="7">
                  <c:v>42.6937</c:v>
                </c:pt>
              </c:numCache>
            </c:numRef>
          </c:xVal>
          <c:yVal>
            <c:numRef>
              <c:f>Sheet1!$B$2:$B$9</c:f>
              <c:numCache>
                <c:formatCode>General</c:formatCode>
                <c:ptCount val="8"/>
                <c:pt idx="0">
                  <c:v>1.585</c:v>
                </c:pt>
                <c:pt idx="1">
                  <c:v>1.65</c:v>
                </c:pt>
                <c:pt idx="2">
                  <c:v>1.1399999999999999</c:v>
                </c:pt>
                <c:pt idx="3">
                  <c:v>0.57999999999999996</c:v>
                </c:pt>
                <c:pt idx="4">
                  <c:v>0.40899999999999997</c:v>
                </c:pt>
                <c:pt idx="5">
                  <c:v>0.53500000000000003</c:v>
                </c:pt>
                <c:pt idx="6">
                  <c:v>1.157</c:v>
                </c:pt>
                <c:pt idx="7">
                  <c:v>0.70199999999999996</c:v>
                </c:pt>
              </c:numCache>
            </c:numRef>
          </c:yVal>
          <c:bubbleSize>
            <c:numRef>
              <c:f>Sheet1!$C$2:$C$9</c:f>
              <c:numCache>
                <c:formatCode>General</c:formatCode>
                <c:ptCount val="8"/>
                <c:pt idx="0">
                  <c:v>142424</c:v>
                </c:pt>
                <c:pt idx="1">
                  <c:v>94152</c:v>
                </c:pt>
                <c:pt idx="2">
                  <c:v>38768</c:v>
                </c:pt>
                <c:pt idx="3">
                  <c:v>34312</c:v>
                </c:pt>
                <c:pt idx="4">
                  <c:v>26712</c:v>
                </c:pt>
                <c:pt idx="5">
                  <c:v>19508</c:v>
                </c:pt>
                <c:pt idx="6">
                  <c:v>15073</c:v>
                </c:pt>
                <c:pt idx="7">
                  <c:v>14217</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Laurent Perrier</c:v>
                  </c:pt>
                  <c:pt idx="3">
                    <c:v>Vranken Pommery</c:v>
                  </c:pt>
                  <c:pt idx="4">
                    <c:v>Malard Nicolas</c:v>
                  </c:pt>
                  <c:pt idx="5">
                    <c:v>Cfgv</c:v>
                  </c:pt>
                  <c:pt idx="6">
                    <c:v>Bollinger</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9"/>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4B3BAA-635E-4373-95E8-7C7DC01005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630A4B-2B50-4C8A-8CCB-C14C879A04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D4DA02C-F669-4602-A1F0-C18B4F06ED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7FE378-0BB2-44C0-A111-9D59A5AF8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7BA565-A084-477A-805D-A63BDE08AA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74226F-0C01-4030-8F3C-182767524C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3CD0E7-5334-43EC-B7A4-86E49C9AC3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466D91-6AFF-4681-99D8-9CF5E855AF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498400000000004</c:v>
                </c:pt>
                <c:pt idx="1">
                  <c:v>56.683900000000001</c:v>
                </c:pt>
                <c:pt idx="2">
                  <c:v>40.023699999999998</c:v>
                </c:pt>
                <c:pt idx="3">
                  <c:v>27.365200000000002</c:v>
                </c:pt>
                <c:pt idx="4">
                  <c:v>82.421099999999996</c:v>
                </c:pt>
                <c:pt idx="5">
                  <c:v>38.498600000000003</c:v>
                </c:pt>
                <c:pt idx="6">
                  <c:v>42.989699999999999</c:v>
                </c:pt>
                <c:pt idx="7">
                  <c:v>37.436</c:v>
                </c:pt>
              </c:numCache>
            </c:numRef>
          </c:xVal>
          <c:yVal>
            <c:numRef>
              <c:f>Sheet1!$B$2:$B$9</c:f>
              <c:numCache>
                <c:formatCode>General</c:formatCode>
                <c:ptCount val="8"/>
                <c:pt idx="0">
                  <c:v>1.6779999999999999</c:v>
                </c:pt>
                <c:pt idx="1">
                  <c:v>1.077</c:v>
                </c:pt>
                <c:pt idx="2">
                  <c:v>0.68500000000000005</c:v>
                </c:pt>
                <c:pt idx="3">
                  <c:v>0.49299999999999999</c:v>
                </c:pt>
                <c:pt idx="4">
                  <c:v>1.3740000000000001</c:v>
                </c:pt>
                <c:pt idx="5">
                  <c:v>0.66900000000000004</c:v>
                </c:pt>
                <c:pt idx="6">
                  <c:v>0.85</c:v>
                </c:pt>
                <c:pt idx="7">
                  <c:v>0.63500000000000001</c:v>
                </c:pt>
              </c:numCache>
            </c:numRef>
          </c:yVal>
          <c:bubbleSize>
            <c:numRef>
              <c:f>Sheet1!$C$2:$C$9</c:f>
              <c:numCache>
                <c:formatCode>General</c:formatCode>
                <c:ptCount val="8"/>
                <c:pt idx="0">
                  <c:v>93501</c:v>
                </c:pt>
                <c:pt idx="1">
                  <c:v>39452</c:v>
                </c:pt>
                <c:pt idx="2">
                  <c:v>35501</c:v>
                </c:pt>
                <c:pt idx="3">
                  <c:v>19484</c:v>
                </c:pt>
                <c:pt idx="4">
                  <c:v>18792</c:v>
                </c:pt>
                <c:pt idx="5">
                  <c:v>13744</c:v>
                </c:pt>
                <c:pt idx="6">
                  <c:v>8340</c:v>
                </c:pt>
                <c:pt idx="7">
                  <c:v>7899</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7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2FFB38-6709-4D40-A28F-0F40DA1E08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9D9014-21E0-416E-93E2-718A7472E4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86A4B2-23BB-44C5-837E-8174FD2458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C4CFA4-5ED7-4B0D-81CB-CAC22E6EDD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002731-79BF-498E-99D6-516F05E750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2AB1A8-BC34-4DED-A574-A6BA85FC30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5D6F65-218D-47E8-80D2-ADAFE47595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8F20B94-7CDD-47FC-95FD-B32019C6CB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0.8122</c:v>
                </c:pt>
                <c:pt idx="1">
                  <c:v>62.756799999999998</c:v>
                </c:pt>
                <c:pt idx="2">
                  <c:v>40.201700000000002</c:v>
                </c:pt>
                <c:pt idx="3">
                  <c:v>26.686</c:v>
                </c:pt>
                <c:pt idx="4">
                  <c:v>80.477099999999993</c:v>
                </c:pt>
                <c:pt idx="5">
                  <c:v>37.464500000000001</c:v>
                </c:pt>
                <c:pt idx="6">
                  <c:v>40.721600000000002</c:v>
                </c:pt>
                <c:pt idx="7">
                  <c:v>36.009099999999997</c:v>
                </c:pt>
              </c:numCache>
            </c:numRef>
          </c:xVal>
          <c:yVal>
            <c:numRef>
              <c:f>Sheet1!$B$2:$B$9</c:f>
              <c:numCache>
                <c:formatCode>General</c:formatCode>
                <c:ptCount val="8"/>
                <c:pt idx="0">
                  <c:v>1.7869999999999999</c:v>
                </c:pt>
                <c:pt idx="1">
                  <c:v>1.2250000000000001</c:v>
                </c:pt>
                <c:pt idx="2">
                  <c:v>0.69699999999999995</c:v>
                </c:pt>
                <c:pt idx="3">
                  <c:v>0.499</c:v>
                </c:pt>
                <c:pt idx="4">
                  <c:v>1.393</c:v>
                </c:pt>
                <c:pt idx="5">
                  <c:v>0.64900000000000002</c:v>
                </c:pt>
                <c:pt idx="6">
                  <c:v>0.83699999999999997</c:v>
                </c:pt>
                <c:pt idx="7">
                  <c:v>0.624</c:v>
                </c:pt>
              </c:numCache>
            </c:numRef>
          </c:yVal>
          <c:bubbleSize>
            <c:numRef>
              <c:f>Sheet1!$C$2:$C$9</c:f>
              <c:numCache>
                <c:formatCode>General</c:formatCode>
                <c:ptCount val="8"/>
                <c:pt idx="0">
                  <c:v>981810</c:v>
                </c:pt>
                <c:pt idx="1">
                  <c:v>500862</c:v>
                </c:pt>
                <c:pt idx="2">
                  <c:v>402580</c:v>
                </c:pt>
                <c:pt idx="3">
                  <c:v>268461</c:v>
                </c:pt>
                <c:pt idx="4">
                  <c:v>258734</c:v>
                </c:pt>
                <c:pt idx="5">
                  <c:v>163645</c:v>
                </c:pt>
                <c:pt idx="6">
                  <c:v>140408</c:v>
                </c:pt>
                <c:pt idx="7">
                  <c:v>130497</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1"/>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8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EF312E-7A0E-4F35-BEBF-4B82F6203F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90A47C-FD46-428D-956B-69F6791F31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7BBC28-42B8-4CD5-8ED9-AE1580FEE1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65E4DE-EDFA-4373-B9AC-DC7BB83BA9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5D3BA6-6884-4A31-AC7A-78B967BDB0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6EC90A-C422-41D7-A098-AAA08B5DF5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6FA5E66-2110-4D0B-969F-2638FA80BF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CFECA1-3CC7-4C10-817E-FD669C9097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788799999999995</c:v>
                </c:pt>
                <c:pt idx="1">
                  <c:v>81.262900000000002</c:v>
                </c:pt>
                <c:pt idx="2">
                  <c:v>40.4572</c:v>
                </c:pt>
                <c:pt idx="3">
                  <c:v>53.822899999999997</c:v>
                </c:pt>
                <c:pt idx="4">
                  <c:v>27.181899999999999</c:v>
                </c:pt>
                <c:pt idx="5">
                  <c:v>37.9467</c:v>
                </c:pt>
                <c:pt idx="6">
                  <c:v>41.847900000000003</c:v>
                </c:pt>
                <c:pt idx="7">
                  <c:v>36.9758</c:v>
                </c:pt>
              </c:numCache>
            </c:numRef>
          </c:xVal>
          <c:yVal>
            <c:numRef>
              <c:f>Sheet1!$B$2:$B$9</c:f>
              <c:numCache>
                <c:formatCode>General</c:formatCode>
                <c:ptCount val="8"/>
                <c:pt idx="0">
                  <c:v>1.659</c:v>
                </c:pt>
                <c:pt idx="1">
                  <c:v>1.4039999999999999</c:v>
                </c:pt>
                <c:pt idx="2">
                  <c:v>0.68799999999999994</c:v>
                </c:pt>
                <c:pt idx="3">
                  <c:v>1.0329999999999999</c:v>
                </c:pt>
                <c:pt idx="4">
                  <c:v>0.48799999999999999</c:v>
                </c:pt>
                <c:pt idx="5">
                  <c:v>0.65400000000000003</c:v>
                </c:pt>
                <c:pt idx="6">
                  <c:v>0.83299999999999996</c:v>
                </c:pt>
                <c:pt idx="7">
                  <c:v>0.628</c:v>
                </c:pt>
              </c:numCache>
            </c:numRef>
          </c:yVal>
          <c:bubbleSize>
            <c:numRef>
              <c:f>Sheet1!$C$2:$C$9</c:f>
              <c:numCache>
                <c:formatCode>General</c:formatCode>
                <c:ptCount val="8"/>
                <c:pt idx="0">
                  <c:v>174607</c:v>
                </c:pt>
                <c:pt idx="1">
                  <c:v>63060</c:v>
                </c:pt>
                <c:pt idx="2">
                  <c:v>61940</c:v>
                </c:pt>
                <c:pt idx="3">
                  <c:v>59582</c:v>
                </c:pt>
                <c:pt idx="4">
                  <c:v>44823</c:v>
                </c:pt>
                <c:pt idx="5">
                  <c:v>23489</c:v>
                </c:pt>
                <c:pt idx="6">
                  <c:v>16237</c:v>
                </c:pt>
                <c:pt idx="7">
                  <c:v>12239</c:v>
                </c:pt>
              </c:numCache>
            </c:numRef>
          </c:bubbleSize>
          <c:bubble3D val="0"/>
          <c:extLst>
            <c:ext xmlns:c15="http://schemas.microsoft.com/office/drawing/2012/chart" uri="{02D57815-91ED-43cb-92C2-25804820EDAC}">
              <c15:datalabelsRange>
                <c15:f>Sheet1!$E$2:$E$10</c15:f>
                <c15:dlblRangeCache>
                  <c:ptCount val="9"/>
                  <c:pt idx="0">
                    <c:v>Mhcs</c:v>
                  </c:pt>
                  <c:pt idx="1">
                    <c:v>Laurent Perrier</c:v>
                  </c:pt>
                  <c:pt idx="2">
                    <c:v>Vranken Pommery</c:v>
                  </c:pt>
                  <c:pt idx="3">
                    <c:v>Roederer</c:v>
                  </c:pt>
                  <c:pt idx="4">
                    <c:v>Malard Nicolas</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6"/>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1418646-093D-463D-9FD6-C1BC7597DE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5BABA35-497E-41EE-9202-BA5662B38C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2990675-BE72-474F-8E81-E7FE34ACEE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47F3E5B-A5AC-4D26-82F7-7C51976862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16EA47E-C70A-4D2E-8E5D-59EFB87987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D323FF4-1B8E-4B35-B70B-7C361FC925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31C2E9D-2D0C-4974-8528-D121F6E723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16CAF58-2B55-4573-950D-3891715070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7788</c:v>
                </c:pt>
                <c:pt idx="1">
                  <c:v>17.286000000000001</c:v>
                </c:pt>
                <c:pt idx="2">
                  <c:v>11.5068</c:v>
                </c:pt>
                <c:pt idx="3">
                  <c:v>11.856400000000001</c:v>
                </c:pt>
                <c:pt idx="4">
                  <c:v>11.451700000000001</c:v>
                </c:pt>
                <c:pt idx="5">
                  <c:v>9.1301000000000005</c:v>
                </c:pt>
                <c:pt idx="6">
                  <c:v>5.7043999999999997</c:v>
                </c:pt>
                <c:pt idx="7">
                  <c:v>13.463800000000001</c:v>
                </c:pt>
              </c:numCache>
            </c:numRef>
          </c:xVal>
          <c:yVal>
            <c:numRef>
              <c:f>Sheet1!$B$2:$B$9</c:f>
              <c:numCache>
                <c:formatCode>General</c:formatCode>
                <c:ptCount val="8"/>
                <c:pt idx="0">
                  <c:v>1.206</c:v>
                </c:pt>
                <c:pt idx="1">
                  <c:v>1.671</c:v>
                </c:pt>
                <c:pt idx="2">
                  <c:v>1.0860000000000001</c:v>
                </c:pt>
                <c:pt idx="3">
                  <c:v>1.0509999999999999</c:v>
                </c:pt>
                <c:pt idx="4">
                  <c:v>1.0820000000000001</c:v>
                </c:pt>
                <c:pt idx="5">
                  <c:v>0.86199999999999999</c:v>
                </c:pt>
                <c:pt idx="6">
                  <c:v>0.53800000000000003</c:v>
                </c:pt>
                <c:pt idx="7">
                  <c:v>1.2729999999999999</c:v>
                </c:pt>
              </c:numCache>
            </c:numRef>
          </c:yVal>
          <c:bubbleSize>
            <c:numRef>
              <c:f>Sheet1!$C$2:$C$9</c:f>
              <c:numCache>
                <c:formatCode>General</c:formatCode>
                <c:ptCount val="8"/>
                <c:pt idx="0">
                  <c:v>98192</c:v>
                </c:pt>
                <c:pt idx="1">
                  <c:v>81175</c:v>
                </c:pt>
                <c:pt idx="2">
                  <c:v>77326</c:v>
                </c:pt>
                <c:pt idx="3">
                  <c:v>60420</c:v>
                </c:pt>
                <c:pt idx="4">
                  <c:v>50548</c:v>
                </c:pt>
                <c:pt idx="5">
                  <c:v>44555</c:v>
                </c:pt>
                <c:pt idx="6">
                  <c:v>27997</c:v>
                </c:pt>
                <c:pt idx="7">
                  <c:v>27143</c:v>
                </c:pt>
              </c:numCache>
            </c:numRef>
          </c:bubbleSize>
          <c:bubble3D val="0"/>
          <c:extLst>
            <c:ext xmlns:c15="http://schemas.microsoft.com/office/drawing/2012/chart" uri="{02D57815-91ED-43cb-92C2-25804820EDAC}">
              <c15:datalabelsRange>
                <c15:f>Sheet1!$E$2:$E$10</c15:f>
                <c15:dlblRangeCache>
                  <c:ptCount val="9"/>
                  <c:pt idx="0">
                    <c:v>Patriarche</c:v>
                  </c:pt>
                  <c:pt idx="1">
                    <c:v>Mure</c:v>
                  </c:pt>
                  <c:pt idx="2">
                    <c:v>Bottega</c:v>
                  </c:pt>
                  <c:pt idx="3">
                    <c:v>Bouvet-Ladubay</c:v>
                  </c:pt>
                  <c:pt idx="4">
                    <c:v>Chateau Moncontour</c:v>
                  </c:pt>
                  <c:pt idx="5">
                    <c:v>Savian</c:v>
                  </c:pt>
                  <c:pt idx="6">
                    <c:v>Kriter</c:v>
                  </c:pt>
                  <c:pt idx="7">
                    <c:v>De Chancen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77506E-3623-490F-B16C-7EDCB05509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99C22B-DB69-4BAB-ADB5-818D3BF4E4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17215B-F9C3-481F-B24F-E0C4EABED3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5A9E25-C6D1-4E41-8546-C44C7E7EA1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BE9F76-DD01-4A84-A588-96742E3CA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A492DB-34CE-4F94-952E-D76E0EE8B3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C7A57F-EAA8-4CFF-93B6-B4D291EB68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DDADE0-F429-41FC-85FD-8121065577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5.662300000000002</c:v>
                </c:pt>
                <c:pt idx="1">
                  <c:v>56.083399999999997</c:v>
                </c:pt>
                <c:pt idx="2">
                  <c:v>40.846499999999999</c:v>
                </c:pt>
                <c:pt idx="3">
                  <c:v>27.214600000000001</c:v>
                </c:pt>
                <c:pt idx="4">
                  <c:v>82.220100000000002</c:v>
                </c:pt>
                <c:pt idx="5">
                  <c:v>38.341000000000001</c:v>
                </c:pt>
                <c:pt idx="6">
                  <c:v>42.3598</c:v>
                </c:pt>
                <c:pt idx="7">
                  <c:v>37.163600000000002</c:v>
                </c:pt>
              </c:numCache>
            </c:numRef>
          </c:xVal>
          <c:yVal>
            <c:numRef>
              <c:f>Sheet1!$B$2:$B$9</c:f>
              <c:numCache>
                <c:formatCode>General</c:formatCode>
                <c:ptCount val="8"/>
                <c:pt idx="0">
                  <c:v>1.7330000000000001</c:v>
                </c:pt>
                <c:pt idx="1">
                  <c:v>1.141</c:v>
                </c:pt>
                <c:pt idx="2">
                  <c:v>0.73399999999999999</c:v>
                </c:pt>
                <c:pt idx="3">
                  <c:v>0.52200000000000002</c:v>
                </c:pt>
                <c:pt idx="4">
                  <c:v>1.4670000000000001</c:v>
                </c:pt>
                <c:pt idx="5">
                  <c:v>0.69199999999999995</c:v>
                </c:pt>
                <c:pt idx="6">
                  <c:v>0.92</c:v>
                </c:pt>
                <c:pt idx="7">
                  <c:v>0.66300000000000003</c:v>
                </c:pt>
              </c:numCache>
            </c:numRef>
          </c:yVal>
          <c:bubbleSize>
            <c:numRef>
              <c:f>Sheet1!$C$2:$C$9</c:f>
              <c:numCache>
                <c:formatCode>General</c:formatCode>
                <c:ptCount val="8"/>
                <c:pt idx="0">
                  <c:v>80165</c:v>
                </c:pt>
                <c:pt idx="1">
                  <c:v>40997</c:v>
                </c:pt>
                <c:pt idx="2">
                  <c:v>28470</c:v>
                </c:pt>
                <c:pt idx="3">
                  <c:v>26507</c:v>
                </c:pt>
                <c:pt idx="4">
                  <c:v>22035</c:v>
                </c:pt>
                <c:pt idx="5">
                  <c:v>16755</c:v>
                </c:pt>
                <c:pt idx="6">
                  <c:v>11183</c:v>
                </c:pt>
                <c:pt idx="7">
                  <c:v>795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5"/>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EEC160-37DC-4DE2-9018-0859B4BBD8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0CFB9B-8577-4E1E-81EA-CAB0D8F764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A825DB-7926-461B-8699-033DB6A531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ABF883-54C7-4310-B30F-6FB7F1B23E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448062-FEEA-4673-9C2D-9F69FE0D85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4DE04B-1F5A-421E-B67F-6F842B352C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5F92A7D-CD14-4FFA-9036-B239E97839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720383-D227-4805-9AE3-6DE354D826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431899999999999</c:v>
                </c:pt>
                <c:pt idx="1">
                  <c:v>53.874099999999999</c:v>
                </c:pt>
                <c:pt idx="2">
                  <c:v>42.295499999999997</c:v>
                </c:pt>
                <c:pt idx="3">
                  <c:v>26.968</c:v>
                </c:pt>
                <c:pt idx="4">
                  <c:v>83.289900000000003</c:v>
                </c:pt>
                <c:pt idx="5">
                  <c:v>46.578899999999997</c:v>
                </c:pt>
                <c:pt idx="6">
                  <c:v>37.1111</c:v>
                </c:pt>
                <c:pt idx="7">
                  <c:v>38.6218</c:v>
                </c:pt>
              </c:numCache>
            </c:numRef>
          </c:xVal>
          <c:yVal>
            <c:numRef>
              <c:f>Sheet1!$B$2:$B$9</c:f>
              <c:numCache>
                <c:formatCode>General</c:formatCode>
                <c:ptCount val="8"/>
                <c:pt idx="0">
                  <c:v>1.77</c:v>
                </c:pt>
                <c:pt idx="1">
                  <c:v>1.131</c:v>
                </c:pt>
                <c:pt idx="2">
                  <c:v>0.78800000000000003</c:v>
                </c:pt>
                <c:pt idx="3">
                  <c:v>0.53300000000000003</c:v>
                </c:pt>
                <c:pt idx="4">
                  <c:v>1.552</c:v>
                </c:pt>
                <c:pt idx="5">
                  <c:v>0.93400000000000005</c:v>
                </c:pt>
                <c:pt idx="6">
                  <c:v>0.70199999999999996</c:v>
                </c:pt>
                <c:pt idx="7">
                  <c:v>0.70699999999999996</c:v>
                </c:pt>
              </c:numCache>
            </c:numRef>
          </c:yVal>
          <c:bubbleSize>
            <c:numRef>
              <c:f>Sheet1!$C$2:$C$9</c:f>
              <c:numCache>
                <c:formatCode>General</c:formatCode>
                <c:ptCount val="8"/>
                <c:pt idx="0">
                  <c:v>39590</c:v>
                </c:pt>
                <c:pt idx="1">
                  <c:v>22681</c:v>
                </c:pt>
                <c:pt idx="2">
                  <c:v>18610</c:v>
                </c:pt>
                <c:pt idx="3">
                  <c:v>15156</c:v>
                </c:pt>
                <c:pt idx="4">
                  <c:v>11494</c:v>
                </c:pt>
                <c:pt idx="5">
                  <c:v>7965</c:v>
                </c:pt>
                <c:pt idx="6">
                  <c:v>7014</c:v>
                </c:pt>
                <c:pt idx="7">
                  <c:v>6025</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Malard Nicolas</c:v>
                  </c:pt>
                  <c:pt idx="4">
                    <c:v>Laurent Perrier</c:v>
                  </c:pt>
                  <c:pt idx="5">
                    <c:v>Lanson-Bcc</c:v>
                  </c:pt>
                  <c:pt idx="6">
                    <c:v>Malard</c:v>
                  </c:pt>
                  <c:pt idx="7">
                    <c:v>Cfgv</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6ABEBC-D4E7-4A41-9406-5347211C3E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4186D1-A77E-48BC-8F35-4AA15E01F5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CB456D-B69D-4286-82A4-111DF0A7EF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19225E-8EB2-429B-8A74-8A7B6CC3FE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D5F323-9645-4B04-94B6-3BEF75367D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F47D88-B64E-4896-89C9-5DAFF216B9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E2E9DC-D786-424E-8F6C-7F842E1415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D98A02-D8CF-490B-8131-BDD6D484F4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4.599299999999999</c:v>
                </c:pt>
                <c:pt idx="1">
                  <c:v>58.336399999999998</c:v>
                </c:pt>
                <c:pt idx="2">
                  <c:v>25.557099999999998</c:v>
                </c:pt>
                <c:pt idx="3">
                  <c:v>41.257100000000001</c:v>
                </c:pt>
                <c:pt idx="4">
                  <c:v>84.796300000000002</c:v>
                </c:pt>
                <c:pt idx="5">
                  <c:v>35.964500000000001</c:v>
                </c:pt>
                <c:pt idx="6">
                  <c:v>37.8874</c:v>
                </c:pt>
                <c:pt idx="7">
                  <c:v>39.849200000000003</c:v>
                </c:pt>
              </c:numCache>
            </c:numRef>
          </c:xVal>
          <c:yVal>
            <c:numRef>
              <c:f>Sheet1!$B$2:$B$9</c:f>
              <c:numCache>
                <c:formatCode>General</c:formatCode>
                <c:ptCount val="8"/>
                <c:pt idx="0">
                  <c:v>1.92</c:v>
                </c:pt>
                <c:pt idx="1">
                  <c:v>1.36</c:v>
                </c:pt>
                <c:pt idx="2">
                  <c:v>0.55500000000000005</c:v>
                </c:pt>
                <c:pt idx="3">
                  <c:v>0.85199999999999998</c:v>
                </c:pt>
                <c:pt idx="4">
                  <c:v>1.655</c:v>
                </c:pt>
                <c:pt idx="5">
                  <c:v>0.749</c:v>
                </c:pt>
                <c:pt idx="6">
                  <c:v>0.72899999999999998</c:v>
                </c:pt>
                <c:pt idx="7">
                  <c:v>1.0409999999999999</c:v>
                </c:pt>
              </c:numCache>
            </c:numRef>
          </c:yVal>
          <c:bubbleSize>
            <c:numRef>
              <c:f>Sheet1!$C$2:$C$9</c:f>
              <c:numCache>
                <c:formatCode>General</c:formatCode>
                <c:ptCount val="8"/>
                <c:pt idx="0">
                  <c:v>26677</c:v>
                </c:pt>
                <c:pt idx="1">
                  <c:v>19076</c:v>
                </c:pt>
                <c:pt idx="2">
                  <c:v>18810</c:v>
                </c:pt>
                <c:pt idx="3">
                  <c:v>17328</c:v>
                </c:pt>
                <c:pt idx="4">
                  <c:v>9158</c:v>
                </c:pt>
                <c:pt idx="5">
                  <c:v>7085</c:v>
                </c:pt>
                <c:pt idx="6">
                  <c:v>5721</c:v>
                </c:pt>
                <c:pt idx="7">
                  <c:v>5021</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Malard Nicolas</c:v>
                  </c:pt>
                  <c:pt idx="3">
                    <c:v>Vranken Pommery</c:v>
                  </c:pt>
                  <c:pt idx="4">
                    <c:v>Laurent Perrier</c:v>
                  </c:pt>
                  <c:pt idx="5">
                    <c:v>Malard</c:v>
                  </c:pt>
                  <c:pt idx="6">
                    <c:v>Cfgv</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46D8FA-BE61-402E-98A8-DCD1640EF3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4693D9-FAC2-4364-BB03-69219B87B2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E447F9-5E5B-446E-85D2-560D68C867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D30ABF-22B2-4E7D-876B-8D9BB7091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CA97A6-6831-484B-B7D3-61EE6E6FAD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12DF97D-6F44-41F4-A053-9C1AE68743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09888B-9516-472A-B0AF-FA7847A2F6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462FA9-0016-4D10-BC87-595F01D06E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14.6647</c:v>
                </c:pt>
                <c:pt idx="1">
                  <c:v>74.685100000000006</c:v>
                </c:pt>
                <c:pt idx="2">
                  <c:v>40.249000000000002</c:v>
                </c:pt>
                <c:pt idx="3">
                  <c:v>80.259200000000007</c:v>
                </c:pt>
                <c:pt idx="4">
                  <c:v>26.4526</c:v>
                </c:pt>
                <c:pt idx="5">
                  <c:v>37.585900000000002</c:v>
                </c:pt>
                <c:pt idx="6">
                  <c:v>41.074300000000001</c:v>
                </c:pt>
                <c:pt idx="7">
                  <c:v>36</c:v>
                </c:pt>
              </c:numCache>
            </c:numRef>
          </c:xVal>
          <c:yVal>
            <c:numRef>
              <c:f>Sheet1!$B$2:$B$9</c:f>
              <c:numCache>
                <c:formatCode>General</c:formatCode>
                <c:ptCount val="8"/>
                <c:pt idx="0">
                  <c:v>1.7989999999999999</c:v>
                </c:pt>
                <c:pt idx="1">
                  <c:v>1.2969999999999999</c:v>
                </c:pt>
                <c:pt idx="2">
                  <c:v>0.62</c:v>
                </c:pt>
                <c:pt idx="3">
                  <c:v>1.2370000000000001</c:v>
                </c:pt>
                <c:pt idx="4">
                  <c:v>0.438</c:v>
                </c:pt>
                <c:pt idx="5">
                  <c:v>0.57999999999999996</c:v>
                </c:pt>
                <c:pt idx="6">
                  <c:v>0.74399999999999999</c:v>
                </c:pt>
                <c:pt idx="7">
                  <c:v>0.55400000000000005</c:v>
                </c:pt>
              </c:numCache>
            </c:numRef>
          </c:yVal>
          <c:bubbleSize>
            <c:numRef>
              <c:f>Sheet1!$C$2:$C$9</c:f>
              <c:numCache>
                <c:formatCode>General</c:formatCode>
                <c:ptCount val="8"/>
                <c:pt idx="0">
                  <c:v>524247</c:v>
                </c:pt>
                <c:pt idx="1">
                  <c:v>285820</c:v>
                </c:pt>
                <c:pt idx="2">
                  <c:v>167154</c:v>
                </c:pt>
                <c:pt idx="3">
                  <c:v>146473</c:v>
                </c:pt>
                <c:pt idx="4">
                  <c:v>108588</c:v>
                </c:pt>
                <c:pt idx="5">
                  <c:v>75435</c:v>
                </c:pt>
                <c:pt idx="6">
                  <c:v>60790</c:v>
                </c:pt>
                <c:pt idx="7">
                  <c:v>45828</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Laurent Perrier</c:v>
                  </c:pt>
                  <c:pt idx="4">
                    <c:v>Malard Nicolas</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8"/>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9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635068-4D66-4733-B5D6-32CF65563A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20E139-5934-4112-ACB6-7528F8FECD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DE3236-89D2-4C60-A776-CA713C8C7E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51C8DD-8C07-4A99-833E-58698E056B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A4F047-8F65-4CCD-89F0-376B8F4B9C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FF4FDD-8E4E-4411-BE1A-C8DE222E4F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A4B4E9-423B-44A8-98C2-84E34EB3F2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6BAE40-E3A5-4315-9480-79D6D3F80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712999999999994</c:v>
                </c:pt>
                <c:pt idx="1">
                  <c:v>52.918300000000002</c:v>
                </c:pt>
                <c:pt idx="2">
                  <c:v>40.189500000000002</c:v>
                </c:pt>
                <c:pt idx="3">
                  <c:v>80.916899999999998</c:v>
                </c:pt>
                <c:pt idx="4">
                  <c:v>26.9497</c:v>
                </c:pt>
                <c:pt idx="5">
                  <c:v>37.5413</c:v>
                </c:pt>
                <c:pt idx="6">
                  <c:v>41.015999999999998</c:v>
                </c:pt>
                <c:pt idx="7">
                  <c:v>36.271999999999998</c:v>
                </c:pt>
              </c:numCache>
            </c:numRef>
          </c:xVal>
          <c:yVal>
            <c:numRef>
              <c:f>Sheet1!$B$2:$B$9</c:f>
              <c:numCache>
                <c:formatCode>General</c:formatCode>
                <c:ptCount val="8"/>
                <c:pt idx="0">
                  <c:v>1.746</c:v>
                </c:pt>
                <c:pt idx="1">
                  <c:v>1.145</c:v>
                </c:pt>
                <c:pt idx="2">
                  <c:v>0.749</c:v>
                </c:pt>
                <c:pt idx="3">
                  <c:v>1.5149999999999999</c:v>
                </c:pt>
                <c:pt idx="4">
                  <c:v>0.53900000000000003</c:v>
                </c:pt>
                <c:pt idx="5">
                  <c:v>0.70699999999999996</c:v>
                </c:pt>
                <c:pt idx="6">
                  <c:v>0.91500000000000004</c:v>
                </c:pt>
                <c:pt idx="7">
                  <c:v>0.67700000000000005</c:v>
                </c:pt>
              </c:numCache>
            </c:numRef>
          </c:yVal>
          <c:bubbleSize>
            <c:numRef>
              <c:f>Sheet1!$C$2:$C$9</c:f>
              <c:numCache>
                <c:formatCode>General</c:formatCode>
                <c:ptCount val="8"/>
                <c:pt idx="0">
                  <c:v>168385</c:v>
                </c:pt>
                <c:pt idx="1">
                  <c:v>86098</c:v>
                </c:pt>
                <c:pt idx="2">
                  <c:v>82268</c:v>
                </c:pt>
                <c:pt idx="3">
                  <c:v>60364</c:v>
                </c:pt>
                <c:pt idx="4">
                  <c:v>57807</c:v>
                </c:pt>
                <c:pt idx="5">
                  <c:v>33637</c:v>
                </c:pt>
                <c:pt idx="6">
                  <c:v>30721</c:v>
                </c:pt>
                <c:pt idx="7">
                  <c:v>27603</c:v>
                </c:pt>
              </c:numCache>
            </c:numRef>
          </c:bubbleSize>
          <c:bubble3D val="0"/>
          <c:extLst>
            <c:ext xmlns:c15="http://schemas.microsoft.com/office/drawing/2012/chart" uri="{02D57815-91ED-43cb-92C2-25804820EDAC}">
              <c15:datalabelsRange>
                <c15:f>Sheet1!$E$2:$E$10</c15:f>
                <c15:dlblRangeCache>
                  <c:ptCount val="9"/>
                  <c:pt idx="0">
                    <c:v>Mhcs</c:v>
                  </c:pt>
                  <c:pt idx="1">
                    <c:v>Roederer</c:v>
                  </c:pt>
                  <c:pt idx="2">
                    <c:v>Vranken Pommery</c:v>
                  </c:pt>
                  <c:pt idx="3">
                    <c:v>Laurent Perrier</c:v>
                  </c:pt>
                  <c:pt idx="4">
                    <c:v>Malard Nicolas</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5D3684-BDEA-4FE4-AE90-E17D42DF4D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91AC7C-2B94-4AAC-BDA9-81AD48B35B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284BBE-E97E-44A0-B32C-A9E125F714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BA940C-5006-4A8E-ACA1-8034B9D10B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B01BA4-1BFB-47A6-B1C9-8A1F98A99A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3965CD-4518-416E-BD86-F21D87D589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8B0D63-0C3F-45D9-8EA0-92A07050DB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241871-044E-4223-B215-0C8DE146C9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116500000000002</c:v>
                </c:pt>
                <c:pt idx="1">
                  <c:v>39.9831</c:v>
                </c:pt>
                <c:pt idx="2">
                  <c:v>52.751899999999999</c:v>
                </c:pt>
                <c:pt idx="3">
                  <c:v>27.058199999999999</c:v>
                </c:pt>
                <c:pt idx="4">
                  <c:v>81.447900000000004</c:v>
                </c:pt>
                <c:pt idx="5">
                  <c:v>37.611499999999999</c:v>
                </c:pt>
                <c:pt idx="6">
                  <c:v>41.043500000000002</c:v>
                </c:pt>
                <c:pt idx="7">
                  <c:v>36.133699999999997</c:v>
                </c:pt>
              </c:numCache>
            </c:numRef>
          </c:xVal>
          <c:yVal>
            <c:numRef>
              <c:f>Sheet1!$B$2:$B$9</c:f>
              <c:numCache>
                <c:formatCode>General</c:formatCode>
                <c:ptCount val="8"/>
                <c:pt idx="0">
                  <c:v>1.7789999999999999</c:v>
                </c:pt>
                <c:pt idx="1">
                  <c:v>0.745</c:v>
                </c:pt>
                <c:pt idx="2">
                  <c:v>1.0980000000000001</c:v>
                </c:pt>
                <c:pt idx="3">
                  <c:v>0.54200000000000004</c:v>
                </c:pt>
                <c:pt idx="4">
                  <c:v>1.5089999999999999</c:v>
                </c:pt>
                <c:pt idx="5">
                  <c:v>0.70199999999999996</c:v>
                </c:pt>
                <c:pt idx="6">
                  <c:v>0.91600000000000004</c:v>
                </c:pt>
                <c:pt idx="7">
                  <c:v>0.67400000000000004</c:v>
                </c:pt>
              </c:numCache>
            </c:numRef>
          </c:yVal>
          <c:bubbleSize>
            <c:numRef>
              <c:f>Sheet1!$C$2:$C$9</c:f>
              <c:numCache>
                <c:formatCode>General</c:formatCode>
                <c:ptCount val="8"/>
                <c:pt idx="0">
                  <c:v>286147</c:v>
                </c:pt>
                <c:pt idx="1">
                  <c:v>146418</c:v>
                </c:pt>
                <c:pt idx="2">
                  <c:v>140742</c:v>
                </c:pt>
                <c:pt idx="3">
                  <c:v>93973</c:v>
                </c:pt>
                <c:pt idx="4">
                  <c:v>83647</c:v>
                </c:pt>
                <c:pt idx="5">
                  <c:v>53145</c:v>
                </c:pt>
                <c:pt idx="6">
                  <c:v>45271</c:v>
                </c:pt>
                <c:pt idx="7">
                  <c:v>41337</c:v>
                </c:pt>
              </c:numCache>
            </c:numRef>
          </c:bubbleSize>
          <c:bubble3D val="0"/>
          <c:extLst>
            <c:ext xmlns:c15="http://schemas.microsoft.com/office/drawing/2012/chart" uri="{02D57815-91ED-43cb-92C2-25804820EDAC}">
              <c15:datalabelsRange>
                <c15:f>Sheet1!$E$2:$E$10</c15:f>
                <c15:dlblRangeCache>
                  <c:ptCount val="9"/>
                  <c:pt idx="0">
                    <c:v>Mhcs</c:v>
                  </c:pt>
                  <c:pt idx="1">
                    <c:v>Vranken Pommery</c:v>
                  </c:pt>
                  <c:pt idx="2">
                    <c:v>Roederer</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2"/>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7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750E04-DC6A-4223-861F-29705A7413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399CB6-EF09-4643-AFB9-F5986ACD0D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5A664C-9500-456F-AB35-6A81558DF1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E29792-42B4-462E-9EBE-6205533270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15491D4-654B-485A-8D92-1BF862B4E8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025032-6F0E-4147-BFE8-58B4779CB5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E98948-8E72-4640-B6CE-47709F6E4A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B06B45-A0BE-4E2E-99FF-643BE17069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870699999999999</c:v>
                </c:pt>
                <c:pt idx="1">
                  <c:v>40.894300000000001</c:v>
                </c:pt>
                <c:pt idx="2">
                  <c:v>52.199399999999997</c:v>
                </c:pt>
                <c:pt idx="3">
                  <c:v>27.031600000000001</c:v>
                </c:pt>
                <c:pt idx="4">
                  <c:v>81.073999999999998</c:v>
                </c:pt>
                <c:pt idx="5">
                  <c:v>37.692500000000003</c:v>
                </c:pt>
                <c:pt idx="6">
                  <c:v>40.939300000000003</c:v>
                </c:pt>
                <c:pt idx="7">
                  <c:v>36.332299999999996</c:v>
                </c:pt>
              </c:numCache>
            </c:numRef>
          </c:xVal>
          <c:yVal>
            <c:numRef>
              <c:f>Sheet1!$B$2:$B$9</c:f>
              <c:numCache>
                <c:formatCode>General</c:formatCode>
                <c:ptCount val="8"/>
                <c:pt idx="0">
                  <c:v>1.744</c:v>
                </c:pt>
                <c:pt idx="1">
                  <c:v>0.77200000000000002</c:v>
                </c:pt>
                <c:pt idx="2">
                  <c:v>1.115</c:v>
                </c:pt>
                <c:pt idx="3">
                  <c:v>0.53900000000000003</c:v>
                </c:pt>
                <c:pt idx="4">
                  <c:v>1.5169999999999999</c:v>
                </c:pt>
                <c:pt idx="5">
                  <c:v>0.71</c:v>
                </c:pt>
                <c:pt idx="6">
                  <c:v>0.92700000000000005</c:v>
                </c:pt>
                <c:pt idx="7">
                  <c:v>0.68500000000000005</c:v>
                </c:pt>
              </c:numCache>
            </c:numRef>
          </c:yVal>
          <c:bubbleSize>
            <c:numRef>
              <c:f>Sheet1!$C$2:$C$9</c:f>
              <c:numCache>
                <c:formatCode>General</c:formatCode>
                <c:ptCount val="8"/>
                <c:pt idx="0">
                  <c:v>228449</c:v>
                </c:pt>
                <c:pt idx="1">
                  <c:v>96347</c:v>
                </c:pt>
                <c:pt idx="2">
                  <c:v>89783</c:v>
                </c:pt>
                <c:pt idx="3">
                  <c:v>79662</c:v>
                </c:pt>
                <c:pt idx="4">
                  <c:v>54806</c:v>
                </c:pt>
                <c:pt idx="5">
                  <c:v>37881</c:v>
                </c:pt>
                <c:pt idx="6">
                  <c:v>36436</c:v>
                </c:pt>
                <c:pt idx="7">
                  <c:v>33571</c:v>
                </c:pt>
              </c:numCache>
            </c:numRef>
          </c:bubbleSize>
          <c:bubble3D val="0"/>
          <c:extLst>
            <c:ext xmlns:c15="http://schemas.microsoft.com/office/drawing/2012/chart" uri="{02D57815-91ED-43cb-92C2-25804820EDAC}">
              <c15:datalabelsRange>
                <c15:f>Sheet1!$E$2:$E$10</c15:f>
                <c15:dlblRangeCache>
                  <c:ptCount val="9"/>
                  <c:pt idx="0">
                    <c:v>Mhcs</c:v>
                  </c:pt>
                  <c:pt idx="1">
                    <c:v>Vranken Pommery</c:v>
                  </c:pt>
                  <c:pt idx="2">
                    <c:v>Roederer</c:v>
                  </c:pt>
                  <c:pt idx="3">
                    <c:v>Malard Nicolas</c:v>
                  </c:pt>
                  <c:pt idx="4">
                    <c:v>Laurent Perrier</c:v>
                  </c:pt>
                  <c:pt idx="5">
                    <c:v>Cfgv</c:v>
                  </c:pt>
                  <c:pt idx="6">
                    <c:v>Lanson-Bcc</c:v>
                  </c:pt>
                  <c:pt idx="7">
                    <c:v>Malar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3A4B0E-697A-4C80-B1BE-A0EFAC9029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DBB46E-5AF5-4D1B-8410-DDFED10C15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434B34-93B4-45EC-8C34-3330ABF839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A9660C-2067-4787-9825-3ED4EE0F84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D51E23-8FBF-40E7-859A-87CA1E23DF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BCCC09-5FCB-4081-BBC7-B87AA4BE60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1DBF02-9E88-4733-9696-18AA36C09A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7BF2152-9054-4B70-84C1-82E45283BA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327299999999994</c:v>
                </c:pt>
                <c:pt idx="1">
                  <c:v>40.978499999999997</c:v>
                </c:pt>
                <c:pt idx="2">
                  <c:v>53.284599999999998</c:v>
                </c:pt>
                <c:pt idx="3">
                  <c:v>26.328800000000001</c:v>
                </c:pt>
                <c:pt idx="4">
                  <c:v>81.751900000000006</c:v>
                </c:pt>
                <c:pt idx="5">
                  <c:v>37.932200000000002</c:v>
                </c:pt>
                <c:pt idx="6">
                  <c:v>36.190100000000001</c:v>
                </c:pt>
                <c:pt idx="7">
                  <c:v>41.2333</c:v>
                </c:pt>
              </c:numCache>
            </c:numRef>
          </c:xVal>
          <c:yVal>
            <c:numRef>
              <c:f>Sheet1!$B$2:$B$9</c:f>
              <c:numCache>
                <c:formatCode>General</c:formatCode>
                <c:ptCount val="8"/>
                <c:pt idx="0">
                  <c:v>1.7669999999999999</c:v>
                </c:pt>
                <c:pt idx="1">
                  <c:v>0.78200000000000003</c:v>
                </c:pt>
                <c:pt idx="2">
                  <c:v>1.1319999999999999</c:v>
                </c:pt>
                <c:pt idx="3">
                  <c:v>0.53800000000000003</c:v>
                </c:pt>
                <c:pt idx="4">
                  <c:v>1.554</c:v>
                </c:pt>
                <c:pt idx="5">
                  <c:v>0.72399999999999998</c:v>
                </c:pt>
                <c:pt idx="6">
                  <c:v>0.69599999999999995</c:v>
                </c:pt>
                <c:pt idx="7">
                  <c:v>0.93100000000000005</c:v>
                </c:pt>
              </c:numCache>
            </c:numRef>
          </c:yVal>
          <c:bubbleSize>
            <c:numRef>
              <c:f>Sheet1!$C$2:$C$9</c:f>
              <c:numCache>
                <c:formatCode>General</c:formatCode>
                <c:ptCount val="8"/>
                <c:pt idx="0">
                  <c:v>206491</c:v>
                </c:pt>
                <c:pt idx="1">
                  <c:v>98881</c:v>
                </c:pt>
                <c:pt idx="2">
                  <c:v>88186</c:v>
                </c:pt>
                <c:pt idx="3">
                  <c:v>75116</c:v>
                </c:pt>
                <c:pt idx="4">
                  <c:v>53384</c:v>
                </c:pt>
                <c:pt idx="5">
                  <c:v>36946</c:v>
                </c:pt>
                <c:pt idx="6">
                  <c:v>32933</c:v>
                </c:pt>
                <c:pt idx="7">
                  <c:v>31461</c:v>
                </c:pt>
              </c:numCache>
            </c:numRef>
          </c:bubbleSize>
          <c:bubble3D val="0"/>
          <c:extLst>
            <c:ext xmlns:c15="http://schemas.microsoft.com/office/drawing/2012/chart" uri="{02D57815-91ED-43cb-92C2-25804820EDAC}">
              <c15:datalabelsRange>
                <c15:f>Sheet1!$E$2:$E$10</c15:f>
                <c15:dlblRangeCache>
                  <c:ptCount val="9"/>
                  <c:pt idx="0">
                    <c:v>Mhcs</c:v>
                  </c:pt>
                  <c:pt idx="1">
                    <c:v>Vranken Pommery</c:v>
                  </c:pt>
                  <c:pt idx="2">
                    <c:v>Roederer</c:v>
                  </c:pt>
                  <c:pt idx="3">
                    <c:v>Malard Nicolas</c:v>
                  </c:pt>
                  <c:pt idx="4">
                    <c:v>Laurent Perrier</c:v>
                  </c:pt>
                  <c:pt idx="5">
                    <c:v>Cfgv</c:v>
                  </c:pt>
                  <c:pt idx="6">
                    <c:v>Malard</c:v>
                  </c:pt>
                  <c:pt idx="7">
                    <c:v>Lanson-Bc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FC4288-3A1A-463C-BD14-0197F34510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D4289B-B054-4BD4-8296-268ABF7393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30ED4B-8BC0-4626-8970-E5A27BFA9B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B87D4B-5399-411F-9786-89D3D147D6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64BD9A-1004-4085-BCE2-F6798C0339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8F5D7C-B6C6-42A0-9D8A-170F1B85A0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2A3FEB-62C9-46DC-B2BE-5928FB6729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02D8CDA-3318-4A7C-9FA6-BD065FA6C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8.1654999999999998</c:v>
                </c:pt>
                <c:pt idx="1">
                  <c:v>7.0598000000000001</c:v>
                </c:pt>
                <c:pt idx="2">
                  <c:v>8.4002999999999997</c:v>
                </c:pt>
                <c:pt idx="3">
                  <c:v>7.6973000000000003</c:v>
                </c:pt>
                <c:pt idx="4">
                  <c:v>9.7827999999999999</c:v>
                </c:pt>
                <c:pt idx="5">
                  <c:v>7.3342999999999998</c:v>
                </c:pt>
                <c:pt idx="6">
                  <c:v>7.7112999999999996</c:v>
                </c:pt>
              </c:numCache>
            </c:numRef>
          </c:xVal>
          <c:yVal>
            <c:numRef>
              <c:f>Sheet1!$B$2:$B$8</c:f>
              <c:numCache>
                <c:formatCode>General</c:formatCode>
                <c:ptCount val="7"/>
                <c:pt idx="0">
                  <c:v>0.995</c:v>
                </c:pt>
                <c:pt idx="1">
                  <c:v>0.95799999999999996</c:v>
                </c:pt>
                <c:pt idx="2">
                  <c:v>1.0389999999999999</c:v>
                </c:pt>
                <c:pt idx="3">
                  <c:v>1.0349999999999999</c:v>
                </c:pt>
                <c:pt idx="4">
                  <c:v>1.1910000000000001</c:v>
                </c:pt>
                <c:pt idx="5">
                  <c:v>1.0309999999999999</c:v>
                </c:pt>
                <c:pt idx="6">
                  <c:v>1.0840000000000001</c:v>
                </c:pt>
              </c:numCache>
            </c:numRef>
          </c:yVal>
          <c:bubbleSize>
            <c:numRef>
              <c:f>Sheet1!$C$2:$C$8</c:f>
              <c:numCache>
                <c:formatCode>General</c:formatCode>
                <c:ptCount val="7"/>
                <c:pt idx="0">
                  <c:v>15897650</c:v>
                </c:pt>
                <c:pt idx="1">
                  <c:v>12258120</c:v>
                </c:pt>
                <c:pt idx="2">
                  <c:v>4177323</c:v>
                </c:pt>
                <c:pt idx="3">
                  <c:v>3025266</c:v>
                </c:pt>
                <c:pt idx="4">
                  <c:v>1797924</c:v>
                </c:pt>
                <c:pt idx="5">
                  <c:v>932508</c:v>
                </c:pt>
                <c:pt idx="6">
                  <c:v>550341</c:v>
                </c:pt>
              </c:numCache>
            </c:numRef>
          </c:bubbleSize>
          <c:bubble3D val="0"/>
          <c:extLst>
            <c:ext xmlns:c15="http://schemas.microsoft.com/office/drawing/2012/chart" uri="{02D57815-91ED-43cb-92C2-25804820EDAC}">
              <c15:datalabelsRange>
                <c15:f>Sheet1!$E$2:$E$10</c15:f>
                <c15:dlblRangeCache>
                  <c:ptCount val="9"/>
                  <c:pt idx="0">
                    <c:v>Veuve Ambal</c:v>
                  </c:pt>
                  <c:pt idx="1">
                    <c:v>Mdd</c:v>
                  </c:pt>
                  <c:pt idx="2">
                    <c:v>Couvent Des Visitandines</c:v>
                  </c:pt>
                  <c:pt idx="3">
                    <c:v>Moillard</c:v>
                  </c:pt>
                  <c:pt idx="4">
                    <c:v>Louis Bouillot</c:v>
                  </c:pt>
                  <c:pt idx="5">
                    <c:v>Valenger</c:v>
                  </c:pt>
                  <c:pt idx="6">
                    <c:v>Caves De Lu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56BCF1-F82E-4D0D-BC9B-A884D84C52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843F7D-2399-4395-88EE-29195B5654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E00785E-91B3-41E3-B672-23F39A54E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9B513F5-8ED3-40FB-ADCD-EA694DE3A4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DC4D1A4-8A50-419A-8AE1-7746F73EF6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9FBD30F-AE7D-4CBF-B509-AEF46698F2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4E1D8C0-F99B-440E-8303-73E2FE0002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11144E-0CD7-4465-9C4B-2FBCF7DA0D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157</c:v>
                </c:pt>
                <c:pt idx="1">
                  <c:v>12.6061</c:v>
                </c:pt>
              </c:numCache>
            </c:numRef>
          </c:xVal>
          <c:yVal>
            <c:numRef>
              <c:f>Sheet1!$B$2:$B$3</c:f>
              <c:numCache>
                <c:formatCode>General</c:formatCode>
                <c:ptCount val="2"/>
                <c:pt idx="0">
                  <c:v>0.998</c:v>
                </c:pt>
                <c:pt idx="1">
                  <c:v>0.98199999999999998</c:v>
                </c:pt>
              </c:numCache>
            </c:numRef>
          </c:yVal>
          <c:bubbleSize>
            <c:numRef>
              <c:f>Sheet1!$C$2:$C$3</c:f>
              <c:numCache>
                <c:formatCode>General</c:formatCode>
                <c:ptCount val="2"/>
                <c:pt idx="0">
                  <c:v>385241</c:v>
                </c:pt>
                <c:pt idx="1">
                  <c:v>122077</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E7AC221-A657-44D2-A89B-5E8F7DD7E8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55E813B-ACE5-447A-98CC-BD5BC7594A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D4B6FC7B-0EDA-4606-A446-089E2338E2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B3084562-371C-43A5-B730-62F9BCAB97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01EBA8E4-2A87-4569-ADFB-994EE52B36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CA28537-F2CC-4583-B812-12CF384FED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F08EEFF-F7D1-45D5-A680-126004216E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92C30A1-4229-4DAE-8E16-D0C2BDB41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068899999999999</c:v>
                </c:pt>
                <c:pt idx="1">
                  <c:v>11.472899999999999</c:v>
                </c:pt>
              </c:numCache>
            </c:numRef>
          </c:xVal>
          <c:yVal>
            <c:numRef>
              <c:f>Sheet1!$B$2:$B$3</c:f>
              <c:numCache>
                <c:formatCode>General</c:formatCode>
                <c:ptCount val="2"/>
                <c:pt idx="0">
                  <c:v>1.8120000000000001</c:v>
                </c:pt>
                <c:pt idx="1">
                  <c:v>0.71499999999999997</c:v>
                </c:pt>
              </c:numCache>
            </c:numRef>
          </c:yVal>
          <c:bubbleSize>
            <c:numRef>
              <c:f>Sheet1!$C$2:$C$3</c:f>
              <c:numCache>
                <c:formatCode>General</c:formatCode>
                <c:ptCount val="2"/>
                <c:pt idx="0">
                  <c:v>45115</c:v>
                </c:pt>
                <c:pt idx="1">
                  <c:v>38503</c:v>
                </c:pt>
              </c:numCache>
            </c:numRef>
          </c:bubbleSize>
          <c:bubble3D val="0"/>
          <c:extLst>
            <c:ext xmlns:c15="http://schemas.microsoft.com/office/drawing/2012/chart" uri="{02D57815-91ED-43cb-92C2-25804820EDAC}">
              <c15:datalabelsRange>
                <c15:f>Sheet1!$E$2:$E$10</c15:f>
                <c15:dlblRangeCache>
                  <c:ptCount val="9"/>
                  <c:pt idx="0">
                    <c:v>De Chanceny</c:v>
                  </c:pt>
                  <c:pt idx="1">
                    <c:v>Lyre'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2C9368-CC48-4478-8977-41E2C952E6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D32875-7919-4EC3-824D-F811485E43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B2BDAC-BF07-4FEC-8BEE-98876EE911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0FB863-42B1-4818-B19F-B25F306ADE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4B422C-87FF-4F1A-B6FD-4DDB275F35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1C4A7D-BAEB-426A-B701-91AD4EF2D4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C15143-A2BC-449D-B10C-73A951F713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E307BE-A5A9-4063-A761-435436D8EC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8.1654999999999998</c:v>
                </c:pt>
                <c:pt idx="1">
                  <c:v>7.0598000000000001</c:v>
                </c:pt>
                <c:pt idx="2">
                  <c:v>8.4002999999999997</c:v>
                </c:pt>
                <c:pt idx="3">
                  <c:v>7.6973000000000003</c:v>
                </c:pt>
                <c:pt idx="4">
                  <c:v>9.7827999999999999</c:v>
                </c:pt>
                <c:pt idx="5">
                  <c:v>7.3342999999999998</c:v>
                </c:pt>
                <c:pt idx="6">
                  <c:v>7.7112999999999996</c:v>
                </c:pt>
              </c:numCache>
            </c:numRef>
          </c:xVal>
          <c:yVal>
            <c:numRef>
              <c:f>Sheet1!$B$2:$B$8</c:f>
              <c:numCache>
                <c:formatCode>General</c:formatCode>
                <c:ptCount val="7"/>
                <c:pt idx="0">
                  <c:v>1.0009999999999999</c:v>
                </c:pt>
                <c:pt idx="1">
                  <c:v>0.96399999999999997</c:v>
                </c:pt>
                <c:pt idx="2">
                  <c:v>1.0449999999999999</c:v>
                </c:pt>
                <c:pt idx="3">
                  <c:v>1.0409999999999999</c:v>
                </c:pt>
                <c:pt idx="4">
                  <c:v>1.198</c:v>
                </c:pt>
                <c:pt idx="5">
                  <c:v>1.0369999999999999</c:v>
                </c:pt>
                <c:pt idx="6">
                  <c:v>1.0900000000000001</c:v>
                </c:pt>
              </c:numCache>
            </c:numRef>
          </c:yVal>
          <c:bubbleSize>
            <c:numRef>
              <c:f>Sheet1!$C$2:$C$8</c:f>
              <c:numCache>
                <c:formatCode>General</c:formatCode>
                <c:ptCount val="7"/>
                <c:pt idx="0">
                  <c:v>15897650</c:v>
                </c:pt>
                <c:pt idx="1">
                  <c:v>12258120</c:v>
                </c:pt>
                <c:pt idx="2">
                  <c:v>4177323</c:v>
                </c:pt>
                <c:pt idx="3">
                  <c:v>3025266</c:v>
                </c:pt>
                <c:pt idx="4">
                  <c:v>1797924</c:v>
                </c:pt>
                <c:pt idx="5">
                  <c:v>932508</c:v>
                </c:pt>
                <c:pt idx="6">
                  <c:v>550341</c:v>
                </c:pt>
              </c:numCache>
            </c:numRef>
          </c:bubbleSize>
          <c:bubble3D val="0"/>
          <c:extLst>
            <c:ext xmlns:c15="http://schemas.microsoft.com/office/drawing/2012/chart" uri="{02D57815-91ED-43cb-92C2-25804820EDAC}">
              <c15:datalabelsRange>
                <c15:f>Sheet1!$E$2:$E$10</c15:f>
                <c15:dlblRangeCache>
                  <c:ptCount val="9"/>
                  <c:pt idx="0">
                    <c:v>Veuve Ambal</c:v>
                  </c:pt>
                  <c:pt idx="1">
                    <c:v>Mdd</c:v>
                  </c:pt>
                  <c:pt idx="2">
                    <c:v>Couvent Des Visitandines</c:v>
                  </c:pt>
                  <c:pt idx="3">
                    <c:v>Moillard</c:v>
                  </c:pt>
                  <c:pt idx="4">
                    <c:v>Louis Bouillot</c:v>
                  </c:pt>
                  <c:pt idx="5">
                    <c:v>Valenger</c:v>
                  </c:pt>
                  <c:pt idx="6">
                    <c:v>Caves De Lug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DB7086-C180-4CA2-B201-F27C0D838E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CA90D3-CE4A-4826-BCD9-DECFECA7A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5F3742F-F521-4DEF-82AA-E474C4340D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EDBB946-2169-4FF2-937C-878F5F0193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D1B3547-0FD3-4642-BD62-BE19A41CFE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EC67953-CB46-4D64-8536-7A73B25E7E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A4B23E-9F6F-4D80-A8E2-1A03235B04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E1EF8D-49F4-4876-BBAC-FFE4AE712B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065</c:v>
                </c:pt>
                <c:pt idx="1">
                  <c:v>12.5815</c:v>
                </c:pt>
              </c:numCache>
            </c:numRef>
          </c:xVal>
          <c:yVal>
            <c:numRef>
              <c:f>Sheet1!$B$2:$B$3</c:f>
              <c:numCache>
                <c:formatCode>General</c:formatCode>
                <c:ptCount val="2"/>
                <c:pt idx="0">
                  <c:v>1.004</c:v>
                </c:pt>
                <c:pt idx="1">
                  <c:v>0.98699999999999999</c:v>
                </c:pt>
              </c:numCache>
            </c:numRef>
          </c:yVal>
          <c:bubbleSize>
            <c:numRef>
              <c:f>Sheet1!$C$2:$C$3</c:f>
              <c:numCache>
                <c:formatCode>General</c:formatCode>
                <c:ptCount val="2"/>
                <c:pt idx="0">
                  <c:v>177332</c:v>
                </c:pt>
                <c:pt idx="1">
                  <c:v>54327</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DF3B32-375D-4AFF-9A29-A8B65B44C5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602799-95E2-4168-9673-3382E5ECE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3E01CFA-52A4-4A5E-A033-7DC703FFDE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05432C4-B31B-47BC-8505-9BF009D415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0AFA016-562D-455C-B92C-EE09F9FBD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7077ED5-9E11-4D66-BDC2-B880D0E581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8AB1E0A-63F3-4762-8289-907CC66B99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6B4973D-6BE3-4E6C-B386-8D39784CDC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056</c:v>
                </c:pt>
                <c:pt idx="1">
                  <c:v>12.548999999999999</c:v>
                </c:pt>
              </c:numCache>
            </c:numRef>
          </c:xVal>
          <c:yVal>
            <c:numRef>
              <c:f>Sheet1!$B$2:$B$3</c:f>
              <c:numCache>
                <c:formatCode>General</c:formatCode>
                <c:ptCount val="2"/>
                <c:pt idx="0">
                  <c:v>0.99299999999999999</c:v>
                </c:pt>
                <c:pt idx="1">
                  <c:v>0.97199999999999998</c:v>
                </c:pt>
              </c:numCache>
            </c:numRef>
          </c:yVal>
          <c:bubbleSize>
            <c:numRef>
              <c:f>Sheet1!$C$2:$C$3</c:f>
              <c:numCache>
                <c:formatCode>General</c:formatCode>
                <c:ptCount val="2"/>
                <c:pt idx="0">
                  <c:v>88487</c:v>
                </c:pt>
                <c:pt idx="1">
                  <c:v>26767</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85B91B-776B-4B1F-BE5C-F65EF219BF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56A586-25E1-40B0-BF25-E7A4A3D5BE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5A90247-0FEE-4E9C-964B-A9B76F9F6C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B5D406A-FA76-4C3B-99F6-DC424080E6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E2E4A63-B1DE-47B7-B082-56E396E668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A387593-064E-4282-86D4-2894DCBEF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937CE4F-D5E5-4CBC-BEBA-CA3EFAE8A3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C54243A-6C8A-4E8C-921F-B90417E6AE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3.066700000000001</c:v>
                </c:pt>
                <c:pt idx="1">
                  <c:v>12.901899999999999</c:v>
                </c:pt>
              </c:numCache>
            </c:numRef>
          </c:xVal>
          <c:yVal>
            <c:numRef>
              <c:f>Sheet1!$B$2:$B$3</c:f>
              <c:numCache>
                <c:formatCode>General</c:formatCode>
                <c:ptCount val="2"/>
                <c:pt idx="0">
                  <c:v>1.002</c:v>
                </c:pt>
                <c:pt idx="1">
                  <c:v>0.995</c:v>
                </c:pt>
              </c:numCache>
            </c:numRef>
          </c:yVal>
          <c:bubbleSize>
            <c:numRef>
              <c:f>Sheet1!$C$2:$C$3</c:f>
              <c:numCache>
                <c:formatCode>General</c:formatCode>
                <c:ptCount val="2"/>
                <c:pt idx="0">
                  <c:v>41330</c:v>
                </c:pt>
                <c:pt idx="1">
                  <c:v>15392</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9B50EE-1593-4BB9-8CEB-EE94C18BA3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B240F6-EA86-465A-94F4-8D36024F9B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68BE4AB-D075-4382-89EB-927764B6A9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E23B5E4-689E-4238-9D96-5F7620F6EC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A4842FB-2F17-4D21-97AC-6ED04C34D3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1073125-92B0-43C6-871B-68C252AF56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3B40B5-6844-460D-84A9-8432FC996D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838DF2F-14A6-4BE0-B7F7-02F7E7637B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900499999999999</c:v>
                </c:pt>
                <c:pt idx="1">
                  <c:v>12.6502</c:v>
                </c:pt>
              </c:numCache>
            </c:numRef>
          </c:xVal>
          <c:yVal>
            <c:numRef>
              <c:f>Sheet1!$B$2:$B$3</c:f>
              <c:numCache>
                <c:formatCode>General</c:formatCode>
                <c:ptCount val="2"/>
                <c:pt idx="0">
                  <c:v>1</c:v>
                </c:pt>
                <c:pt idx="1">
                  <c:v>0.998</c:v>
                </c:pt>
              </c:numCache>
            </c:numRef>
          </c:yVal>
          <c:bubbleSize>
            <c:numRef>
              <c:f>Sheet1!$C$2:$C$3</c:f>
              <c:numCache>
                <c:formatCode>General</c:formatCode>
                <c:ptCount val="2"/>
                <c:pt idx="0">
                  <c:v>19957</c:v>
                </c:pt>
                <c:pt idx="1">
                  <c:v>4086</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0A3423-D55C-48D4-8C37-9021CD7708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53BAFB-7D0D-4281-BCF0-E4D73A3719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825A5F6-1A52-46BF-A5BD-87B1C01391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F35B18E-0BF9-4CC2-A3C8-193BCBFE27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59CD1F2-D1BE-46DA-B7F2-95389EB58D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7521449-C415-47CE-AC31-1118F5A659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092F41-A83F-49A0-89AA-8D172A2DF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106FD20-C0E5-428F-A161-50813CD8B9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5063</c:v>
                </c:pt>
                <c:pt idx="1">
                  <c:v>12.2933</c:v>
                </c:pt>
              </c:numCache>
            </c:numRef>
          </c:xVal>
          <c:yVal>
            <c:numRef>
              <c:f>Sheet1!$B$2:$B$3</c:f>
              <c:numCache>
                <c:formatCode>General</c:formatCode>
                <c:ptCount val="2"/>
                <c:pt idx="0">
                  <c:v>1.0029999999999999</c:v>
                </c:pt>
                <c:pt idx="1">
                  <c:v>0.99299999999999999</c:v>
                </c:pt>
              </c:numCache>
            </c:numRef>
          </c:yVal>
          <c:bubbleSize>
            <c:numRef>
              <c:f>Sheet1!$C$2:$C$3</c:f>
              <c:numCache>
                <c:formatCode>General</c:formatCode>
                <c:ptCount val="2"/>
                <c:pt idx="0">
                  <c:v>13857</c:v>
                </c:pt>
                <c:pt idx="1">
                  <c:v>6749</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2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0FB87B-E3DC-4FBC-AB3E-6A038F0BE5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D0AAB2-46CF-4614-A207-4277AE2CF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244C24C-AD5D-4FC0-8088-BBB6DA0BD1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8A0EC82-9A17-4EE7-8D1C-164DC5411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D9CD7AB-A5CC-4322-A28C-AB745FB87D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172BEC3-E7EB-41E2-BD91-BDDF02C6EB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15D5A1-0683-4EF3-B6D0-07C053BA8D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63C1CD4-B0DE-4422-BB70-0CD868F2E7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38900000000001</c:v>
                </c:pt>
                <c:pt idx="1">
                  <c:v>12.577400000000001</c:v>
                </c:pt>
              </c:numCache>
            </c:numRef>
          </c:xVal>
          <c:yVal>
            <c:numRef>
              <c:f>Sheet1!$B$2:$B$3</c:f>
              <c:numCache>
                <c:formatCode>General</c:formatCode>
                <c:ptCount val="2"/>
                <c:pt idx="0">
                  <c:v>1.0049999999999999</c:v>
                </c:pt>
                <c:pt idx="1">
                  <c:v>0.98499999999999999</c:v>
                </c:pt>
              </c:numCache>
            </c:numRef>
          </c:yVal>
          <c:bubbleSize>
            <c:numRef>
              <c:f>Sheet1!$C$2:$C$3</c:f>
              <c:numCache>
                <c:formatCode>General</c:formatCode>
                <c:ptCount val="2"/>
                <c:pt idx="0">
                  <c:v>270438</c:v>
                </c:pt>
                <c:pt idx="1">
                  <c:v>82080</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B438EC-BAEC-4E24-8A91-565660C0E8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3DBB5F-BAD2-4814-8019-4070356AA4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A41696A-9486-4D8F-8E86-16C204F331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E697B2D-EAA9-4A86-8C0D-7895DDE7AB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FCD7629-2067-4DBB-8E8B-29D5A0E8D7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9D39755-419F-4B58-B429-DF7BCD8B8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4E567B-DCE7-4DA4-A192-1609A1E143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BC41E00-85A7-4A8B-83AB-878CD44051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688</c:v>
                </c:pt>
                <c:pt idx="1">
                  <c:v>12.7441</c:v>
                </c:pt>
              </c:numCache>
            </c:numRef>
          </c:xVal>
          <c:yVal>
            <c:numRef>
              <c:f>Sheet1!$B$2:$B$3</c:f>
              <c:numCache>
                <c:formatCode>General</c:formatCode>
                <c:ptCount val="2"/>
                <c:pt idx="0">
                  <c:v>1.004</c:v>
                </c:pt>
                <c:pt idx="1">
                  <c:v>0.99099999999999999</c:v>
                </c:pt>
              </c:numCache>
            </c:numRef>
          </c:yVal>
          <c:bubbleSize>
            <c:numRef>
              <c:f>Sheet1!$C$2:$C$3</c:f>
              <c:numCache>
                <c:formatCode>General</c:formatCode>
                <c:ptCount val="2"/>
                <c:pt idx="0">
                  <c:v>26973</c:v>
                </c:pt>
                <c:pt idx="1">
                  <c:v>12400</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DC3828-A091-4EBA-BD59-7BAD7FBDF2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E521F2-A65B-42FE-BB5A-1C21B896B6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17E79BF-8DE5-4848-A604-9D950AF28E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D8A8C71-7D6A-4C3B-BD09-FAF0E31E8F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9A6E89D-E063-440E-925B-0D1106E923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9CE0F11-1C4B-404F-A226-63EF30B53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E63DDF5-0A1B-4E4A-B0A9-E6D73FAD2E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18C829-60E7-45DF-90BD-55CCF2FC7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7188</c:v>
                </c:pt>
                <c:pt idx="1">
                  <c:v>12.2186</c:v>
                </c:pt>
              </c:numCache>
            </c:numRef>
          </c:xVal>
          <c:yVal>
            <c:numRef>
              <c:f>Sheet1!$B$2:$B$3</c:f>
              <c:numCache>
                <c:formatCode>General</c:formatCode>
                <c:ptCount val="2"/>
                <c:pt idx="0">
                  <c:v>1.006</c:v>
                </c:pt>
                <c:pt idx="1">
                  <c:v>0.97699999999999998</c:v>
                </c:pt>
              </c:numCache>
            </c:numRef>
          </c:yVal>
          <c:bubbleSize>
            <c:numRef>
              <c:f>Sheet1!$C$2:$C$3</c:f>
              <c:numCache>
                <c:formatCode>General</c:formatCode>
                <c:ptCount val="2"/>
                <c:pt idx="0">
                  <c:v>26913</c:v>
                </c:pt>
                <c:pt idx="1">
                  <c:v>6818</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2563B7-4E9B-4FCC-8A72-DCF43110DC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60AB3A-C940-423D-AC44-6B36E5A7F8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1DA1962-6991-4649-8A2D-BA83F06034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89FCD0E-80E5-491A-B2EE-AA162BCCC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0F95CC-1DFE-40D8-898D-5CF20E95B8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6FDDEF2-652E-4589-B707-04FC3E1D3E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1B10F25-94B4-46C6-94BC-87984C8A3B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EDE01C-BCE6-4B96-A1FE-805E768DFC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669</c:v>
                </c:pt>
                <c:pt idx="1">
                  <c:v>12.639900000000001</c:v>
                </c:pt>
              </c:numCache>
            </c:numRef>
          </c:xVal>
          <c:yVal>
            <c:numRef>
              <c:f>Sheet1!$B$2:$B$3</c:f>
              <c:numCache>
                <c:formatCode>General</c:formatCode>
                <c:ptCount val="2"/>
                <c:pt idx="0">
                  <c:v>0.998</c:v>
                </c:pt>
                <c:pt idx="1">
                  <c:v>1.0029999999999999</c:v>
                </c:pt>
              </c:numCache>
            </c:numRef>
          </c:yVal>
          <c:bubbleSize>
            <c:numRef>
              <c:f>Sheet1!$C$2:$C$3</c:f>
              <c:numCache>
                <c:formatCode>General</c:formatCode>
                <c:ptCount val="2"/>
                <c:pt idx="0">
                  <c:v>9033</c:v>
                </c:pt>
                <c:pt idx="1">
                  <c:v>5827</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2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A24A4F-F4D8-484A-8500-8F8136D6E8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2E3809-164E-4A0A-9F88-F26FB2E224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1AB0D2-3A76-4C88-8479-6904D48985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4E0A27-1AD1-48FD-94AE-D10114F460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0C678C-A1A8-4F03-9C4E-C8A06CE81C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D5A0E5-9F16-4BCD-9E18-A0900D137C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BCB749-FA1B-4D8E-9B70-BCBFD3EC0A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CBF9C97-BE6B-425E-85F7-3DA85E13D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008300000000006</c:v>
                </c:pt>
                <c:pt idx="1">
                  <c:v>30.7135</c:v>
                </c:pt>
                <c:pt idx="2">
                  <c:v>39.392000000000003</c:v>
                </c:pt>
                <c:pt idx="3">
                  <c:v>35.273200000000003</c:v>
                </c:pt>
                <c:pt idx="4">
                  <c:v>57.777700000000003</c:v>
                </c:pt>
                <c:pt idx="5">
                  <c:v>46.685600000000001</c:v>
                </c:pt>
                <c:pt idx="6">
                  <c:v>74.661799999999999</c:v>
                </c:pt>
                <c:pt idx="7">
                  <c:v>53.224699999999999</c:v>
                </c:pt>
              </c:numCache>
            </c:numRef>
          </c:xVal>
          <c:yVal>
            <c:numRef>
              <c:f>Sheet1!$B$2:$B$9</c:f>
              <c:numCache>
                <c:formatCode>General</c:formatCode>
                <c:ptCount val="8"/>
                <c:pt idx="0">
                  <c:v>1.91</c:v>
                </c:pt>
                <c:pt idx="1">
                  <c:v>0.60699999999999998</c:v>
                </c:pt>
                <c:pt idx="2">
                  <c:v>0.81100000000000005</c:v>
                </c:pt>
                <c:pt idx="3">
                  <c:v>0.69699999999999995</c:v>
                </c:pt>
                <c:pt idx="4">
                  <c:v>1.1659999999999999</c:v>
                </c:pt>
                <c:pt idx="5">
                  <c:v>0.92300000000000004</c:v>
                </c:pt>
                <c:pt idx="6">
                  <c:v>1.4530000000000001</c:v>
                </c:pt>
                <c:pt idx="7">
                  <c:v>1.03</c:v>
                </c:pt>
              </c:numCache>
            </c:numRef>
          </c:yVal>
          <c:bubbleSize>
            <c:numRef>
              <c:f>Sheet1!$C$2:$C$9</c:f>
              <c:numCache>
                <c:formatCode>General</c:formatCode>
                <c:ptCount val="8"/>
                <c:pt idx="0">
                  <c:v>7602346</c:v>
                </c:pt>
                <c:pt idx="1">
                  <c:v>5549709</c:v>
                </c:pt>
                <c:pt idx="2">
                  <c:v>534037</c:v>
                </c:pt>
                <c:pt idx="3">
                  <c:v>450509</c:v>
                </c:pt>
                <c:pt idx="4">
                  <c:v>424377</c:v>
                </c:pt>
                <c:pt idx="5">
                  <c:v>277219</c:v>
                </c:pt>
                <c:pt idx="6">
                  <c:v>213010</c:v>
                </c:pt>
                <c:pt idx="7">
                  <c:v>200125</c:v>
                </c:pt>
              </c:numCache>
            </c:numRef>
          </c:bubbleSize>
          <c:bubble3D val="0"/>
          <c:extLst>
            <c:ext xmlns:c15="http://schemas.microsoft.com/office/drawing/2012/chart" uri="{02D57815-91ED-43cb-92C2-25804820EDAC}">
              <c15:datalabelsRange>
                <c15:f>Sheet1!$E$2:$E$10</c15:f>
                <c15:dlblRangeCache>
                  <c:ptCount val="9"/>
                  <c:pt idx="0">
                    <c:v>Ruinart</c:v>
                  </c:pt>
                  <c:pt idx="1">
                    <c:v>Canard Duchêne</c:v>
                  </c:pt>
                  <c:pt idx="2">
                    <c:v>Nicolas</c:v>
                  </c:pt>
                  <c:pt idx="3">
                    <c:v>Malard</c:v>
                  </c:pt>
                  <c:pt idx="4">
                    <c:v>Besserat De Bellefon</c:v>
                  </c:pt>
                  <c:pt idx="5">
                    <c:v>Henriot</c:v>
                  </c:pt>
                  <c:pt idx="6">
                    <c:v>Ayala</c:v>
                  </c:pt>
                  <c:pt idx="7">
                    <c:v>Delamo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6"/>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8353CF-7041-4992-8168-48B21CC241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8A67C9-DA3E-4C7C-BA02-9C57007E34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EFCCD53-1209-4365-B848-FEC7D03037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52F83A9-5CCA-4C9B-9DEB-FCD01B8087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C53540-9CBF-4F4C-A472-01BC9D0842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BE3F382-1E7F-437B-B852-EC7FE27722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3B021D5-F51B-4AD5-81FC-D2FCF32832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2DCB8E5-461C-489B-BC92-2CEA506A76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89900000000001</c:v>
                </c:pt>
                <c:pt idx="1">
                  <c:v>13.2179</c:v>
                </c:pt>
              </c:numCache>
            </c:numRef>
          </c:xVal>
          <c:yVal>
            <c:numRef>
              <c:f>Sheet1!$B$2:$B$3</c:f>
              <c:numCache>
                <c:formatCode>General</c:formatCode>
                <c:ptCount val="2"/>
                <c:pt idx="0">
                  <c:v>1.01</c:v>
                </c:pt>
                <c:pt idx="1">
                  <c:v>0.97199999999999998</c:v>
                </c:pt>
              </c:numCache>
            </c:numRef>
          </c:yVal>
          <c:bubbleSize>
            <c:numRef>
              <c:f>Sheet1!$C$2:$C$3</c:f>
              <c:numCache>
                <c:formatCode>General</c:formatCode>
                <c:ptCount val="2"/>
                <c:pt idx="0">
                  <c:v>2926</c:v>
                </c:pt>
                <c:pt idx="1">
                  <c:v>1031</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3E5B82-BBB9-4F5B-A56B-D85D4C8100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4B6EFB-D657-4A31-B81A-ADF11BE69F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B4A09D4-165D-42FF-84CA-FDA349E7D4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53C5E1E-9A64-43CB-8AC9-05E0C2C352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15E75D5-C429-4A4C-9715-6D0EF4F40E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3C8FEE9-70DD-49C7-89BF-DE903E7594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289ADBA-8F1B-4C84-B0B1-B12D798974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6F80F50-14DC-4DA4-81CA-ADDF1B0488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38200000000001</c:v>
                </c:pt>
                <c:pt idx="1">
                  <c:v>12.5786</c:v>
                </c:pt>
              </c:numCache>
            </c:numRef>
          </c:xVal>
          <c:yVal>
            <c:numRef>
              <c:f>Sheet1!$B$2:$B$3</c:f>
              <c:numCache>
                <c:formatCode>General</c:formatCode>
                <c:ptCount val="2"/>
                <c:pt idx="0">
                  <c:v>1.0049999999999999</c:v>
                </c:pt>
                <c:pt idx="1">
                  <c:v>0.98799999999999999</c:v>
                </c:pt>
              </c:numCache>
            </c:numRef>
          </c:yVal>
          <c:bubbleSize>
            <c:numRef>
              <c:f>Sheet1!$C$2:$C$3</c:f>
              <c:numCache>
                <c:formatCode>General</c:formatCode>
                <c:ptCount val="2"/>
                <c:pt idx="0">
                  <c:v>90445</c:v>
                </c:pt>
                <c:pt idx="1">
                  <c:v>33132</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2AF282-9660-433B-848C-BFD56F212C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E3A3DD-F6BB-4AE0-9ACF-1997D73758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FE40E62-4906-4FA0-8557-F6C0D903A7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E4867A5-708A-4C0B-8DCB-9A3A7E6027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233D2EA-53A2-4C9D-BBAD-2EBC1D33D4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7B9BBE-EF28-4807-9F42-2780A4615C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70FB3FD-F224-48F1-BD56-B15CA92920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9DBAF38-E1DB-472C-BF1F-59F20343B5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132</c:v>
                </c:pt>
                <c:pt idx="1">
                  <c:v>12.680300000000001</c:v>
                </c:pt>
              </c:numCache>
            </c:numRef>
          </c:xVal>
          <c:yVal>
            <c:numRef>
              <c:f>Sheet1!$B$2:$B$3</c:f>
              <c:numCache>
                <c:formatCode>General</c:formatCode>
                <c:ptCount val="2"/>
                <c:pt idx="0">
                  <c:v>1.002</c:v>
                </c:pt>
                <c:pt idx="1">
                  <c:v>0.99299999999999999</c:v>
                </c:pt>
              </c:numCache>
            </c:numRef>
          </c:yVal>
          <c:bubbleSize>
            <c:numRef>
              <c:f>Sheet1!$C$2:$C$3</c:f>
              <c:numCache>
                <c:formatCode>General</c:formatCode>
                <c:ptCount val="2"/>
                <c:pt idx="0">
                  <c:v>57352</c:v>
                </c:pt>
                <c:pt idx="1">
                  <c:v>17372</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6C6B18-7ABA-42BC-97CB-39B276607E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49C336-5328-41BB-ACB5-E4F0EE2E8A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00509D8-C37D-4854-A67C-982732114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BBE24D0-B24C-4ED4-9417-88A4DEF818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9112351-D3AC-4075-B8A5-F49D07728D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38FE1E4-AB5A-4310-A3E4-BEDA2EB87F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14CD149-8961-42CC-B729-BDC9DF2A9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A3E009-62F3-4F45-B1D3-5BF7323024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7636</c:v>
                </c:pt>
                <c:pt idx="1">
                  <c:v>12.488200000000001</c:v>
                </c:pt>
              </c:numCache>
            </c:numRef>
          </c:xVal>
          <c:yVal>
            <c:numRef>
              <c:f>Sheet1!$B$2:$B$3</c:f>
              <c:numCache>
                <c:formatCode>General</c:formatCode>
                <c:ptCount val="2"/>
                <c:pt idx="0">
                  <c:v>1.0049999999999999</c:v>
                </c:pt>
                <c:pt idx="1">
                  <c:v>0.98499999999999999</c:v>
                </c:pt>
              </c:numCache>
            </c:numRef>
          </c:yVal>
          <c:bubbleSize>
            <c:numRef>
              <c:f>Sheet1!$C$2:$C$3</c:f>
              <c:numCache>
                <c:formatCode>General</c:formatCode>
                <c:ptCount val="2"/>
                <c:pt idx="0">
                  <c:v>84776</c:v>
                </c:pt>
                <c:pt idx="1">
                  <c:v>26937</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3332A5-1719-4867-A9AC-D2900B4F5C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1757FA-73E0-4C39-A524-2C433A0EC7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52F4F21-2F5A-4E90-A91D-78A05E8E66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E71DE90-152E-403B-A954-E02A3A7AA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795DDFD-9E2E-4741-935D-9117D57DC1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4B945D1-BA71-4590-8D9F-E649916649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17BEC2-1F0C-41BE-A6DF-1F29A510DA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6387C74-D9CF-450C-A5FB-3173ABDD90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292</c:v>
                </c:pt>
                <c:pt idx="1">
                  <c:v>12.502700000000001</c:v>
                </c:pt>
              </c:numCache>
            </c:numRef>
          </c:xVal>
          <c:yVal>
            <c:numRef>
              <c:f>Sheet1!$B$2:$B$3</c:f>
              <c:numCache>
                <c:formatCode>General</c:formatCode>
                <c:ptCount val="2"/>
                <c:pt idx="0">
                  <c:v>0.98199999999999998</c:v>
                </c:pt>
                <c:pt idx="1">
                  <c:v>0.95599999999999996</c:v>
                </c:pt>
              </c:numCache>
            </c:numRef>
          </c:yVal>
          <c:bubbleSize>
            <c:numRef>
              <c:f>Sheet1!$C$2:$C$3</c:f>
              <c:numCache>
                <c:formatCode>General</c:formatCode>
                <c:ptCount val="2"/>
                <c:pt idx="0">
                  <c:v>75885</c:v>
                </c:pt>
                <c:pt idx="1">
                  <c:v>23255</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1EED16-BDCC-49DF-9625-6ACDD5B6F2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D01B40-0700-49FA-A347-3A18BDCBEF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FD7FCE0-B72D-42A1-80D3-7F7D47652B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256BF31-5739-42AE-9E4C-596DE7D818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0453B3E-0E2E-4635-A09F-88572ED1F3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D57714E-A0D0-4563-98A8-E7FDBDCF30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5FC6A1-3CB7-42D1-9688-5C67808A03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FDE85E4-15A4-4C56-8BCA-CAA0FC6509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803900000000001</c:v>
                </c:pt>
                <c:pt idx="1">
                  <c:v>12.6892</c:v>
                </c:pt>
              </c:numCache>
            </c:numRef>
          </c:xVal>
          <c:yVal>
            <c:numRef>
              <c:f>Sheet1!$B$2:$B$3</c:f>
              <c:numCache>
                <c:formatCode>General</c:formatCode>
                <c:ptCount val="2"/>
                <c:pt idx="0">
                  <c:v>0.998</c:v>
                </c:pt>
                <c:pt idx="1">
                  <c:v>0.99199999999999999</c:v>
                </c:pt>
              </c:numCache>
            </c:numRef>
          </c:yVal>
          <c:bubbleSize>
            <c:numRef>
              <c:f>Sheet1!$C$2:$C$3</c:f>
              <c:numCache>
                <c:formatCode>General</c:formatCode>
                <c:ptCount val="2"/>
                <c:pt idx="0">
                  <c:v>76798</c:v>
                </c:pt>
                <c:pt idx="1">
                  <c:v>21394</c:v>
                </c:pt>
              </c:numCache>
            </c:numRef>
          </c:bubbleSize>
          <c:bubble3D val="0"/>
          <c:extLst>
            <c:ext xmlns:c15="http://schemas.microsoft.com/office/drawing/2012/chart" uri="{02D57815-91ED-43cb-92C2-25804820EDAC}">
              <c15:datalabelsRange>
                <c15:f>Sheet1!$E$2:$E$10</c15:f>
                <c15:dlblRangeCache>
                  <c:ptCount val="9"/>
                  <c:pt idx="0">
                    <c:v>Kriter</c:v>
                  </c:pt>
                  <c:pt idx="1">
                    <c:v>Patriarch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9AA2F7-4FF8-4614-9344-89F2611A25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B52B2F-C790-4975-8D07-32DB2B7C85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492FAE-38F0-4294-A74D-02D5C37CC0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9EFD70-64BE-4EB7-8C7C-0DC3EC4763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86FDF0-F96E-4F62-96D4-E4B2ACE264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5A67E3-E1EA-42A0-BFF3-4783A4E24D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D22ABF-7588-42A9-826E-78B201AB49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36CCA1-C3CA-4B8A-9598-E4F6D8EF9A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000000000003</c:v>
                </c:pt>
                <c:pt idx="1">
                  <c:v>5.4188999999999998</c:v>
                </c:pt>
                <c:pt idx="2">
                  <c:v>6.3528000000000002</c:v>
                </c:pt>
                <c:pt idx="3">
                  <c:v>6.7249999999999996</c:v>
                </c:pt>
                <c:pt idx="4">
                  <c:v>7.1329000000000002</c:v>
                </c:pt>
                <c:pt idx="5">
                  <c:v>6.0354999999999999</c:v>
                </c:pt>
                <c:pt idx="6">
                  <c:v>7.5696000000000003</c:v>
                </c:pt>
                <c:pt idx="7">
                  <c:v>5.5134999999999996</c:v>
                </c:pt>
              </c:numCache>
            </c:numRef>
          </c:xVal>
          <c:yVal>
            <c:numRef>
              <c:f>Sheet1!$B$2:$B$9</c:f>
              <c:numCache>
                <c:formatCode>General</c:formatCode>
                <c:ptCount val="8"/>
                <c:pt idx="0">
                  <c:v>1.149</c:v>
                </c:pt>
                <c:pt idx="1">
                  <c:v>0.82099999999999995</c:v>
                </c:pt>
                <c:pt idx="2">
                  <c:v>0.97099999999999997</c:v>
                </c:pt>
                <c:pt idx="3">
                  <c:v>1.097</c:v>
                </c:pt>
                <c:pt idx="4">
                  <c:v>1.0580000000000001</c:v>
                </c:pt>
                <c:pt idx="5">
                  <c:v>0.95699999999999996</c:v>
                </c:pt>
                <c:pt idx="6">
                  <c:v>1.0629999999999999</c:v>
                </c:pt>
                <c:pt idx="7">
                  <c:v>0.89300000000000002</c:v>
                </c:pt>
              </c:numCache>
            </c:numRef>
          </c:yVal>
          <c:bubbleSize>
            <c:numRef>
              <c:f>Sheet1!$C$2:$C$9</c:f>
              <c:numCache>
                <c:formatCode>General</c:formatCode>
                <c:ptCount val="8"/>
                <c:pt idx="0">
                  <c:v>26217786</c:v>
                </c:pt>
                <c:pt idx="1">
                  <c:v>25627765</c:v>
                </c:pt>
                <c:pt idx="2">
                  <c:v>21170443</c:v>
                </c:pt>
                <c:pt idx="3">
                  <c:v>15294585</c:v>
                </c:pt>
                <c:pt idx="4">
                  <c:v>12946978</c:v>
                </c:pt>
                <c:pt idx="5">
                  <c:v>5219639</c:v>
                </c:pt>
                <c:pt idx="6">
                  <c:v>3730611</c:v>
                </c:pt>
                <c:pt idx="7">
                  <c:v>3036504</c:v>
                </c:pt>
              </c:numCache>
            </c:numRef>
          </c:bubbleSize>
          <c:bubble3D val="0"/>
          <c:extLst>
            <c:ext xmlns:c15="http://schemas.microsoft.com/office/drawing/2012/chart" uri="{02D57815-91ED-43cb-92C2-25804820EDAC}">
              <c15:datalabelsRange>
                <c15:f>Sheet1!$E$2:$E$10</c15:f>
                <c15:dlblRangeCache>
                  <c:ptCount val="9"/>
                  <c:pt idx="0">
                    <c:v>Campari</c:v>
                  </c:pt>
                  <c:pt idx="1">
                    <c:v>Mdd</c:v>
                  </c:pt>
                  <c:pt idx="2">
                    <c:v>Castel</c:v>
                  </c:pt>
                  <c:pt idx="3">
                    <c:v>Perlino</c:v>
                  </c:pt>
                  <c:pt idx="4">
                    <c:v>Mionetto</c:v>
                  </c:pt>
                  <c:pt idx="5">
                    <c:v>Signore Giuseppe</c:v>
                  </c:pt>
                  <c:pt idx="6">
                    <c:v>Maschio</c:v>
                  </c:pt>
                  <c:pt idx="7">
                    <c:v>Nobran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3B2856-99C6-4F98-89E5-CCDA1CD4A9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8FC96C-E9D6-4A0B-8852-E5521634C0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0913AA-E570-481F-950E-7A2D98975B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2C58E9-D396-4B02-BEF5-BD436933CF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98F7E63-D9EC-4245-853E-D577ABA70C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EA61EE6-D7A2-4312-AA01-EDEA598486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0343500-837C-4FF9-A3E9-B2232CEE8A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08A58EA-3C1D-49CE-A28B-260BACCC59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3982000000000001</c:v>
                </c:pt>
                <c:pt idx="1">
                  <c:v>11.451499999999999</c:v>
                </c:pt>
                <c:pt idx="2">
                  <c:v>9.1104000000000003</c:v>
                </c:pt>
                <c:pt idx="3">
                  <c:v>11.444699999999999</c:v>
                </c:pt>
              </c:numCache>
            </c:numRef>
          </c:xVal>
          <c:yVal>
            <c:numRef>
              <c:f>Sheet1!$B$2:$B$5</c:f>
              <c:numCache>
                <c:formatCode>General</c:formatCode>
                <c:ptCount val="4"/>
                <c:pt idx="0">
                  <c:v>0.82599999999999996</c:v>
                </c:pt>
                <c:pt idx="1">
                  <c:v>1.278</c:v>
                </c:pt>
                <c:pt idx="2">
                  <c:v>1.0169999999999999</c:v>
                </c:pt>
                <c:pt idx="3">
                  <c:v>1.077</c:v>
                </c:pt>
              </c:numCache>
            </c:numRef>
          </c:yVal>
          <c:bubbleSize>
            <c:numRef>
              <c:f>Sheet1!$C$2:$C$5</c:f>
              <c:numCache>
                <c:formatCode>General</c:formatCode>
                <c:ptCount val="4"/>
                <c:pt idx="0">
                  <c:v>670018</c:v>
                </c:pt>
                <c:pt idx="1">
                  <c:v>607538</c:v>
                </c:pt>
                <c:pt idx="2">
                  <c:v>323774</c:v>
                </c:pt>
                <c:pt idx="3">
                  <c:v>90905</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437FFF-367E-4A5D-82D1-CCC5A27CCB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F8D081-381C-4ECC-B230-DF2ED50D80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5357DA-367E-4BFE-B6DE-041AE1B389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AF5996-C7FB-456A-A7BD-BD8A924721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469C05-0C1A-4648-9170-2A16A7DC17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7B5186-06EE-48E2-A28D-FC33DE4CB2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FC3EC5-5CB3-471B-9128-13CB57D6BA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0FEE02-3232-4B5B-9470-20B3ABB24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000000000003</c:v>
                </c:pt>
                <c:pt idx="1">
                  <c:v>5.4188999999999998</c:v>
                </c:pt>
                <c:pt idx="2">
                  <c:v>6.3528000000000002</c:v>
                </c:pt>
                <c:pt idx="3">
                  <c:v>6.7249999999999996</c:v>
                </c:pt>
                <c:pt idx="4">
                  <c:v>7.1329000000000002</c:v>
                </c:pt>
                <c:pt idx="5">
                  <c:v>6.0354999999999999</c:v>
                </c:pt>
                <c:pt idx="6">
                  <c:v>7.5696000000000003</c:v>
                </c:pt>
                <c:pt idx="7">
                  <c:v>5.5134999999999996</c:v>
                </c:pt>
              </c:numCache>
            </c:numRef>
          </c:xVal>
          <c:yVal>
            <c:numRef>
              <c:f>Sheet1!$B$2:$B$9</c:f>
              <c:numCache>
                <c:formatCode>General</c:formatCode>
                <c:ptCount val="8"/>
                <c:pt idx="0">
                  <c:v>1.1539999999999999</c:v>
                </c:pt>
                <c:pt idx="1">
                  <c:v>0.82399999999999995</c:v>
                </c:pt>
                <c:pt idx="2">
                  <c:v>0.97499999999999998</c:v>
                </c:pt>
                <c:pt idx="3">
                  <c:v>1.1020000000000001</c:v>
                </c:pt>
                <c:pt idx="4">
                  <c:v>1.0620000000000001</c:v>
                </c:pt>
                <c:pt idx="5">
                  <c:v>0.96099999999999997</c:v>
                </c:pt>
                <c:pt idx="6">
                  <c:v>1.0680000000000001</c:v>
                </c:pt>
                <c:pt idx="7">
                  <c:v>0.89600000000000002</c:v>
                </c:pt>
              </c:numCache>
            </c:numRef>
          </c:yVal>
          <c:bubbleSize>
            <c:numRef>
              <c:f>Sheet1!$C$2:$C$9</c:f>
              <c:numCache>
                <c:formatCode>General</c:formatCode>
                <c:ptCount val="8"/>
                <c:pt idx="0">
                  <c:v>26217786</c:v>
                </c:pt>
                <c:pt idx="1">
                  <c:v>25627765</c:v>
                </c:pt>
                <c:pt idx="2">
                  <c:v>21162718</c:v>
                </c:pt>
                <c:pt idx="3">
                  <c:v>15294585</c:v>
                </c:pt>
                <c:pt idx="4">
                  <c:v>12946978</c:v>
                </c:pt>
                <c:pt idx="5">
                  <c:v>5219639</c:v>
                </c:pt>
                <c:pt idx="6">
                  <c:v>3730611</c:v>
                </c:pt>
                <c:pt idx="7">
                  <c:v>3036504</c:v>
                </c:pt>
              </c:numCache>
            </c:numRef>
          </c:bubbleSize>
          <c:bubble3D val="0"/>
          <c:extLst>
            <c:ext xmlns:c15="http://schemas.microsoft.com/office/drawing/2012/chart" uri="{02D57815-91ED-43cb-92C2-25804820EDAC}">
              <c15:datalabelsRange>
                <c15:f>Sheet1!$E$2:$E$10</c15:f>
                <c15:dlblRangeCache>
                  <c:ptCount val="9"/>
                  <c:pt idx="0">
                    <c:v>Campari</c:v>
                  </c:pt>
                  <c:pt idx="1">
                    <c:v>Mdd</c:v>
                  </c:pt>
                  <c:pt idx="2">
                    <c:v>Castel</c:v>
                  </c:pt>
                  <c:pt idx="3">
                    <c:v>Perlino</c:v>
                  </c:pt>
                  <c:pt idx="4">
                    <c:v>Mionetto</c:v>
                  </c:pt>
                  <c:pt idx="5">
                    <c:v>Signore Giuseppe</c:v>
                  </c:pt>
                  <c:pt idx="6">
                    <c:v>Maschio</c:v>
                  </c:pt>
                  <c:pt idx="7">
                    <c:v>Nobran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9BB6CD-2AC2-4360-876B-2E9C29C35B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53E7DC-9605-40F1-ABC5-2298C0FF08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94E917-3236-4587-92DB-25BA7B980D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7ED3AF-F1DC-4DC2-98D0-F88C296E0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5AD66B3-022C-4BBA-86CD-59869CD43F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4287355-F13D-45B9-9091-B0A3EA2ED7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B2C33B4-AE0F-4D58-889F-0C9B5AD5F8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E36C07B-7F95-4CCC-A16E-EA5448A0FC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409999999999998</c:v>
                </c:pt>
                <c:pt idx="1">
                  <c:v>11.4527</c:v>
                </c:pt>
                <c:pt idx="2">
                  <c:v>9.0898000000000003</c:v>
                </c:pt>
                <c:pt idx="3">
                  <c:v>11.3033</c:v>
                </c:pt>
              </c:numCache>
            </c:numRef>
          </c:xVal>
          <c:yVal>
            <c:numRef>
              <c:f>Sheet1!$B$2:$B$5</c:f>
              <c:numCache>
                <c:formatCode>General</c:formatCode>
                <c:ptCount val="4"/>
                <c:pt idx="0">
                  <c:v>0.82899999999999996</c:v>
                </c:pt>
                <c:pt idx="1">
                  <c:v>1.2749999999999999</c:v>
                </c:pt>
                <c:pt idx="2">
                  <c:v>1.012</c:v>
                </c:pt>
                <c:pt idx="3">
                  <c:v>1.0740000000000001</c:v>
                </c:pt>
              </c:numCache>
            </c:numRef>
          </c:yVal>
          <c:bubbleSize>
            <c:numRef>
              <c:f>Sheet1!$C$2:$C$5</c:f>
              <c:numCache>
                <c:formatCode>General</c:formatCode>
                <c:ptCount val="4"/>
                <c:pt idx="0">
                  <c:v>328526</c:v>
                </c:pt>
                <c:pt idx="1">
                  <c:v>290933</c:v>
                </c:pt>
                <c:pt idx="2">
                  <c:v>172107</c:v>
                </c:pt>
                <c:pt idx="3">
                  <c:v>43710</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BE09FA3-B4F4-4A5F-8EFE-8E59ED3C0F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5BF0EE9-5712-4526-9EA9-506571523F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CEB62A2-8B25-4336-A86A-7A63004A3F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12704D1-3482-48C8-A084-737BB559ED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C4073E7-18E9-4F45-8AA0-2B70431582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5CB490B-E7A7-43AA-B3FE-65EF3BDAB5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7760F5D-47DC-4402-A468-6F8499D6E8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4149131-3581-4D6D-A7B1-AEF3AC15CB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85499999999999</c:v>
                </c:pt>
                <c:pt idx="1">
                  <c:v>30.786100000000001</c:v>
                </c:pt>
                <c:pt idx="2">
                  <c:v>18.6905</c:v>
                </c:pt>
                <c:pt idx="3">
                  <c:v>25.835599999999999</c:v>
                </c:pt>
                <c:pt idx="4">
                  <c:v>24.3565</c:v>
                </c:pt>
                <c:pt idx="5">
                  <c:v>40.955100000000002</c:v>
                </c:pt>
                <c:pt idx="6">
                  <c:v>58.941899999999997</c:v>
                </c:pt>
                <c:pt idx="7">
                  <c:v>22.180499999999999</c:v>
                </c:pt>
              </c:numCache>
            </c:numRef>
          </c:xVal>
          <c:yVal>
            <c:numRef>
              <c:f>Sheet1!$B$2:$B$9</c:f>
              <c:numCache>
                <c:formatCode>General</c:formatCode>
                <c:ptCount val="8"/>
                <c:pt idx="0">
                  <c:v>1.042</c:v>
                </c:pt>
                <c:pt idx="1">
                  <c:v>1.4850000000000001</c:v>
                </c:pt>
                <c:pt idx="2">
                  <c:v>0.30399999999999999</c:v>
                </c:pt>
                <c:pt idx="3">
                  <c:v>1.222</c:v>
                </c:pt>
                <c:pt idx="4">
                  <c:v>1.109</c:v>
                </c:pt>
                <c:pt idx="5">
                  <c:v>1.952</c:v>
                </c:pt>
                <c:pt idx="6">
                  <c:v>2.8620000000000001</c:v>
                </c:pt>
                <c:pt idx="7">
                  <c:v>1.1200000000000001</c:v>
                </c:pt>
              </c:numCache>
            </c:numRef>
          </c:yVal>
          <c:bubbleSize>
            <c:numRef>
              <c:f>Sheet1!$C$2:$C$9</c:f>
              <c:numCache>
                <c:formatCode>General</c:formatCode>
                <c:ptCount val="8"/>
                <c:pt idx="0">
                  <c:v>63941275</c:v>
                </c:pt>
                <c:pt idx="1">
                  <c:v>37787787</c:v>
                </c:pt>
                <c:pt idx="2">
                  <c:v>26748672</c:v>
                </c:pt>
                <c:pt idx="3">
                  <c:v>24364022</c:v>
                </c:pt>
                <c:pt idx="4">
                  <c:v>23515927</c:v>
                </c:pt>
                <c:pt idx="5">
                  <c:v>20957933</c:v>
                </c:pt>
                <c:pt idx="6">
                  <c:v>15468822</c:v>
                </c:pt>
                <c:pt idx="7">
                  <c:v>4641984</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harles Lafitte</c:v>
                  </c:pt>
                  <c:pt idx="3">
                    <c:v>Canard Duchêne</c:v>
                  </c:pt>
                  <c:pt idx="4">
                    <c:v>Alfred De Rothschild</c:v>
                  </c:pt>
                  <c:pt idx="5">
                    <c:v>Moët &amp; Chandon</c:v>
                  </c:pt>
                  <c:pt idx="6">
                    <c:v>Ruinart</c:v>
                  </c:pt>
                  <c:pt idx="7">
                    <c:v>Nicolas</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
          <c:min val="1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9624AB-AA43-4F3E-889D-8CC03254F2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4C97D4-2A97-46A9-9B81-6E90CBDD14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741474-C403-4FB1-8FD8-FDD2399590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28DC8E-40DB-4AEA-AEC1-1D34CA37E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209060F-596E-48A2-B148-8D351C0D26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7F5559-B0CC-453C-A17F-800FA6E0E2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D95B02F-A76D-4CC5-82C7-250A53AA6A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1D2CF95-D279-43D0-90BC-CD6BCC8B0C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3243999999999998</c:v>
                </c:pt>
                <c:pt idx="1">
                  <c:v>11.3698</c:v>
                </c:pt>
                <c:pt idx="2">
                  <c:v>9.0983000000000001</c:v>
                </c:pt>
                <c:pt idx="3">
                  <c:v>11.728</c:v>
                </c:pt>
              </c:numCache>
            </c:numRef>
          </c:xVal>
          <c:yVal>
            <c:numRef>
              <c:f>Sheet1!$B$2:$B$5</c:f>
              <c:numCache>
                <c:formatCode>General</c:formatCode>
                <c:ptCount val="4"/>
                <c:pt idx="0">
                  <c:v>0.82199999999999995</c:v>
                </c:pt>
                <c:pt idx="1">
                  <c:v>1.2749999999999999</c:v>
                </c:pt>
                <c:pt idx="2">
                  <c:v>1.022</c:v>
                </c:pt>
                <c:pt idx="3">
                  <c:v>1.083</c:v>
                </c:pt>
              </c:numCache>
            </c:numRef>
          </c:yVal>
          <c:bubbleSize>
            <c:numRef>
              <c:f>Sheet1!$C$2:$C$5</c:f>
              <c:numCache>
                <c:formatCode>General</c:formatCode>
                <c:ptCount val="4"/>
                <c:pt idx="0">
                  <c:v>120296</c:v>
                </c:pt>
                <c:pt idx="1">
                  <c:v>108729</c:v>
                </c:pt>
                <c:pt idx="2">
                  <c:v>55136</c:v>
                </c:pt>
                <c:pt idx="3">
                  <c:v>17287</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114CF9-3AE7-4C38-8DEF-C95A4AA33D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5AABA5-7A3F-4138-9B10-71758BDE35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431F70-0B8F-4A1C-956D-00C2C7CC3C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606877-E3C6-4529-97AC-07B800EF0F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10BEBE5-9136-49AB-99DD-9E9816D494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F86E1BE-7E3E-4C45-AF98-9715854D6E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B336E88-750E-4374-A69B-4389F20A10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6FD0AE-4F98-4E1D-B02C-981ED54D7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25599999999999</c:v>
                </c:pt>
                <c:pt idx="1">
                  <c:v>7.4080000000000004</c:v>
                </c:pt>
                <c:pt idx="2">
                  <c:v>9.1058000000000003</c:v>
                </c:pt>
                <c:pt idx="3">
                  <c:v>11.3514</c:v>
                </c:pt>
              </c:numCache>
            </c:numRef>
          </c:xVal>
          <c:yVal>
            <c:numRef>
              <c:f>Sheet1!$B$2:$B$5</c:f>
              <c:numCache>
                <c:formatCode>General</c:formatCode>
                <c:ptCount val="4"/>
                <c:pt idx="0">
                  <c:v>1.256</c:v>
                </c:pt>
                <c:pt idx="1">
                  <c:v>0.81399999999999995</c:v>
                </c:pt>
                <c:pt idx="2">
                  <c:v>1.002</c:v>
                </c:pt>
                <c:pt idx="3">
                  <c:v>1.0620000000000001</c:v>
                </c:pt>
              </c:numCache>
            </c:numRef>
          </c:yVal>
          <c:bubbleSize>
            <c:numRef>
              <c:f>Sheet1!$C$2:$C$5</c:f>
              <c:numCache>
                <c:formatCode>General</c:formatCode>
                <c:ptCount val="4"/>
                <c:pt idx="0">
                  <c:v>75203</c:v>
                </c:pt>
                <c:pt idx="1">
                  <c:v>69902</c:v>
                </c:pt>
                <c:pt idx="2">
                  <c:v>40348</c:v>
                </c:pt>
                <c:pt idx="3">
                  <c:v>9206</c:v>
                </c:pt>
              </c:numCache>
            </c:numRef>
          </c:bubbleSize>
          <c:bubble3D val="0"/>
          <c:extLst>
            <c:ext xmlns:c15="http://schemas.microsoft.com/office/drawing/2012/chart" uri="{02D57815-91ED-43cb-92C2-25804820EDAC}">
              <c15:datalabelsRange>
                <c15:f>Sheet1!$E$2:$E$10</c15:f>
                <c15:dlblRangeCache>
                  <c:ptCount val="9"/>
                  <c:pt idx="0">
                    <c:v>Bottega</c:v>
                  </c:pt>
                  <c:pt idx="1">
                    <c:v>Cantine Vitevis</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D8A52D-4DA1-4B35-AD45-127BF534B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DC7DB4-7659-43C6-8F15-3A9B21593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D97BFF-1FFC-45C7-9194-BE5A232D93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E43BE7-148D-49B8-A6BA-27CD9B6DE7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EA1064-05A3-48D0-9850-398AC42BD4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E1BA951-A553-4811-A7B0-BE9DB2BBE9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CAF2DD3-A639-4CC8-8E78-332662A047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349642D-A656-4100-840E-7533C321AA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5523999999999996</c:v>
                </c:pt>
                <c:pt idx="1">
                  <c:v>11.524699999999999</c:v>
                </c:pt>
                <c:pt idx="2">
                  <c:v>9.1434999999999995</c:v>
                </c:pt>
                <c:pt idx="3">
                  <c:v>11.5547</c:v>
                </c:pt>
              </c:numCache>
            </c:numRef>
          </c:xVal>
          <c:yVal>
            <c:numRef>
              <c:f>Sheet1!$B$2:$B$5</c:f>
              <c:numCache>
                <c:formatCode>General</c:formatCode>
                <c:ptCount val="4"/>
                <c:pt idx="0">
                  <c:v>0.82599999999999996</c:v>
                </c:pt>
                <c:pt idx="1">
                  <c:v>1.258</c:v>
                </c:pt>
                <c:pt idx="2">
                  <c:v>1.0009999999999999</c:v>
                </c:pt>
                <c:pt idx="3">
                  <c:v>1.06</c:v>
                </c:pt>
              </c:numCache>
            </c:numRef>
          </c:yVal>
          <c:bubbleSize>
            <c:numRef>
              <c:f>Sheet1!$C$2:$C$5</c:f>
              <c:numCache>
                <c:formatCode>General</c:formatCode>
                <c:ptCount val="4"/>
                <c:pt idx="0">
                  <c:v>35013</c:v>
                </c:pt>
                <c:pt idx="1">
                  <c:v>34574</c:v>
                </c:pt>
                <c:pt idx="2">
                  <c:v>19558</c:v>
                </c:pt>
                <c:pt idx="3">
                  <c:v>4437</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3F41A6-21C9-428B-BE29-6C9F5BB03D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9A84BF-6548-4880-B1AE-3CDD262A8B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E73259-27E8-4DCC-AE78-ECD7B24114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C8894C-6C58-4355-89EC-253545401C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83D9C3-DA35-482E-88A5-0DC9645C08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321A58F-7225-439E-A731-0FA39EFDA7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BBCAB87-FF00-476A-8AE6-A3ADF4E5C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9E86608-C19D-44CC-95B9-2687652902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1877000000000004</c:v>
                </c:pt>
                <c:pt idx="1">
                  <c:v>11.4154</c:v>
                </c:pt>
                <c:pt idx="2">
                  <c:v>9.2040000000000006</c:v>
                </c:pt>
                <c:pt idx="3">
                  <c:v>12.408200000000001</c:v>
                </c:pt>
                <c:pt idx="4">
                  <c:v>6.5754999999999999</c:v>
                </c:pt>
              </c:numCache>
            </c:numRef>
          </c:xVal>
          <c:yVal>
            <c:numRef>
              <c:f>Sheet1!$B$2:$B$6</c:f>
              <c:numCache>
                <c:formatCode>General</c:formatCode>
                <c:ptCount val="5"/>
                <c:pt idx="0">
                  <c:v>0.83199999999999996</c:v>
                </c:pt>
                <c:pt idx="1">
                  <c:v>1.325</c:v>
                </c:pt>
                <c:pt idx="2">
                  <c:v>1.06</c:v>
                </c:pt>
                <c:pt idx="3">
                  <c:v>1.109</c:v>
                </c:pt>
                <c:pt idx="4">
                  <c:v>0.73799999999999999</c:v>
                </c:pt>
              </c:numCache>
            </c:numRef>
          </c:yVal>
          <c:bubbleSize>
            <c:numRef>
              <c:f>Sheet1!$C$2:$C$6</c:f>
              <c:numCache>
                <c:formatCode>General</c:formatCode>
                <c:ptCount val="5"/>
                <c:pt idx="0">
                  <c:v>37448</c:v>
                </c:pt>
                <c:pt idx="1">
                  <c:v>29406</c:v>
                </c:pt>
                <c:pt idx="2">
                  <c:v>12361</c:v>
                </c:pt>
                <c:pt idx="3">
                  <c:v>5472</c:v>
                </c:pt>
                <c:pt idx="4">
                  <c:v>2525</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pt idx="4">
                    <c:v>Cast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1F9496-B0D6-4841-AFA8-C714DE668A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0C8E64-457D-4E68-B15D-1B2010701F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11591E-B32E-4CAB-9B54-4D5EF5B37F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24D622-584A-4009-A8B0-92AD13708C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11DC6A8-409B-4934-9CBB-991D63F10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6CBE3B2-165E-43D4-B0C7-11258EC34C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1A428A5-A235-4CE0-98C1-E103750EC1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7165A86-DC95-43B3-99B2-1A699AEF8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691999999999998</c:v>
                </c:pt>
                <c:pt idx="1">
                  <c:v>11.437099999999999</c:v>
                </c:pt>
                <c:pt idx="2">
                  <c:v>9.0905000000000005</c:v>
                </c:pt>
                <c:pt idx="3">
                  <c:v>11.5092</c:v>
                </c:pt>
              </c:numCache>
            </c:numRef>
          </c:xVal>
          <c:yVal>
            <c:numRef>
              <c:f>Sheet1!$B$2:$B$5</c:f>
              <c:numCache>
                <c:formatCode>General</c:formatCode>
                <c:ptCount val="4"/>
                <c:pt idx="0">
                  <c:v>0.82599999999999996</c:v>
                </c:pt>
                <c:pt idx="1">
                  <c:v>1.264</c:v>
                </c:pt>
                <c:pt idx="2">
                  <c:v>1.0049999999999999</c:v>
                </c:pt>
                <c:pt idx="3">
                  <c:v>1.0629999999999999</c:v>
                </c:pt>
              </c:numCache>
            </c:numRef>
          </c:yVal>
          <c:bubbleSize>
            <c:numRef>
              <c:f>Sheet1!$C$2:$C$5</c:f>
              <c:numCache>
                <c:formatCode>General</c:formatCode>
                <c:ptCount val="4"/>
                <c:pt idx="0">
                  <c:v>448308</c:v>
                </c:pt>
                <c:pt idx="1">
                  <c:v>428822</c:v>
                </c:pt>
                <c:pt idx="2">
                  <c:v>237189</c:v>
                </c:pt>
                <c:pt idx="3">
                  <c:v>61275</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AF5314-7635-4CC8-A3DB-FB41BA7278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5324B8-6A85-431F-9A81-75F5C8EDF4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C1D69F-30D5-4438-A72C-3C3695855C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534577-EF79-4BE3-9604-0480CEBF95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3F98378-4CBB-4B98-B754-A04A1E5676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A6EBAED-1E88-405C-B812-81BBFAF5E3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07B710-89F8-46F1-9F2D-6DA855E936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304E6AB-7E5E-48D5-84C4-1F74C96B35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4709</c:v>
                </c:pt>
                <c:pt idx="1">
                  <c:v>7.3208000000000002</c:v>
                </c:pt>
                <c:pt idx="2">
                  <c:v>9.1577000000000002</c:v>
                </c:pt>
                <c:pt idx="3">
                  <c:v>11.4771</c:v>
                </c:pt>
              </c:numCache>
            </c:numRef>
          </c:xVal>
          <c:yVal>
            <c:numRef>
              <c:f>Sheet1!$B$2:$B$5</c:f>
              <c:numCache>
                <c:formatCode>General</c:formatCode>
                <c:ptCount val="4"/>
                <c:pt idx="0">
                  <c:v>1.272</c:v>
                </c:pt>
                <c:pt idx="1">
                  <c:v>0.81100000000000005</c:v>
                </c:pt>
                <c:pt idx="2">
                  <c:v>1.016</c:v>
                </c:pt>
                <c:pt idx="3">
                  <c:v>1.0620000000000001</c:v>
                </c:pt>
              </c:numCache>
            </c:numRef>
          </c:yVal>
          <c:bubbleSize>
            <c:numRef>
              <c:f>Sheet1!$C$2:$C$5</c:f>
              <c:numCache>
                <c:formatCode>General</c:formatCode>
                <c:ptCount val="4"/>
                <c:pt idx="0">
                  <c:v>78289</c:v>
                </c:pt>
                <c:pt idx="1">
                  <c:v>76114</c:v>
                </c:pt>
                <c:pt idx="2">
                  <c:v>32061</c:v>
                </c:pt>
                <c:pt idx="3">
                  <c:v>8252</c:v>
                </c:pt>
              </c:numCache>
            </c:numRef>
          </c:bubbleSize>
          <c:bubble3D val="0"/>
          <c:extLst>
            <c:ext xmlns:c15="http://schemas.microsoft.com/office/drawing/2012/chart" uri="{02D57815-91ED-43cb-92C2-25804820EDAC}">
              <c15:datalabelsRange>
                <c15:f>Sheet1!$E$2:$E$10</c15:f>
                <c15:dlblRangeCache>
                  <c:ptCount val="9"/>
                  <c:pt idx="0">
                    <c:v>Bottega</c:v>
                  </c:pt>
                  <c:pt idx="1">
                    <c:v>Cantine Vitevis</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39EF15-3BA8-41F3-AACB-246590F8B6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C39748-5766-44FD-8C8B-E414805CD7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179870-CFE0-440E-AD2B-E5F4D4E247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0FB445-4C9A-451E-AA5F-173ABAD263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86F9B3F-1E2B-479B-A1BE-D5E728A4FE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6A3105B-820E-4F25-A32E-3ED2435A05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2AD68F-61C9-4128-9692-29BBADF2BB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148C0D6-43DA-48C5-846C-741D91A923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1779000000000002</c:v>
                </c:pt>
                <c:pt idx="1">
                  <c:v>11.4886</c:v>
                </c:pt>
                <c:pt idx="2">
                  <c:v>9.1776</c:v>
                </c:pt>
                <c:pt idx="3">
                  <c:v>11.551</c:v>
                </c:pt>
                <c:pt idx="4">
                  <c:v>6.4760999999999997</c:v>
                </c:pt>
              </c:numCache>
            </c:numRef>
          </c:xVal>
          <c:yVal>
            <c:numRef>
              <c:f>Sheet1!$B$2:$B$6</c:f>
              <c:numCache>
                <c:formatCode>General</c:formatCode>
                <c:ptCount val="5"/>
                <c:pt idx="0">
                  <c:v>0.83199999999999996</c:v>
                </c:pt>
                <c:pt idx="1">
                  <c:v>1.3320000000000001</c:v>
                </c:pt>
                <c:pt idx="2">
                  <c:v>1.0660000000000001</c:v>
                </c:pt>
                <c:pt idx="3">
                  <c:v>1.119</c:v>
                </c:pt>
                <c:pt idx="4">
                  <c:v>0.749</c:v>
                </c:pt>
              </c:numCache>
            </c:numRef>
          </c:yVal>
          <c:bubbleSize>
            <c:numRef>
              <c:f>Sheet1!$C$2:$C$6</c:f>
              <c:numCache>
                <c:formatCode>General</c:formatCode>
                <c:ptCount val="5"/>
                <c:pt idx="0">
                  <c:v>49398</c:v>
                </c:pt>
                <c:pt idx="1">
                  <c:v>41175</c:v>
                </c:pt>
                <c:pt idx="2">
                  <c:v>22788</c:v>
                </c:pt>
                <c:pt idx="3">
                  <c:v>8259</c:v>
                </c:pt>
                <c:pt idx="4">
                  <c:v>7726</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pt idx="4">
                    <c:v>Cast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8B2147-64CA-4664-8804-74D150CA5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8034AF-925B-4956-8B7D-6702B177A0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1D4180-3C6E-4ACB-ACBA-936281FBE0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292503-A3DE-43D6-8D7D-D6FCB29633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C0E4858-45F3-4C32-96F4-C9FF4865E7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3EFCA55-96F3-4DA2-99B4-569BEB487A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2535CEC-8A73-4FC4-BDB7-74B1027494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98173C1-E9B0-4BD8-88AF-078D478CA5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2351000000000001</c:v>
                </c:pt>
                <c:pt idx="1">
                  <c:v>11.490399999999999</c:v>
                </c:pt>
                <c:pt idx="2">
                  <c:v>9.1667000000000005</c:v>
                </c:pt>
                <c:pt idx="3">
                  <c:v>10.4292</c:v>
                </c:pt>
              </c:numCache>
            </c:numRef>
          </c:xVal>
          <c:yVal>
            <c:numRef>
              <c:f>Sheet1!$B$2:$B$5</c:f>
              <c:numCache>
                <c:formatCode>General</c:formatCode>
                <c:ptCount val="4"/>
                <c:pt idx="0">
                  <c:v>0.84199999999999997</c:v>
                </c:pt>
                <c:pt idx="1">
                  <c:v>1.3240000000000001</c:v>
                </c:pt>
                <c:pt idx="2">
                  <c:v>1.06</c:v>
                </c:pt>
                <c:pt idx="3">
                  <c:v>1.145</c:v>
                </c:pt>
              </c:numCache>
            </c:numRef>
          </c:yVal>
          <c:bubbleSize>
            <c:numRef>
              <c:f>Sheet1!$C$2:$C$5</c:f>
              <c:numCache>
                <c:formatCode>General</c:formatCode>
                <c:ptCount val="4"/>
                <c:pt idx="0">
                  <c:v>20461</c:v>
                </c:pt>
                <c:pt idx="1">
                  <c:v>13214</c:v>
                </c:pt>
                <c:pt idx="2">
                  <c:v>5555</c:v>
                </c:pt>
                <c:pt idx="3">
                  <c:v>2284</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94FE72-0624-4F2D-9A58-01B9BD7067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325AA0-03A5-4725-AA9B-12286BA281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609E98-9B0A-4555-A158-BA565091B5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19EEC2-A0F4-42DF-84DC-06DDCDC70E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CCBA2DA-7888-4F6C-9F66-9D350C88C1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B825AC5-3A37-43D7-8FF6-AD7C8E3BC4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DB3030-398D-410D-AE01-1613BD4F96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EEDBC70-BB97-4B30-B33A-86D13A9662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2667999999999999</c:v>
                </c:pt>
                <c:pt idx="1">
                  <c:v>9.0344999999999995</c:v>
                </c:pt>
                <c:pt idx="2">
                  <c:v>11.645300000000001</c:v>
                </c:pt>
                <c:pt idx="3">
                  <c:v>11.3782</c:v>
                </c:pt>
              </c:numCache>
            </c:numRef>
          </c:xVal>
          <c:yVal>
            <c:numRef>
              <c:f>Sheet1!$B$2:$B$5</c:f>
              <c:numCache>
                <c:formatCode>General</c:formatCode>
                <c:ptCount val="4"/>
                <c:pt idx="0">
                  <c:v>0.86</c:v>
                </c:pt>
                <c:pt idx="1">
                  <c:v>1.079</c:v>
                </c:pt>
                <c:pt idx="2">
                  <c:v>1.337</c:v>
                </c:pt>
                <c:pt idx="3">
                  <c:v>1.115</c:v>
                </c:pt>
              </c:numCache>
            </c:numRef>
          </c:yVal>
          <c:bubbleSize>
            <c:numRef>
              <c:f>Sheet1!$C$2:$C$5</c:f>
              <c:numCache>
                <c:formatCode>General</c:formatCode>
                <c:ptCount val="4"/>
                <c:pt idx="0">
                  <c:v>8226</c:v>
                </c:pt>
                <c:pt idx="1">
                  <c:v>3930</c:v>
                </c:pt>
                <c:pt idx="2">
                  <c:v>3447</c:v>
                </c:pt>
                <c:pt idx="3">
                  <c:v>1775</c:v>
                </c:pt>
              </c:numCache>
            </c:numRef>
          </c:bubbleSize>
          <c:bubble3D val="0"/>
          <c:extLst>
            <c:ext xmlns:c15="http://schemas.microsoft.com/office/drawing/2012/chart" uri="{02D57815-91ED-43cb-92C2-25804820EDAC}">
              <c15:datalabelsRange>
                <c15:f>Sheet1!$E$2:$E$10</c15:f>
                <c15:dlblRangeCache>
                  <c:ptCount val="9"/>
                  <c:pt idx="0">
                    <c:v>Cantine Vitevis</c:v>
                  </c:pt>
                  <c:pt idx="1">
                    <c:v>Chardonnier</c:v>
                  </c:pt>
                  <c:pt idx="2">
                    <c:v>Bottega</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A4B8FD-993E-4C53-9AA2-1E7FF47B44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D7C7A1-A609-405D-B8D5-ED69A2B313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13139B-C7DB-4303-BF84-B3560206E1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CC5D23-E8FD-40E9-98AD-BD513794A6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785EBA-7930-4FAF-BB7C-99CAE5365C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D25DC77-EB5D-4C40-AFCA-F7ECCD930D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D021519-ED37-4C6E-B566-DF734A4748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CDD39D-5FB6-4D85-9DD4-D97BEA4835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4457</c:v>
                </c:pt>
                <c:pt idx="1">
                  <c:v>7.3361000000000001</c:v>
                </c:pt>
                <c:pt idx="2">
                  <c:v>9.1258999999999997</c:v>
                </c:pt>
                <c:pt idx="3">
                  <c:v>11.2964</c:v>
                </c:pt>
                <c:pt idx="4">
                  <c:v>6.4696999999999996</c:v>
                </c:pt>
              </c:numCache>
            </c:numRef>
          </c:xVal>
          <c:yVal>
            <c:numRef>
              <c:f>Sheet1!$B$2:$B$6</c:f>
              <c:numCache>
                <c:formatCode>General</c:formatCode>
                <c:ptCount val="5"/>
                <c:pt idx="0">
                  <c:v>1.2709999999999999</c:v>
                </c:pt>
                <c:pt idx="1">
                  <c:v>0.81499999999999995</c:v>
                </c:pt>
                <c:pt idx="2">
                  <c:v>1.0129999999999999</c:v>
                </c:pt>
                <c:pt idx="3">
                  <c:v>1.0720000000000001</c:v>
                </c:pt>
                <c:pt idx="4">
                  <c:v>0.71799999999999997</c:v>
                </c:pt>
              </c:numCache>
            </c:numRef>
          </c:yVal>
          <c:bubbleSize>
            <c:numRef>
              <c:f>Sheet1!$C$2:$C$6</c:f>
              <c:numCache>
                <c:formatCode>General</c:formatCode>
                <c:ptCount val="5"/>
                <c:pt idx="0">
                  <c:v>195596</c:v>
                </c:pt>
                <c:pt idx="1">
                  <c:v>182031</c:v>
                </c:pt>
                <c:pt idx="2">
                  <c:v>96917</c:v>
                </c:pt>
                <c:pt idx="3">
                  <c:v>19859</c:v>
                </c:pt>
                <c:pt idx="4">
                  <c:v>7686</c:v>
                </c:pt>
              </c:numCache>
            </c:numRef>
          </c:bubbleSize>
          <c:bubble3D val="0"/>
          <c:extLst>
            <c:ext xmlns:c15="http://schemas.microsoft.com/office/drawing/2012/chart" uri="{02D57815-91ED-43cb-92C2-25804820EDAC}">
              <c15:datalabelsRange>
                <c15:f>Sheet1!$E$2:$E$10</c15:f>
                <c15:dlblRangeCache>
                  <c:ptCount val="9"/>
                  <c:pt idx="0">
                    <c:v>Bottega</c:v>
                  </c:pt>
                  <c:pt idx="1">
                    <c:v>Cantine Vitevis</c:v>
                  </c:pt>
                  <c:pt idx="2">
                    <c:v>Chardonnier</c:v>
                  </c:pt>
                  <c:pt idx="3">
                    <c:v>Contarini</c:v>
                  </c:pt>
                  <c:pt idx="4">
                    <c:v>Cast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3A3D66C-92F8-4A30-A3A9-02895CBEB0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7C4DCE8-589B-42ED-B317-0D33828999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753B213-BF1A-4C94-BB1A-69E065015C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9DE0CC7-FA3E-4BA4-B070-FB0DC4F9D7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5B7CDF3-4A0A-4FCF-B6FA-2027E45630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22F18FD1-86D6-4843-BE15-4223E7AAA5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CCD27386-9891-471B-BA13-F9DB911A89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C67376CE-EA69-447E-8C6D-14D347E01D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5609</c:v>
                </c:pt>
                <c:pt idx="1">
                  <c:v>30.4114</c:v>
                </c:pt>
                <c:pt idx="2">
                  <c:v>31.256699999999999</c:v>
                </c:pt>
                <c:pt idx="3">
                  <c:v>34.277999999999999</c:v>
                </c:pt>
              </c:numCache>
            </c:numRef>
          </c:xVal>
          <c:yVal>
            <c:numRef>
              <c:f>Sheet1!$B$2:$B$5</c:f>
              <c:numCache>
                <c:formatCode>General</c:formatCode>
                <c:ptCount val="4"/>
                <c:pt idx="0">
                  <c:v>0.98699999999999999</c:v>
                </c:pt>
                <c:pt idx="1">
                  <c:v>1.016</c:v>
                </c:pt>
                <c:pt idx="2">
                  <c:v>1.0429999999999999</c:v>
                </c:pt>
                <c:pt idx="3">
                  <c:v>1.0940000000000001</c:v>
                </c:pt>
              </c:numCache>
            </c:numRef>
          </c:yVal>
          <c:bubbleSize>
            <c:numRef>
              <c:f>Sheet1!$C$2:$C$5</c:f>
              <c:numCache>
                <c:formatCode>General</c:formatCode>
                <c:ptCount val="4"/>
                <c:pt idx="0">
                  <c:v>2004646</c:v>
                </c:pt>
                <c:pt idx="1">
                  <c:v>529675</c:v>
                </c:pt>
                <c:pt idx="2">
                  <c:v>278560</c:v>
                </c:pt>
                <c:pt idx="3">
                  <c:v>67699</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E2F415-708C-4717-AAFD-F1F5F19EB5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492C35-8693-451B-82F3-39249C6514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7E4160-5290-4893-8B8F-C2CE422667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915800-A823-4BAF-BDFB-49B758C568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5184A5D-D914-40DA-8573-B75464F146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64E5323-A817-4553-BBDA-2764204E1D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F2263D-C477-42FA-82BD-AA2CCEC354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C110D19-7F8A-4856-B135-D4C1E81866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564000000000004</c:v>
                </c:pt>
                <c:pt idx="1">
                  <c:v>11.4999</c:v>
                </c:pt>
                <c:pt idx="2">
                  <c:v>9.0538000000000007</c:v>
                </c:pt>
                <c:pt idx="3">
                  <c:v>11.5052</c:v>
                </c:pt>
              </c:numCache>
            </c:numRef>
          </c:xVal>
          <c:yVal>
            <c:numRef>
              <c:f>Sheet1!$B$2:$B$5</c:f>
              <c:numCache>
                <c:formatCode>General</c:formatCode>
                <c:ptCount val="4"/>
                <c:pt idx="0">
                  <c:v>0.83599999999999997</c:v>
                </c:pt>
                <c:pt idx="1">
                  <c:v>1.2909999999999999</c:v>
                </c:pt>
                <c:pt idx="2">
                  <c:v>1.0169999999999999</c:v>
                </c:pt>
                <c:pt idx="3">
                  <c:v>1.08</c:v>
                </c:pt>
              </c:numCache>
            </c:numRef>
          </c:yVal>
          <c:bubbleSize>
            <c:numRef>
              <c:f>Sheet1!$C$2:$C$5</c:f>
              <c:numCache>
                <c:formatCode>General</c:formatCode>
                <c:ptCount val="4"/>
                <c:pt idx="0">
                  <c:v>102466</c:v>
                </c:pt>
                <c:pt idx="1">
                  <c:v>82178</c:v>
                </c:pt>
                <c:pt idx="2">
                  <c:v>39538</c:v>
                </c:pt>
                <c:pt idx="3">
                  <c:v>12207</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DE9A03-4C65-4778-936B-3BCE520211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89EFB7-7930-49F3-9E31-BABB1D16CF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27FAE7-C65D-4B54-9C38-04B4D0E190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1A19B6-B219-4F93-8052-BFFC409427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FB72B39-A81A-4187-B089-86C51015D9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3FD8CC8-6E3C-4F69-B28A-41316CE7A0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3FBB0AD-F59F-439F-9C05-99E2A9B19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C7A8019-2A8C-4F1F-9335-82461AD9B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028</c:v>
                </c:pt>
                <c:pt idx="1">
                  <c:v>11.404999999999999</c:v>
                </c:pt>
                <c:pt idx="2">
                  <c:v>9.0840999999999994</c:v>
                </c:pt>
                <c:pt idx="3">
                  <c:v>11.535</c:v>
                </c:pt>
              </c:numCache>
            </c:numRef>
          </c:xVal>
          <c:yVal>
            <c:numRef>
              <c:f>Sheet1!$B$2:$B$5</c:f>
              <c:numCache>
                <c:formatCode>General</c:formatCode>
                <c:ptCount val="4"/>
                <c:pt idx="0">
                  <c:v>0.82099999999999995</c:v>
                </c:pt>
                <c:pt idx="1">
                  <c:v>1.266</c:v>
                </c:pt>
                <c:pt idx="2">
                  <c:v>1.008</c:v>
                </c:pt>
                <c:pt idx="3">
                  <c:v>1.07</c:v>
                </c:pt>
              </c:numCache>
            </c:numRef>
          </c:yVal>
          <c:bubbleSize>
            <c:numRef>
              <c:f>Sheet1!$C$2:$C$5</c:f>
              <c:numCache>
                <c:formatCode>General</c:formatCode>
                <c:ptCount val="4"/>
                <c:pt idx="0">
                  <c:v>154682</c:v>
                </c:pt>
                <c:pt idx="1">
                  <c:v>150888</c:v>
                </c:pt>
                <c:pt idx="2">
                  <c:v>86281</c:v>
                </c:pt>
                <c:pt idx="3">
                  <c:v>19102</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D0371C-B410-40F6-9209-DB25F4F0EF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5D90A2-2712-4147-BFFB-4AFABD0128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002639-048B-4D6C-913A-A491FBF86B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8C6F87-0D2F-4400-AE26-5F0047326A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3E80A05-6952-4157-A4BE-AB6879EF2D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F3F9E5F-9261-4C79-95E6-2A709E7D04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12DAD0A-7A23-414E-AEA1-61DDAAE968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602E73E-1524-45E9-AAB5-62C6906D7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260000000000002</c:v>
                </c:pt>
                <c:pt idx="1">
                  <c:v>11.3996</c:v>
                </c:pt>
                <c:pt idx="2">
                  <c:v>9.1219000000000001</c:v>
                </c:pt>
                <c:pt idx="3">
                  <c:v>11.543699999999999</c:v>
                </c:pt>
              </c:numCache>
            </c:numRef>
          </c:xVal>
          <c:yVal>
            <c:numRef>
              <c:f>Sheet1!$B$2:$B$5</c:f>
              <c:numCache>
                <c:formatCode>General</c:formatCode>
                <c:ptCount val="4"/>
                <c:pt idx="0">
                  <c:v>0.83199999999999996</c:v>
                </c:pt>
                <c:pt idx="1">
                  <c:v>1.276</c:v>
                </c:pt>
                <c:pt idx="2">
                  <c:v>1.0229999999999999</c:v>
                </c:pt>
                <c:pt idx="3">
                  <c:v>1.0820000000000001</c:v>
                </c:pt>
              </c:numCache>
            </c:numRef>
          </c:yVal>
          <c:bubbleSize>
            <c:numRef>
              <c:f>Sheet1!$C$2:$C$5</c:f>
              <c:numCache>
                <c:formatCode>General</c:formatCode>
                <c:ptCount val="4"/>
                <c:pt idx="0">
                  <c:v>121638</c:v>
                </c:pt>
                <c:pt idx="1">
                  <c:v>101593</c:v>
                </c:pt>
                <c:pt idx="2">
                  <c:v>56501</c:v>
                </c:pt>
                <c:pt idx="3">
                  <c:v>17154</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BA38D7-B8F4-4594-BA45-84F8529049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CA7E12-E248-4417-9AE1-19F8C22521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5FF080-2E59-45E8-8AAA-AE1FD346DF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6E5CF1-4C61-417E-8E3A-166DBE298B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B6D01BD-BB14-4054-8D65-1163D2BD1D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3B96C3-85E3-4261-BB75-AE959E199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CEB234E-521E-4216-8428-CD2B2E9873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101E10D-4DE4-4B14-ABF4-70A01FC948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7.4020000000000001</c:v>
                </c:pt>
                <c:pt idx="1">
                  <c:v>11.5068</c:v>
                </c:pt>
                <c:pt idx="2">
                  <c:v>9.1301000000000005</c:v>
                </c:pt>
                <c:pt idx="3">
                  <c:v>11.2819</c:v>
                </c:pt>
              </c:numCache>
            </c:numRef>
          </c:xVal>
          <c:yVal>
            <c:numRef>
              <c:f>Sheet1!$B$2:$B$5</c:f>
              <c:numCache>
                <c:formatCode>General</c:formatCode>
                <c:ptCount val="4"/>
                <c:pt idx="0">
                  <c:v>0.83699999999999997</c:v>
                </c:pt>
                <c:pt idx="1">
                  <c:v>1.3009999999999999</c:v>
                </c:pt>
                <c:pt idx="2">
                  <c:v>1.0329999999999999</c:v>
                </c:pt>
                <c:pt idx="3">
                  <c:v>1.095</c:v>
                </c:pt>
              </c:numCache>
            </c:numRef>
          </c:yVal>
          <c:bubbleSize>
            <c:numRef>
              <c:f>Sheet1!$C$2:$C$5</c:f>
              <c:numCache>
                <c:formatCode>General</c:formatCode>
                <c:ptCount val="4"/>
                <c:pt idx="0">
                  <c:v>109224</c:v>
                </c:pt>
                <c:pt idx="1">
                  <c:v>77326</c:v>
                </c:pt>
                <c:pt idx="2">
                  <c:v>44555</c:v>
                </c:pt>
                <c:pt idx="3">
                  <c:v>22609</c:v>
                </c:pt>
              </c:numCache>
            </c:numRef>
          </c:bubbleSize>
          <c:bubble3D val="0"/>
          <c:extLst>
            <c:ext xmlns:c15="http://schemas.microsoft.com/office/drawing/2012/chart" uri="{02D57815-91ED-43cb-92C2-25804820EDAC}">
              <c15:datalabelsRange>
                <c15:f>Sheet1!$E$2:$E$10</c15:f>
                <c15:dlblRangeCache>
                  <c:ptCount val="9"/>
                  <c:pt idx="0">
                    <c:v>Cantine Vitevis</c:v>
                  </c:pt>
                  <c:pt idx="1">
                    <c:v>Bottega</c:v>
                  </c:pt>
                  <c:pt idx="2">
                    <c:v>Chardonnier</c:v>
                  </c:pt>
                  <c:pt idx="3">
                    <c:v>Contari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10B672-9FBE-4444-B6FC-A93F226812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4B0FBE-A138-41C6-AFE3-FFAE627550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D055A6-D5FD-4E63-BCEF-1B9D86A8A7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692E39-89D6-4F21-B198-DB24F31355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92CB77-AF3E-4D24-B50E-17CC4E8CE8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7B09F8-68DF-4A02-BD59-967E43B40F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3FB4481-5607-49F2-BE2B-0EC1696B2F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DF0D7D-12C6-44B5-9549-C367576702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000000000001</c:v>
                </c:pt>
                <c:pt idx="1">
                  <c:v>6.4625000000000004</c:v>
                </c:pt>
                <c:pt idx="2">
                  <c:v>6.7061999999999999</c:v>
                </c:pt>
                <c:pt idx="3">
                  <c:v>6.0472000000000001</c:v>
                </c:pt>
                <c:pt idx="4">
                  <c:v>7.4202000000000004</c:v>
                </c:pt>
                <c:pt idx="5">
                  <c:v>6.5438000000000001</c:v>
                </c:pt>
                <c:pt idx="6">
                  <c:v>6.5370999999999997</c:v>
                </c:pt>
                <c:pt idx="7">
                  <c:v>6.8582000000000001</c:v>
                </c:pt>
              </c:numCache>
            </c:numRef>
          </c:xVal>
          <c:yVal>
            <c:numRef>
              <c:f>Sheet1!$B$2:$B$9</c:f>
              <c:numCache>
                <c:formatCode>General</c:formatCode>
                <c:ptCount val="8"/>
                <c:pt idx="0">
                  <c:v>0.99199999999999999</c:v>
                </c:pt>
                <c:pt idx="1">
                  <c:v>1.012</c:v>
                </c:pt>
                <c:pt idx="2">
                  <c:v>0.77200000000000002</c:v>
                </c:pt>
                <c:pt idx="3">
                  <c:v>0.92300000000000004</c:v>
                </c:pt>
                <c:pt idx="4">
                  <c:v>1.202</c:v>
                </c:pt>
                <c:pt idx="5">
                  <c:v>1.1759999999999999</c:v>
                </c:pt>
                <c:pt idx="6">
                  <c:v>0.74199999999999999</c:v>
                </c:pt>
                <c:pt idx="7">
                  <c:v>1.306</c:v>
                </c:pt>
              </c:numCache>
            </c:numRef>
          </c:yVal>
          <c:bubbleSize>
            <c:numRef>
              <c:f>Sheet1!$C$2:$C$9</c:f>
              <c:numCache>
                <c:formatCode>General</c:formatCode>
                <c:ptCount val="8"/>
                <c:pt idx="0">
                  <c:v>26939241</c:v>
                </c:pt>
                <c:pt idx="1">
                  <c:v>11877367</c:v>
                </c:pt>
                <c:pt idx="2">
                  <c:v>6775215</c:v>
                </c:pt>
                <c:pt idx="3">
                  <c:v>5266419</c:v>
                </c:pt>
                <c:pt idx="4">
                  <c:v>3181796</c:v>
                </c:pt>
                <c:pt idx="5">
                  <c:v>2333478</c:v>
                </c:pt>
                <c:pt idx="6">
                  <c:v>964260</c:v>
                </c:pt>
                <c:pt idx="7">
                  <c:v>953391</c:v>
                </c:pt>
              </c:numCache>
            </c:numRef>
          </c:bubbleSize>
          <c:bubble3D val="0"/>
          <c:extLst>
            <c:ext xmlns:c15="http://schemas.microsoft.com/office/drawing/2012/chart" uri="{02D57815-91ED-43cb-92C2-25804820EDAC}">
              <c15:datalabelsRange>
                <c15:f>Sheet1!$E$2:$E$10</c15:f>
                <c15:dlblRangeCache>
                  <c:ptCount val="9"/>
                  <c:pt idx="0">
                    <c:v>Mdd</c:v>
                  </c:pt>
                  <c:pt idx="1">
                    <c:v>Orchidees</c:v>
                  </c:pt>
                  <c:pt idx="2">
                    <c:v>Bouvet‑Ladubay</c:v>
                  </c:pt>
                  <c:pt idx="3">
                    <c:v>Gratien Et Meyer</c:v>
                  </c:pt>
                  <c:pt idx="4">
                    <c:v>Chateau Moncontour</c:v>
                  </c:pt>
                  <c:pt idx="5">
                    <c:v>Lacheteau</c:v>
                  </c:pt>
                  <c:pt idx="6">
                    <c:v>Jean Marc Toussaint</c:v>
                  </c:pt>
                  <c:pt idx="7">
                    <c:v>Sca Gd Vin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8870B8-5D0F-4C45-B92A-597B78B47C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4C4165-2F35-4D8A-B46A-0BE85E8F66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AB3077-EDCF-42FC-8E5D-636D54816D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6A2D452-A777-48FC-B5DB-78A88D1C86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1389572-F995-428F-BD60-863E7F642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CB6F3D3-159C-4647-B433-6FAF1B515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36BE10-82FB-488B-B66A-9C26720B34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6A99F79-E888-409A-8D2F-8F0E776F86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00599999999999</c:v>
                </c:pt>
                <c:pt idx="1">
                  <c:v>11.4072</c:v>
                </c:pt>
                <c:pt idx="2">
                  <c:v>13.4663</c:v>
                </c:pt>
              </c:numCache>
            </c:numRef>
          </c:xVal>
          <c:yVal>
            <c:numRef>
              <c:f>Sheet1!$B$2:$B$4</c:f>
              <c:numCache>
                <c:formatCode>General</c:formatCode>
                <c:ptCount val="3"/>
                <c:pt idx="0">
                  <c:v>0.96899999999999997</c:v>
                </c:pt>
                <c:pt idx="1">
                  <c:v>0.98299999999999998</c:v>
                </c:pt>
                <c:pt idx="2">
                  <c:v>1.1599999999999999</c:v>
                </c:pt>
              </c:numCache>
            </c:numRef>
          </c:yVal>
          <c:bubbleSize>
            <c:numRef>
              <c:f>Sheet1!$C$2:$C$4</c:f>
              <c:numCache>
                <c:formatCode>General</c:formatCode>
                <c:ptCount val="3"/>
                <c:pt idx="0">
                  <c:v>305234</c:v>
                </c:pt>
                <c:pt idx="1">
                  <c:v>282431</c:v>
                </c:pt>
                <c:pt idx="2">
                  <c:v>15804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5289F1-81A0-4A86-BC6B-63DBA06C2E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6F8430-8D05-4A08-9B45-8ECE2755F1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FC0ACD-E5F3-4172-A9C8-CCB3133530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60C364-EB74-491A-8B66-D40F27372B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96AA84-E88E-4B2E-8B11-9F3CA33485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0E74E7-38C3-4660-BDD6-024F45368D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880A45-6577-46EB-A31F-4E4FE52D58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7F5642-614C-4302-8C87-E5863B1B1C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000000000001</c:v>
                </c:pt>
                <c:pt idx="1">
                  <c:v>6.4625000000000004</c:v>
                </c:pt>
                <c:pt idx="2">
                  <c:v>6.7061999999999999</c:v>
                </c:pt>
                <c:pt idx="3">
                  <c:v>6.0472000000000001</c:v>
                </c:pt>
                <c:pt idx="4">
                  <c:v>7.1771000000000003</c:v>
                </c:pt>
                <c:pt idx="5">
                  <c:v>6.5438000000000001</c:v>
                </c:pt>
                <c:pt idx="6">
                  <c:v>6.5370999999999997</c:v>
                </c:pt>
                <c:pt idx="7">
                  <c:v>6.8582000000000001</c:v>
                </c:pt>
              </c:numCache>
            </c:numRef>
          </c:xVal>
          <c:yVal>
            <c:numRef>
              <c:f>Sheet1!$B$2:$B$9</c:f>
              <c:numCache>
                <c:formatCode>General</c:formatCode>
                <c:ptCount val="8"/>
                <c:pt idx="0">
                  <c:v>1.0009999999999999</c:v>
                </c:pt>
                <c:pt idx="1">
                  <c:v>1.0209999999999999</c:v>
                </c:pt>
                <c:pt idx="2">
                  <c:v>0.77900000000000003</c:v>
                </c:pt>
                <c:pt idx="3">
                  <c:v>0.93</c:v>
                </c:pt>
                <c:pt idx="4">
                  <c:v>1.1639999999999999</c:v>
                </c:pt>
                <c:pt idx="5">
                  <c:v>1.1859999999999999</c:v>
                </c:pt>
                <c:pt idx="6">
                  <c:v>0.748</c:v>
                </c:pt>
                <c:pt idx="7">
                  <c:v>1.3180000000000001</c:v>
                </c:pt>
              </c:numCache>
            </c:numRef>
          </c:yVal>
          <c:bubbleSize>
            <c:numRef>
              <c:f>Sheet1!$C$2:$C$9</c:f>
              <c:numCache>
                <c:formatCode>General</c:formatCode>
                <c:ptCount val="8"/>
                <c:pt idx="0">
                  <c:v>26939241</c:v>
                </c:pt>
                <c:pt idx="1">
                  <c:v>11877367</c:v>
                </c:pt>
                <c:pt idx="2">
                  <c:v>6775215</c:v>
                </c:pt>
                <c:pt idx="3">
                  <c:v>5266419</c:v>
                </c:pt>
                <c:pt idx="4">
                  <c:v>2899520</c:v>
                </c:pt>
                <c:pt idx="5">
                  <c:v>2333478</c:v>
                </c:pt>
                <c:pt idx="6">
                  <c:v>964260</c:v>
                </c:pt>
                <c:pt idx="7">
                  <c:v>953391</c:v>
                </c:pt>
              </c:numCache>
            </c:numRef>
          </c:bubbleSize>
          <c:bubble3D val="0"/>
          <c:extLst>
            <c:ext xmlns:c15="http://schemas.microsoft.com/office/drawing/2012/chart" uri="{02D57815-91ED-43cb-92C2-25804820EDAC}">
              <c15:datalabelsRange>
                <c15:f>Sheet1!$E$2:$E$10</c15:f>
                <c15:dlblRangeCache>
                  <c:ptCount val="9"/>
                  <c:pt idx="0">
                    <c:v>Mdd</c:v>
                  </c:pt>
                  <c:pt idx="1">
                    <c:v>Orchidees</c:v>
                  </c:pt>
                  <c:pt idx="2">
                    <c:v>Bouvet‑Ladubay</c:v>
                  </c:pt>
                  <c:pt idx="3">
                    <c:v>Gratien Et Meyer</c:v>
                  </c:pt>
                  <c:pt idx="4">
                    <c:v>Chateau Moncontour</c:v>
                  </c:pt>
                  <c:pt idx="5">
                    <c:v>Lacheteau</c:v>
                  </c:pt>
                  <c:pt idx="6">
                    <c:v>Jean Marc Toussaint</c:v>
                  </c:pt>
                  <c:pt idx="7">
                    <c:v>Sca Gd Vin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15C162-5B1D-44B1-856A-03E7E48DA3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A765C8-87B5-4031-92D4-33152AEB43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1BC922-A034-45AF-9117-728835382E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E387E11-2F25-46F6-AD09-A612E4DDB0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74A66EA-822A-43F2-AB16-3B596320A4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53187E2-207D-4514-ABBD-2660B25C71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DA5DE8-190E-4DDD-9118-433FBA842E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EAC07BE-8B70-457A-B46D-F7FCB529A0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8199999999999</c:v>
                </c:pt>
                <c:pt idx="1">
                  <c:v>11.792999999999999</c:v>
                </c:pt>
                <c:pt idx="2">
                  <c:v>13.5303</c:v>
                </c:pt>
              </c:numCache>
            </c:numRef>
          </c:xVal>
          <c:yVal>
            <c:numRef>
              <c:f>Sheet1!$B$2:$B$4</c:f>
              <c:numCache>
                <c:formatCode>General</c:formatCode>
                <c:ptCount val="3"/>
                <c:pt idx="0">
                  <c:v>0.97599999999999998</c:v>
                </c:pt>
                <c:pt idx="1">
                  <c:v>0.96499999999999997</c:v>
                </c:pt>
                <c:pt idx="2">
                  <c:v>1.1599999999999999</c:v>
                </c:pt>
              </c:numCache>
            </c:numRef>
          </c:yVal>
          <c:bubbleSize>
            <c:numRef>
              <c:f>Sheet1!$C$2:$C$4</c:f>
              <c:numCache>
                <c:formatCode>General</c:formatCode>
                <c:ptCount val="3"/>
                <c:pt idx="0">
                  <c:v>151528</c:v>
                </c:pt>
                <c:pt idx="1">
                  <c:v>144783</c:v>
                </c:pt>
                <c:pt idx="2">
                  <c:v>89327</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3EC369-0C02-4BA9-BCC1-EE2874F6D9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6531D9-5C75-434B-9598-73DA86CE65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1A02FC-B70F-496C-A02E-F396C012E3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A5EB9C0-D47A-4DB9-A46A-E65F6A2247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257C754-8FE3-4265-A059-E32DD93AAC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2F1708-217F-4296-8392-385630C9CA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238A036-9A84-495C-8D50-DF9898BAF0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AC52626-D989-4DF7-B4EC-74132C69D6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576</c:v>
                </c:pt>
                <c:pt idx="1">
                  <c:v>11.374499999999999</c:v>
                </c:pt>
                <c:pt idx="2">
                  <c:v>13.245200000000001</c:v>
                </c:pt>
              </c:numCache>
            </c:numRef>
          </c:xVal>
          <c:yVal>
            <c:numRef>
              <c:f>Sheet1!$B$2:$B$4</c:f>
              <c:numCache>
                <c:formatCode>General</c:formatCode>
                <c:ptCount val="3"/>
                <c:pt idx="0">
                  <c:v>0.97899999999999998</c:v>
                </c:pt>
                <c:pt idx="1">
                  <c:v>0.99399999999999999</c:v>
                </c:pt>
                <c:pt idx="2">
                  <c:v>1.159</c:v>
                </c:pt>
              </c:numCache>
            </c:numRef>
          </c:yVal>
          <c:bubbleSize>
            <c:numRef>
              <c:f>Sheet1!$C$2:$C$4</c:f>
              <c:numCache>
                <c:formatCode>General</c:formatCode>
                <c:ptCount val="3"/>
                <c:pt idx="0">
                  <c:v>61739</c:v>
                </c:pt>
                <c:pt idx="1">
                  <c:v>55678</c:v>
                </c:pt>
                <c:pt idx="2">
                  <c:v>28093</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2F4069-3333-4AC3-8288-FFA0B96F05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2D652C-FCED-4C1E-B746-91EBEA5B4B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BB2BEC-DF3E-4E0D-B881-DA2057EB61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E0FE3FE-CB18-4C68-B383-29A7714DC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E7EE471-FF1F-4A9F-BDB9-F22BC9E6C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3BD0295-D766-4725-B262-AB87105963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C08C0D7-2483-44E0-8CE7-FE5757841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6DFA859-E6F1-4254-8979-F4AAF91812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099999999999</c:v>
                </c:pt>
                <c:pt idx="1">
                  <c:v>11.7385</c:v>
                </c:pt>
                <c:pt idx="2">
                  <c:v>13.419700000000001</c:v>
                </c:pt>
              </c:numCache>
            </c:numRef>
          </c:xVal>
          <c:yVal>
            <c:numRef>
              <c:f>Sheet1!$B$2:$B$4</c:f>
              <c:numCache>
                <c:formatCode>General</c:formatCode>
                <c:ptCount val="3"/>
                <c:pt idx="0">
                  <c:v>0.94699999999999995</c:v>
                </c:pt>
                <c:pt idx="1">
                  <c:v>0.93799999999999994</c:v>
                </c:pt>
                <c:pt idx="2">
                  <c:v>1.1200000000000001</c:v>
                </c:pt>
              </c:numCache>
            </c:numRef>
          </c:yVal>
          <c:bubbleSize>
            <c:numRef>
              <c:f>Sheet1!$C$2:$C$4</c:f>
              <c:numCache>
                <c:formatCode>General</c:formatCode>
                <c:ptCount val="3"/>
                <c:pt idx="0">
                  <c:v>30427</c:v>
                </c:pt>
                <c:pt idx="1">
                  <c:v>22620</c:v>
                </c:pt>
                <c:pt idx="2">
                  <c:v>18895</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F2F6C90-9D14-4B1E-B2A8-D2BF3B32E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0384E185-8331-41C8-8AFE-9EB95FF728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FF43844D-F431-4032-A53F-5CCE35680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2C194846-DE2E-454D-BD56-039FF78404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A45473F8-B17F-4F20-B14E-F759BE884E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5AFBEC29-B250-4087-9E17-1F4D11931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F7B8479E-BE46-46B6-81E5-366034A738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AD27735F-AE49-40F4-841E-2E0F33FBB5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64100000000001</c:v>
                </c:pt>
                <c:pt idx="1">
                  <c:v>31.168800000000001</c:v>
                </c:pt>
                <c:pt idx="2">
                  <c:v>43.229799999999997</c:v>
                </c:pt>
              </c:numCache>
            </c:numRef>
          </c:xVal>
          <c:yVal>
            <c:numRef>
              <c:f>Sheet1!$B$2:$B$4</c:f>
              <c:numCache>
                <c:formatCode>General</c:formatCode>
                <c:ptCount val="3"/>
                <c:pt idx="0">
                  <c:v>0.95399999999999996</c:v>
                </c:pt>
                <c:pt idx="1">
                  <c:v>0.98599999999999999</c:v>
                </c:pt>
                <c:pt idx="2">
                  <c:v>1.369</c:v>
                </c:pt>
              </c:numCache>
            </c:numRef>
          </c:yVal>
          <c:bubbleSize>
            <c:numRef>
              <c:f>Sheet1!$C$2:$C$4</c:f>
              <c:numCache>
                <c:formatCode>General</c:formatCode>
                <c:ptCount val="3"/>
                <c:pt idx="0">
                  <c:v>2201675</c:v>
                </c:pt>
                <c:pt idx="1">
                  <c:v>1768174</c:v>
                </c:pt>
                <c:pt idx="2">
                  <c:v>478122</c:v>
                </c:pt>
              </c:numCache>
            </c:numRef>
          </c:bubbleSize>
          <c:bubble3D val="0"/>
          <c:extLst>
            <c:ext xmlns:c15="http://schemas.microsoft.com/office/drawing/2012/chart" uri="{02D57815-91ED-43cb-92C2-25804820EDAC}">
              <c15:datalabelsRange>
                <c15:f>Sheet1!$E$2:$E$10</c15:f>
                <c15:dlblRangeCache>
                  <c:ptCount val="9"/>
                  <c:pt idx="0">
                    <c:v>Canard Duchêne</c:v>
                  </c:pt>
                  <c:pt idx="1">
                    <c:v>Nicolas Feuillatte</c:v>
                  </c:pt>
                  <c:pt idx="2">
                    <c:v>Moët &amp; Chando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C97FC2-B367-4AFC-BCD8-BDBF945648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65BFD4-4EB8-42C2-B195-F0C105578A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AD10C5-149B-4CE5-BFBB-8F94E9F2D7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BF056DE-C2AA-4466-9CD2-DA7668B403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7004C60-F370-41B2-99FC-F3D8070F8D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F8FC5E-828B-4A1B-B4C2-A8531535CC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80C3E20-D3A2-4FEF-8227-C28374C27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FAB93D-DEF7-4FBF-BB45-D79F28198A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17299999999999</c:v>
                </c:pt>
                <c:pt idx="1">
                  <c:v>11.5405</c:v>
                </c:pt>
                <c:pt idx="2">
                  <c:v>13.3918</c:v>
                </c:pt>
              </c:numCache>
            </c:numRef>
          </c:xVal>
          <c:yVal>
            <c:numRef>
              <c:f>Sheet1!$B$2:$B$4</c:f>
              <c:numCache>
                <c:formatCode>General</c:formatCode>
                <c:ptCount val="3"/>
                <c:pt idx="0">
                  <c:v>0.95799999999999996</c:v>
                </c:pt>
                <c:pt idx="1">
                  <c:v>0.97899999999999998</c:v>
                </c:pt>
                <c:pt idx="2">
                  <c:v>1.1259999999999999</c:v>
                </c:pt>
              </c:numCache>
            </c:numRef>
          </c:yVal>
          <c:bubbleSize>
            <c:numRef>
              <c:f>Sheet1!$C$2:$C$4</c:f>
              <c:numCache>
                <c:formatCode>General</c:formatCode>
                <c:ptCount val="3"/>
                <c:pt idx="0">
                  <c:v>20314</c:v>
                </c:pt>
                <c:pt idx="1">
                  <c:v>16376</c:v>
                </c:pt>
                <c:pt idx="2">
                  <c:v>557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5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6B4550-C439-4C36-8C17-55AF653B9C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2932FA-0546-457C-A865-A5FAE24331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F64A0A-25FF-4EC6-AB80-7A142647C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744D803-819A-4EDC-8262-FC04C1ECEA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3E84CE0-CF6A-49DB-ABFE-6A25D893A5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0D68412-28DA-47BB-B6DF-91FB7446A8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85E7592-DBA2-44D5-A8A6-32230FBC11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0FF1AFB-1E19-4808-86BB-7BF3DE0AD7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72000000000001</c:v>
                </c:pt>
                <c:pt idx="1">
                  <c:v>11.5655</c:v>
                </c:pt>
                <c:pt idx="2">
                  <c:v>13.4473</c:v>
                </c:pt>
              </c:numCache>
            </c:numRef>
          </c:xVal>
          <c:yVal>
            <c:numRef>
              <c:f>Sheet1!$B$2:$B$4</c:f>
              <c:numCache>
                <c:formatCode>General</c:formatCode>
                <c:ptCount val="3"/>
                <c:pt idx="0">
                  <c:v>0.97799999999999998</c:v>
                </c:pt>
                <c:pt idx="1">
                  <c:v>1.0169999999999999</c:v>
                </c:pt>
                <c:pt idx="2">
                  <c:v>1.171</c:v>
                </c:pt>
              </c:numCache>
            </c:numRef>
          </c:yVal>
          <c:bubbleSize>
            <c:numRef>
              <c:f>Sheet1!$C$2:$C$4</c:f>
              <c:numCache>
                <c:formatCode>General</c:formatCode>
                <c:ptCount val="3"/>
                <c:pt idx="0">
                  <c:v>15337</c:v>
                </c:pt>
                <c:pt idx="1">
                  <c:v>8304</c:v>
                </c:pt>
                <c:pt idx="2">
                  <c:v>4720</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62BC09-2CCF-42E0-89F9-4925EA5C35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6E42FC-A2F6-4CD9-BCD9-A3A838FE4E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8ED6B0-5529-4A53-B65B-DF39405B84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0FBBDDB-42DD-4E51-BD08-45992437A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1F3FD94-4DA3-4445-BCFF-E74E71CC09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6292311-C21B-4260-847D-2874237DC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BD8322-7536-47E1-BABD-ED7816859A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4EAC141-6977-4855-8A06-8AECBA752E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957</c:v>
                </c:pt>
                <c:pt idx="1">
                  <c:v>11.78</c:v>
                </c:pt>
                <c:pt idx="2">
                  <c:v>13.4511</c:v>
                </c:pt>
              </c:numCache>
            </c:numRef>
          </c:xVal>
          <c:yVal>
            <c:numRef>
              <c:f>Sheet1!$B$2:$B$4</c:f>
              <c:numCache>
                <c:formatCode>General</c:formatCode>
                <c:ptCount val="3"/>
                <c:pt idx="0">
                  <c:v>0.95799999999999996</c:v>
                </c:pt>
                <c:pt idx="1">
                  <c:v>0.94699999999999995</c:v>
                </c:pt>
                <c:pt idx="2">
                  <c:v>1.1299999999999999</c:v>
                </c:pt>
              </c:numCache>
            </c:numRef>
          </c:yVal>
          <c:bubbleSize>
            <c:numRef>
              <c:f>Sheet1!$C$2:$C$4</c:f>
              <c:numCache>
                <c:formatCode>General</c:formatCode>
                <c:ptCount val="3"/>
                <c:pt idx="0">
                  <c:v>224587</c:v>
                </c:pt>
                <c:pt idx="1">
                  <c:v>209943</c:v>
                </c:pt>
                <c:pt idx="2">
                  <c:v>122782</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9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6B0AEC-9A17-4413-A8C9-4A2E460817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B9A5B6-129B-4A93-B501-4D90B91B48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EE7A4D-B225-41AA-95D9-186F583451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40CF2A0-DAE5-42AB-851B-DF77452BA0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EB9F567-51ED-49B4-BFCF-4C3841274E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62A3000-7D8E-44EA-89DB-518F4A402B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EFC4C03-2C67-47AF-A9F2-79DB2B0014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6B9323-A9AE-4E69-B4FA-0D6E1868E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748</c:v>
                </c:pt>
                <c:pt idx="1">
                  <c:v>11.4427</c:v>
                </c:pt>
                <c:pt idx="2">
                  <c:v>13.5473</c:v>
                </c:pt>
              </c:numCache>
            </c:numRef>
          </c:xVal>
          <c:yVal>
            <c:numRef>
              <c:f>Sheet1!$B$2:$B$4</c:f>
              <c:numCache>
                <c:formatCode>General</c:formatCode>
                <c:ptCount val="3"/>
                <c:pt idx="0">
                  <c:v>0.96599999999999997</c:v>
                </c:pt>
                <c:pt idx="1">
                  <c:v>0.97499999999999998</c:v>
                </c:pt>
                <c:pt idx="2">
                  <c:v>1.1599999999999999</c:v>
                </c:pt>
              </c:numCache>
            </c:numRef>
          </c:yVal>
          <c:bubbleSize>
            <c:numRef>
              <c:f>Sheet1!$C$2:$C$4</c:f>
              <c:numCache>
                <c:formatCode>General</c:formatCode>
                <c:ptCount val="3"/>
                <c:pt idx="0">
                  <c:v>16609</c:v>
                </c:pt>
                <c:pt idx="1">
                  <c:v>12072</c:v>
                </c:pt>
                <c:pt idx="2">
                  <c:v>8589</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B036D0-D0FA-428C-8BC1-B7FC6D28DC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87A24C-7DC6-47CB-83A6-1CE0A63C12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D1EE5E-DE06-4057-9089-6D480D730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DE7D7E0-A521-4CDC-9A00-FD959C8540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0F078DA-BC90-4309-B372-DB8A635BE7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600DD5D-87A1-4311-B732-E927BEF261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2188D43-9796-46B6-ADFB-67CA156BBE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0FDD96-7D0E-4630-871C-BE629DD9E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66199999999999</c:v>
                </c:pt>
                <c:pt idx="1">
                  <c:v>12.0534</c:v>
                </c:pt>
                <c:pt idx="2">
                  <c:v>13.274900000000001</c:v>
                </c:pt>
              </c:numCache>
            </c:numRef>
          </c:xVal>
          <c:yVal>
            <c:numRef>
              <c:f>Sheet1!$B$2:$B$4</c:f>
              <c:numCache>
                <c:formatCode>General</c:formatCode>
                <c:ptCount val="3"/>
                <c:pt idx="0">
                  <c:v>0.96099999999999997</c:v>
                </c:pt>
                <c:pt idx="1">
                  <c:v>0.93700000000000006</c:v>
                </c:pt>
                <c:pt idx="2">
                  <c:v>1.141</c:v>
                </c:pt>
              </c:numCache>
            </c:numRef>
          </c:yVal>
          <c:bubbleSize>
            <c:numRef>
              <c:f>Sheet1!$C$2:$C$4</c:f>
              <c:numCache>
                <c:formatCode>General</c:formatCode>
                <c:ptCount val="3"/>
                <c:pt idx="0">
                  <c:v>10707</c:v>
                </c:pt>
                <c:pt idx="1">
                  <c:v>7220</c:v>
                </c:pt>
                <c:pt idx="2">
                  <c:v>6133</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4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51154A-60DB-4CB6-9EB1-CF26D2A5F7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04DEA3-75A0-48A6-B5FA-64A5AA3092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A6E1B7-624B-4120-85E3-2BB604F4F9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A701015-9AD5-4BD2-8618-3867D0F26B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76CAF25-A6FD-4A64-9BA5-141558A720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396EE81-4811-4B74-87E4-14B80CAC54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C494E7-80BA-4E06-A1BF-45B90CB942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89CDAF6-EF17-4C65-B9DC-B2EA98F330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04400000000001</c:v>
                </c:pt>
                <c:pt idx="1">
                  <c:v>11.525499999999999</c:v>
                </c:pt>
                <c:pt idx="2">
                  <c:v>13.9803</c:v>
                </c:pt>
              </c:numCache>
            </c:numRef>
          </c:xVal>
          <c:yVal>
            <c:numRef>
              <c:f>Sheet1!$B$2:$B$4</c:f>
              <c:numCache>
                <c:formatCode>General</c:formatCode>
                <c:ptCount val="3"/>
                <c:pt idx="0">
                  <c:v>0.99099999999999999</c:v>
                </c:pt>
                <c:pt idx="1">
                  <c:v>1.0349999999999999</c:v>
                </c:pt>
                <c:pt idx="2">
                  <c:v>1.2250000000000001</c:v>
                </c:pt>
              </c:numCache>
            </c:numRef>
          </c:yVal>
          <c:bubbleSize>
            <c:numRef>
              <c:f>Sheet1!$C$2:$C$4</c:f>
              <c:numCache>
                <c:formatCode>General</c:formatCode>
                <c:ptCount val="3"/>
                <c:pt idx="0">
                  <c:v>10800</c:v>
                </c:pt>
                <c:pt idx="1">
                  <c:v>5878</c:v>
                </c:pt>
                <c:pt idx="2">
                  <c:v>2125</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25C11F-0BDE-4AE5-9E56-F8A38E8926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73A0C6-F828-45F1-8DA2-F85D3C6514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C589EB-28B4-4AA6-B135-4277D5A114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896022-2863-4968-AEFD-54B66EF7B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7EF52B8-BDEE-4FDB-9FA8-432A9A263B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23E5ADB-A098-4903-98D7-3B8FE0C277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ED83173-634A-403E-BD10-23C006E692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3AFDF53-59DA-4192-B05C-17F3A9D627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7005</c:v>
                </c:pt>
                <c:pt idx="1">
                  <c:v>13.552199999999999</c:v>
                </c:pt>
                <c:pt idx="2">
                  <c:v>13.9505</c:v>
                </c:pt>
                <c:pt idx="3">
                  <c:v>9.6153999999999993</c:v>
                </c:pt>
              </c:numCache>
            </c:numRef>
          </c:xVal>
          <c:yVal>
            <c:numRef>
              <c:f>Sheet1!$B$2:$B$5</c:f>
              <c:numCache>
                <c:formatCode>General</c:formatCode>
                <c:ptCount val="4"/>
                <c:pt idx="0">
                  <c:v>1</c:v>
                </c:pt>
                <c:pt idx="1">
                  <c:v>0.97099999999999997</c:v>
                </c:pt>
                <c:pt idx="2">
                  <c:v>1.1890000000000001</c:v>
                </c:pt>
                <c:pt idx="3">
                  <c:v>0.63300000000000001</c:v>
                </c:pt>
              </c:numCache>
            </c:numRef>
          </c:yVal>
          <c:bubbleSize>
            <c:numRef>
              <c:f>Sheet1!$C$2:$C$5</c:f>
              <c:numCache>
                <c:formatCode>General</c:formatCode>
                <c:ptCount val="4"/>
                <c:pt idx="0">
                  <c:v>2188</c:v>
                </c:pt>
                <c:pt idx="1">
                  <c:v>1816</c:v>
                </c:pt>
                <c:pt idx="2">
                  <c:v>1409</c:v>
                </c:pt>
                <c:pt idx="3">
                  <c:v>125</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pt idx="3">
                    <c:v>Langlo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8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C41665-37CF-4E84-9AA0-91D8AE9E5D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34484B-B092-46D8-A789-BE318AAD3F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737AE4-0427-499B-8ECE-D8B22AFA2C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0B5074F-12D7-4DF8-9B85-083DB13A77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22B3234-0294-4151-9AD5-14A65BEC01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C7EBB2A-4702-40D8-9713-2F48283AF4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51F39C9-BDCA-4AF2-BDA2-0E52A22421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4E33A5-0E90-4940-9A00-90FF5A04CA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108</c:v>
                </c:pt>
                <c:pt idx="1">
                  <c:v>11.7963</c:v>
                </c:pt>
                <c:pt idx="2">
                  <c:v>13.266400000000001</c:v>
                </c:pt>
              </c:numCache>
            </c:numRef>
          </c:xVal>
          <c:yVal>
            <c:numRef>
              <c:f>Sheet1!$B$2:$B$4</c:f>
              <c:numCache>
                <c:formatCode>General</c:formatCode>
                <c:ptCount val="3"/>
                <c:pt idx="0">
                  <c:v>0.95299999999999996</c:v>
                </c:pt>
                <c:pt idx="1">
                  <c:v>0.94699999999999995</c:v>
                </c:pt>
                <c:pt idx="2">
                  <c:v>1.115</c:v>
                </c:pt>
              </c:numCache>
            </c:numRef>
          </c:yVal>
          <c:bubbleSize>
            <c:numRef>
              <c:f>Sheet1!$C$2:$C$4</c:f>
              <c:numCache>
                <c:formatCode>General</c:formatCode>
                <c:ptCount val="3"/>
                <c:pt idx="0">
                  <c:v>64924</c:v>
                </c:pt>
                <c:pt idx="1">
                  <c:v>64278</c:v>
                </c:pt>
                <c:pt idx="2">
                  <c:v>37597</c:v>
                </c:pt>
              </c:numCache>
            </c:numRef>
          </c:bubbleSize>
          <c:bubble3D val="0"/>
          <c:extLst>
            <c:ext xmlns:c15="http://schemas.microsoft.com/office/drawing/2012/chart" uri="{02D57815-91ED-43cb-92C2-25804820EDAC}">
              <c15:datalabelsRange>
                <c15:f>Sheet1!$E$2:$E$10</c15:f>
                <c15:dlblRangeCache>
                  <c:ptCount val="9"/>
                  <c:pt idx="0">
                    <c:v>Chateau Moncontour</c:v>
                  </c:pt>
                  <c:pt idx="1">
                    <c:v>Bouvet-Ladubay</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E952FF-3700-4928-89DC-9998F47EA0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88B581-EFA9-45F4-922E-488A3F498A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67BAC4-4A94-4651-B39E-11191F3CCB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6F5FF18-6CB3-454B-AC9B-1EDEE7AF94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B1224EC-D5E7-4793-81D8-3D98C2EA2B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0360C69-2EBC-45CB-8753-F04B2C21C0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02A10B3-FA91-4219-9643-1570051FEC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FD709D-9697-4C34-B5A1-CF3BC8C1F4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6388</c:v>
                </c:pt>
                <c:pt idx="1">
                  <c:v>11.379899999999999</c:v>
                </c:pt>
                <c:pt idx="2">
                  <c:v>13.565200000000001</c:v>
                </c:pt>
              </c:numCache>
            </c:numRef>
          </c:xVal>
          <c:yVal>
            <c:numRef>
              <c:f>Sheet1!$B$2:$B$4</c:f>
              <c:numCache>
                <c:formatCode>General</c:formatCode>
                <c:ptCount val="3"/>
                <c:pt idx="0">
                  <c:v>0.97599999999999998</c:v>
                </c:pt>
                <c:pt idx="1">
                  <c:v>0.98899999999999999</c:v>
                </c:pt>
                <c:pt idx="2">
                  <c:v>1.177</c:v>
                </c:pt>
              </c:numCache>
            </c:numRef>
          </c:yVal>
          <c:bubbleSize>
            <c:numRef>
              <c:f>Sheet1!$C$2:$C$4</c:f>
              <c:numCache>
                <c:formatCode>General</c:formatCode>
                <c:ptCount val="3"/>
                <c:pt idx="0">
                  <c:v>50745</c:v>
                </c:pt>
                <c:pt idx="1">
                  <c:v>43528</c:v>
                </c:pt>
                <c:pt idx="2">
                  <c:v>23088</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7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72394B-F26E-4719-9F00-25DA7AF3CC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84888E-900C-489E-B4A9-2D8D39D3C0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1D963D-CB19-4F2D-8145-C1BECFB983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C5C4973-5884-4627-976A-1C5001D212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B07C4D0-C9BA-4BA4-BA8E-3F6641948C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B72566D-92F3-4FA4-B59C-A45E0D5917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CA313A-AC50-4C31-B42C-7CE38248DF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166165B-E015-4BBB-A30D-D9034C4B7D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7463</c:v>
                </c:pt>
                <c:pt idx="1">
                  <c:v>11.4129</c:v>
                </c:pt>
                <c:pt idx="2">
                  <c:v>13.5061</c:v>
                </c:pt>
              </c:numCache>
            </c:numRef>
          </c:xVal>
          <c:yVal>
            <c:numRef>
              <c:f>Sheet1!$B$2:$B$4</c:f>
              <c:numCache>
                <c:formatCode>General</c:formatCode>
                <c:ptCount val="3"/>
                <c:pt idx="0">
                  <c:v>0.96699999999999997</c:v>
                </c:pt>
                <c:pt idx="1">
                  <c:v>0.97799999999999998</c:v>
                </c:pt>
                <c:pt idx="2">
                  <c:v>1.155</c:v>
                </c:pt>
              </c:numCache>
            </c:numRef>
          </c:yVal>
          <c:bubbleSize>
            <c:numRef>
              <c:f>Sheet1!$C$2:$C$4</c:f>
              <c:numCache>
                <c:formatCode>General</c:formatCode>
                <c:ptCount val="3"/>
                <c:pt idx="0">
                  <c:v>74413</c:v>
                </c:pt>
                <c:pt idx="1">
                  <c:v>70235</c:v>
                </c:pt>
                <c:pt idx="2">
                  <c:v>42355</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2C8CE8-B2E5-46E5-8E39-10079F84E5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A8CD55-88A4-446B-A975-7ABA5267EB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EECFAE-0068-49DF-AC81-FEE1E91183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2AED25-361C-4E9B-A2D5-B035A8B44D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61D50B-FA8E-454A-B6B0-ED6FFE4473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A3D0A0-0956-4D93-B012-2C7A3D7D9B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6E8BC5-4CF5-4305-8532-BE37B8E832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9B62F6-B427-46A3-8AED-A4DC569459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01900000000001</c:v>
                </c:pt>
                <c:pt idx="1">
                  <c:v>167.18049999999999</c:v>
                </c:pt>
                <c:pt idx="2">
                  <c:v>91.93</c:v>
                </c:pt>
                <c:pt idx="3">
                  <c:v>37.241900000000001</c:v>
                </c:pt>
                <c:pt idx="4">
                  <c:v>65.030100000000004</c:v>
                </c:pt>
                <c:pt idx="5">
                  <c:v>232.976</c:v>
                </c:pt>
                <c:pt idx="6">
                  <c:v>63.533799999999999</c:v>
                </c:pt>
                <c:pt idx="7">
                  <c:v>264.97140000000002</c:v>
                </c:pt>
              </c:numCache>
            </c:numRef>
          </c:xVal>
          <c:yVal>
            <c:numRef>
              <c:f>Sheet1!$B$2:$B$9</c:f>
              <c:numCache>
                <c:formatCode>General</c:formatCode>
                <c:ptCount val="8"/>
                <c:pt idx="0">
                  <c:v>1.954</c:v>
                </c:pt>
                <c:pt idx="1">
                  <c:v>1.238</c:v>
                </c:pt>
                <c:pt idx="2">
                  <c:v>0.69099999999999995</c:v>
                </c:pt>
                <c:pt idx="3">
                  <c:v>0.28100000000000003</c:v>
                </c:pt>
                <c:pt idx="4">
                  <c:v>0.46800000000000003</c:v>
                </c:pt>
                <c:pt idx="5">
                  <c:v>1.7110000000000001</c:v>
                </c:pt>
                <c:pt idx="6">
                  <c:v>0.48199999999999998</c:v>
                </c:pt>
                <c:pt idx="7">
                  <c:v>1.7989999999999999</c:v>
                </c:pt>
              </c:numCache>
            </c:numRef>
          </c:yVal>
          <c:bubbleSize>
            <c:numRef>
              <c:f>Sheet1!$C$2:$C$9</c:f>
              <c:numCache>
                <c:formatCode>General</c:formatCode>
                <c:ptCount val="8"/>
                <c:pt idx="0">
                  <c:v>1119642</c:v>
                </c:pt>
                <c:pt idx="1">
                  <c:v>625088</c:v>
                </c:pt>
                <c:pt idx="2">
                  <c:v>247016</c:v>
                </c:pt>
                <c:pt idx="3">
                  <c:v>189077</c:v>
                </c:pt>
                <c:pt idx="4">
                  <c:v>101707</c:v>
                </c:pt>
                <c:pt idx="5">
                  <c:v>77814</c:v>
                </c:pt>
                <c:pt idx="6">
                  <c:v>41297</c:v>
                </c:pt>
                <c:pt idx="7">
                  <c:v>37096</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Laurent Perrier</c:v>
                  </c:pt>
                  <c:pt idx="5">
                    <c:v>Bollinger</c:v>
                  </c:pt>
                  <c:pt idx="6">
                    <c:v>Moët &amp; Chandon</c:v>
                  </c:pt>
                  <c:pt idx="7">
                    <c:v>Piper Heidsie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4A4127-2B7B-48D9-8B31-CEA40E7149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B33EF7-6222-434A-BC3C-72DBC17923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450B4E-2F35-4F08-93F5-CF3CF2078D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C3E286B-59A5-48E7-A56B-C5420118D3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D48FF90-16A1-49CA-B74D-DE880E0975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560084D-5FC0-4FDB-84F4-94315BFE47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50A0B2A-F143-4683-8AA6-F7A45F413B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9AC237-0401-4146-8372-4952DF0F41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292</c:v>
                </c:pt>
                <c:pt idx="1">
                  <c:v>11.428000000000001</c:v>
                </c:pt>
                <c:pt idx="2">
                  <c:v>13.4643</c:v>
                </c:pt>
              </c:numCache>
            </c:numRef>
          </c:xVal>
          <c:yVal>
            <c:numRef>
              <c:f>Sheet1!$B$2:$B$4</c:f>
              <c:numCache>
                <c:formatCode>General</c:formatCode>
                <c:ptCount val="3"/>
                <c:pt idx="0">
                  <c:v>0.97</c:v>
                </c:pt>
                <c:pt idx="1">
                  <c:v>0.98399999999999999</c:v>
                </c:pt>
                <c:pt idx="2">
                  <c:v>1.1579999999999999</c:v>
                </c:pt>
              </c:numCache>
            </c:numRef>
          </c:yVal>
          <c:bubbleSize>
            <c:numRef>
              <c:f>Sheet1!$C$2:$C$4</c:f>
              <c:numCache>
                <c:formatCode>General</c:formatCode>
                <c:ptCount val="3"/>
                <c:pt idx="0">
                  <c:v>55399</c:v>
                </c:pt>
                <c:pt idx="1">
                  <c:v>53220</c:v>
                </c:pt>
                <c:pt idx="2">
                  <c:v>2787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2B2F6A-3F94-4DEC-AC6D-C23B913FD0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DEDF68-85EC-42EA-8640-A3AD048034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B7505F-E141-4AFE-9746-BADDB56A29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56F5420-C2FA-450D-82DB-A5C553F03E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31722EF-149B-413B-83F6-EA4CB52763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1A5A101-2A47-4434-B1CA-268567F0AB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EE914F5-4574-456F-B0DD-2FDE5FD375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A855116-4C60-491D-88B1-E98B0494B3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56400000000001</c:v>
                </c:pt>
                <c:pt idx="1">
                  <c:v>11.451599999999999</c:v>
                </c:pt>
                <c:pt idx="2">
                  <c:v>13.463800000000001</c:v>
                </c:pt>
              </c:numCache>
            </c:numRef>
          </c:xVal>
          <c:yVal>
            <c:numRef>
              <c:f>Sheet1!$B$2:$B$4</c:f>
              <c:numCache>
                <c:formatCode>General</c:formatCode>
                <c:ptCount val="3"/>
                <c:pt idx="0">
                  <c:v>0.98299999999999998</c:v>
                </c:pt>
                <c:pt idx="1">
                  <c:v>1.0129999999999999</c:v>
                </c:pt>
                <c:pt idx="2">
                  <c:v>1.1910000000000001</c:v>
                </c:pt>
              </c:numCache>
            </c:numRef>
          </c:yVal>
          <c:bubbleSize>
            <c:numRef>
              <c:f>Sheet1!$C$2:$C$4</c:f>
              <c:numCache>
                <c:formatCode>General</c:formatCode>
                <c:ptCount val="3"/>
                <c:pt idx="0">
                  <c:v>60420</c:v>
                </c:pt>
                <c:pt idx="1">
                  <c:v>50536</c:v>
                </c:pt>
                <c:pt idx="2">
                  <c:v>27143</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827286-DF44-4573-8D57-A7CAF01E75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45080F-EE17-4A58-B9CE-E446004426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9DD177-DC09-4109-B7D0-5FE8B80339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6A31CE-1245-47BC-B3FE-14F86CD0B9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FAA437-3C92-4646-9D41-061F61E9F1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5CB146-F099-420A-8C2A-C18DA2C2EE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EE7AE4-354C-4942-A168-0FBA54953A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6DF050-9D23-430C-8ABB-41E9517775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000000000004</c:v>
                </c:pt>
                <c:pt idx="1">
                  <c:v>6.3410000000000002</c:v>
                </c:pt>
                <c:pt idx="2">
                  <c:v>7.1822999999999997</c:v>
                </c:pt>
                <c:pt idx="3">
                  <c:v>7.6665999999999999</c:v>
                </c:pt>
                <c:pt idx="4">
                  <c:v>7.1292999999999997</c:v>
                </c:pt>
                <c:pt idx="5">
                  <c:v>5.9306000000000001</c:v>
                </c:pt>
                <c:pt idx="6">
                  <c:v>6.8876999999999997</c:v>
                </c:pt>
                <c:pt idx="7">
                  <c:v>6.9467999999999996</c:v>
                </c:pt>
              </c:numCache>
            </c:numRef>
          </c:xVal>
          <c:yVal>
            <c:numRef>
              <c:f>Sheet1!$B$2:$B$9</c:f>
              <c:numCache>
                <c:formatCode>General</c:formatCode>
                <c:ptCount val="8"/>
                <c:pt idx="0">
                  <c:v>0.96499999999999997</c:v>
                </c:pt>
                <c:pt idx="1">
                  <c:v>1.153</c:v>
                </c:pt>
                <c:pt idx="2">
                  <c:v>1.0580000000000001</c:v>
                </c:pt>
                <c:pt idx="3">
                  <c:v>1.3049999999999999</c:v>
                </c:pt>
                <c:pt idx="4">
                  <c:v>0.96299999999999997</c:v>
                </c:pt>
                <c:pt idx="5">
                  <c:v>0.37</c:v>
                </c:pt>
                <c:pt idx="6">
                  <c:v>0.89300000000000002</c:v>
                </c:pt>
                <c:pt idx="7">
                  <c:v>0.93400000000000005</c:v>
                </c:pt>
              </c:numCache>
            </c:numRef>
          </c:yVal>
          <c:bubbleSize>
            <c:numRef>
              <c:f>Sheet1!$C$2:$C$9</c:f>
              <c:numCache>
                <c:formatCode>General</c:formatCode>
                <c:ptCount val="8"/>
                <c:pt idx="0">
                  <c:v>32603771</c:v>
                </c:pt>
                <c:pt idx="1">
                  <c:v>28541428</c:v>
                </c:pt>
                <c:pt idx="2">
                  <c:v>16692146</c:v>
                </c:pt>
                <c:pt idx="3">
                  <c:v>2899640</c:v>
                </c:pt>
                <c:pt idx="4">
                  <c:v>2432770</c:v>
                </c:pt>
                <c:pt idx="5">
                  <c:v>1442399</c:v>
                </c:pt>
                <c:pt idx="6">
                  <c:v>1348354</c:v>
                </c:pt>
                <c:pt idx="7">
                  <c:v>1286705</c:v>
                </c:pt>
              </c:numCache>
            </c:numRef>
          </c:bubbleSize>
          <c:bubble3D val="0"/>
          <c:extLst>
            <c:ext xmlns:c15="http://schemas.microsoft.com/office/drawing/2012/chart" uri="{02D57815-91ED-43cb-92C2-25804820EDAC}">
              <c15:datalabelsRange>
                <c15:f>Sheet1!$E$2:$E$10</c15:f>
                <c15:dlblRangeCache>
                  <c:ptCount val="9"/>
                  <c:pt idx="0">
                    <c:v>Wolfberger</c:v>
                  </c:pt>
                  <c:pt idx="1">
                    <c:v>Mdd</c:v>
                  </c:pt>
                  <c:pt idx="2">
                    <c:v>Arthur Metz</c:v>
                  </c:pt>
                  <c:pt idx="3">
                    <c:v>Bestheim</c:v>
                  </c:pt>
                  <c:pt idx="4">
                    <c:v>Cave Beblenheim</c:v>
                  </c:pt>
                  <c:pt idx="5">
                    <c:v>Les Caves Lentz</c:v>
                  </c:pt>
                  <c:pt idx="6">
                    <c:v>Geiler Jean</c:v>
                  </c:pt>
                  <c:pt idx="7">
                    <c:v>Dopf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283821-B79D-4498-AE5C-A6194C38F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91E1788-3EF9-423E-A1C7-F2857896D4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D3F4225-B5F8-485A-AE18-DEBA49127F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CC3C20D-DCF8-4467-AA1B-38168D86F0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3A3CDA3-B374-4B88-9700-F9CE4CA824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3C71988-313A-4979-A02D-05C9C41602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8AE7851-30E0-44B1-BA75-5202EB4A9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D970B22-606C-4E44-8AEB-FB4F833C3A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328</c:v>
                </c:pt>
              </c:numCache>
            </c:numRef>
          </c:xVal>
          <c:yVal>
            <c:numRef>
              <c:f>Sheet1!$B$2:$B$2</c:f>
              <c:numCache>
                <c:formatCode>General</c:formatCode>
                <c:ptCount val="1"/>
                <c:pt idx="0">
                  <c:v>1.163</c:v>
                </c:pt>
              </c:numCache>
            </c:numRef>
          </c:yVal>
          <c:bubbleSize>
            <c:numRef>
              <c:f>Sheet1!$C$2:$C$2</c:f>
              <c:numCache>
                <c:formatCode>General</c:formatCode>
                <c:ptCount val="1"/>
                <c:pt idx="0">
                  <c:v>388332</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6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89E6E1-DAC5-4407-8D6D-1AD51FF991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02173A-6EAE-4ADD-846B-D39B93A21E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59187E-37E1-40C5-91DA-B7B55963BC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8536BD-FBAF-44BD-9924-1AC9193B86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200810-701A-4748-8F18-97ED03E43F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3BA18E-8C0C-42A3-A929-33C23FCDFD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ECCD4F-9D43-4007-A670-DAE91D3B5F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1750BE-ECAD-45B2-8FA0-D89EFC4173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000000000004</c:v>
                </c:pt>
                <c:pt idx="1">
                  <c:v>6.3410000000000002</c:v>
                </c:pt>
                <c:pt idx="2">
                  <c:v>7.1822999999999997</c:v>
                </c:pt>
                <c:pt idx="3">
                  <c:v>7.6665999999999999</c:v>
                </c:pt>
                <c:pt idx="4">
                  <c:v>7.1292999999999997</c:v>
                </c:pt>
                <c:pt idx="5">
                  <c:v>5.9306000000000001</c:v>
                </c:pt>
                <c:pt idx="6">
                  <c:v>6.8876999999999997</c:v>
                </c:pt>
                <c:pt idx="7">
                  <c:v>6.9467999999999996</c:v>
                </c:pt>
              </c:numCache>
            </c:numRef>
          </c:xVal>
          <c:yVal>
            <c:numRef>
              <c:f>Sheet1!$B$2:$B$9</c:f>
              <c:numCache>
                <c:formatCode>General</c:formatCode>
                <c:ptCount val="8"/>
                <c:pt idx="0">
                  <c:v>0.96799999999999997</c:v>
                </c:pt>
                <c:pt idx="1">
                  <c:v>1.157</c:v>
                </c:pt>
                <c:pt idx="2">
                  <c:v>1.0609999999999999</c:v>
                </c:pt>
                <c:pt idx="3">
                  <c:v>1.3089999999999999</c:v>
                </c:pt>
                <c:pt idx="4">
                  <c:v>0.96599999999999997</c:v>
                </c:pt>
                <c:pt idx="5">
                  <c:v>0.371</c:v>
                </c:pt>
                <c:pt idx="6">
                  <c:v>0.89600000000000002</c:v>
                </c:pt>
                <c:pt idx="7">
                  <c:v>0.93700000000000006</c:v>
                </c:pt>
              </c:numCache>
            </c:numRef>
          </c:yVal>
          <c:bubbleSize>
            <c:numRef>
              <c:f>Sheet1!$C$2:$C$9</c:f>
              <c:numCache>
                <c:formatCode>General</c:formatCode>
                <c:ptCount val="8"/>
                <c:pt idx="0">
                  <c:v>32603771</c:v>
                </c:pt>
                <c:pt idx="1">
                  <c:v>28541428</c:v>
                </c:pt>
                <c:pt idx="2">
                  <c:v>16692146</c:v>
                </c:pt>
                <c:pt idx="3">
                  <c:v>2899640</c:v>
                </c:pt>
                <c:pt idx="4">
                  <c:v>2432770</c:v>
                </c:pt>
                <c:pt idx="5">
                  <c:v>1442399</c:v>
                </c:pt>
                <c:pt idx="6">
                  <c:v>1348354</c:v>
                </c:pt>
                <c:pt idx="7">
                  <c:v>1286705</c:v>
                </c:pt>
              </c:numCache>
            </c:numRef>
          </c:bubbleSize>
          <c:bubble3D val="0"/>
          <c:extLst>
            <c:ext xmlns:c15="http://schemas.microsoft.com/office/drawing/2012/chart" uri="{02D57815-91ED-43cb-92C2-25804820EDAC}">
              <c15:datalabelsRange>
                <c15:f>Sheet1!$E$2:$E$10</c15:f>
                <c15:dlblRangeCache>
                  <c:ptCount val="9"/>
                  <c:pt idx="0">
                    <c:v>Wolfberger</c:v>
                  </c:pt>
                  <c:pt idx="1">
                    <c:v>Mdd</c:v>
                  </c:pt>
                  <c:pt idx="2">
                    <c:v>Arthur Metz</c:v>
                  </c:pt>
                  <c:pt idx="3">
                    <c:v>Bestheim</c:v>
                  </c:pt>
                  <c:pt idx="4">
                    <c:v>Cave Beblenheim</c:v>
                  </c:pt>
                  <c:pt idx="5">
                    <c:v>Les Caves Lentz</c:v>
                  </c:pt>
                  <c:pt idx="6">
                    <c:v>Geiler Jean</c:v>
                  </c:pt>
                  <c:pt idx="7">
                    <c:v>Dopf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179145-C247-4955-8390-082A222038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2E5E963-F5E6-485B-9E9E-474C2F26C9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BFE596B-265B-4E9E-948E-FA2E0ECAF5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697A14D-513F-4BA9-A6BA-079AF69532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AC9CF65-4680-4D70-8CAD-C6C9DAF49B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A8E16D2-C09A-47D4-8AB2-57E11F09D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EFE8A52-2C35-428E-A5ED-0C0ABC22C3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CDCA2A-6974-40A7-87E3-79E0C28CDE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300000000001</c:v>
                </c:pt>
              </c:numCache>
            </c:numRef>
          </c:xVal>
          <c:yVal>
            <c:numRef>
              <c:f>Sheet1!$B$2:$B$2</c:f>
              <c:numCache>
                <c:formatCode>General</c:formatCode>
                <c:ptCount val="1"/>
                <c:pt idx="0">
                  <c:v>1.1200000000000001</c:v>
                </c:pt>
              </c:numCache>
            </c:numRef>
          </c:yVal>
          <c:bubbleSize>
            <c:numRef>
              <c:f>Sheet1!$C$2:$C$2</c:f>
              <c:numCache>
                <c:formatCode>General</c:formatCode>
                <c:ptCount val="1"/>
                <c:pt idx="0">
                  <c:v>17950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AA09E4-46E1-4E73-946F-7AE90228F3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DDA1BAC-D3D6-4F68-8057-FF73ECC18B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4935801-EE3B-4F29-AF0D-296FB593CB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376A1C8-99D9-4681-AD47-A76C417EF9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678969-081A-45C0-8B5A-213B5BF4A8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CC1EACC-CC31-4970-A460-16AFCBE243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23ED15A-85AB-4C1E-93FF-CC0E9EEB6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5FE8E4-3405-41FA-88AC-AE5D6BD933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01599999999998</c:v>
                </c:pt>
              </c:numCache>
            </c:numRef>
          </c:xVal>
          <c:yVal>
            <c:numRef>
              <c:f>Sheet1!$B$2:$B$2</c:f>
              <c:numCache>
                <c:formatCode>General</c:formatCode>
                <c:ptCount val="1"/>
                <c:pt idx="0">
                  <c:v>1.0229999999999999</c:v>
                </c:pt>
              </c:numCache>
            </c:numRef>
          </c:yVal>
          <c:bubbleSize>
            <c:numRef>
              <c:f>Sheet1!$C$2:$C$2</c:f>
              <c:numCache>
                <c:formatCode>General</c:formatCode>
                <c:ptCount val="1"/>
                <c:pt idx="0">
                  <c:v>740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7F1BE9-4E0F-4920-ABE9-ABC23507DB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EA9BBD7-AF73-4449-8F13-24CB98A0F4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3F016CC-06B8-4B64-B9B4-A88DDD0C3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1CB7F89-0F78-490A-BB5B-058DF45AF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C351062-2F82-42F0-B094-C34D2009F5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D65D4FF-76B7-468B-B693-A5C299BD3A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B8E67C-CBE2-4FA8-B4EE-45D8631489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4AC916B-A347-47E2-9665-A8C1EE50EE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55099999999999</c:v>
                </c:pt>
              </c:numCache>
            </c:numRef>
          </c:xVal>
          <c:yVal>
            <c:numRef>
              <c:f>Sheet1!$B$2:$B$2</c:f>
              <c:numCache>
                <c:formatCode>General</c:formatCode>
                <c:ptCount val="1"/>
                <c:pt idx="0">
                  <c:v>1.2589999999999999</c:v>
                </c:pt>
              </c:numCache>
            </c:numRef>
          </c:yVal>
          <c:bubbleSize>
            <c:numRef>
              <c:f>Sheet1!$C$2:$C$2</c:f>
              <c:numCache>
                <c:formatCode>General</c:formatCode>
                <c:ptCount val="1"/>
                <c:pt idx="0">
                  <c:v>51331</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19D991-164C-40D2-A058-396BDF1B6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1EB7E22-4889-493D-BB5B-5986B1AF6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49CC0E8-0943-4C1C-A347-A0C296EA8C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7C0B725-00DD-464C-AEE6-E0B79C97E6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6FC766-C38B-4251-8798-97F8C529FC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0189CD5-4C6A-4C3D-A36B-394929946B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539FF8-F137-44CD-A009-80B08FE70F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C17A30B-5708-4777-964E-0933199742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514</c:v>
                </c:pt>
              </c:numCache>
            </c:numRef>
          </c:xVal>
          <c:yVal>
            <c:numRef>
              <c:f>Sheet1!$B$2:$B$2</c:f>
              <c:numCache>
                <c:formatCode>General</c:formatCode>
                <c:ptCount val="1"/>
                <c:pt idx="0">
                  <c:v>1</c:v>
                </c:pt>
              </c:numCache>
            </c:numRef>
          </c:yVal>
          <c:bubbleSize>
            <c:numRef>
              <c:f>Sheet1!$C$2:$C$2</c:f>
              <c:numCache>
                <c:formatCode>General</c:formatCode>
                <c:ptCount val="1"/>
                <c:pt idx="0">
                  <c:v>16893</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AE6451-E05A-4486-B259-438371C422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93FAF79-3009-45F8-AF43-75CD62A3B1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C228CE4-B727-4DA9-9F87-99FB376E0C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4133F20-A554-46B0-A209-0F172B9992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C59EEC9-5785-4EE2-A522-FF2AFD6AC3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DB9CC16-0818-41E6-8C35-DCE63641A4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43B8EA-6067-4759-B0B6-BBE1A1DF59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A8862A6-3E2C-4F05-B822-A2095648D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843299999999999</c:v>
                </c:pt>
              </c:numCache>
            </c:numRef>
          </c:xVal>
          <c:yVal>
            <c:numRef>
              <c:f>Sheet1!$B$2:$B$2</c:f>
              <c:numCache>
                <c:formatCode>General</c:formatCode>
                <c:ptCount val="1"/>
                <c:pt idx="0">
                  <c:v>1.3560000000000001</c:v>
                </c:pt>
              </c:numCache>
            </c:numRef>
          </c:yVal>
          <c:bubbleSize>
            <c:numRef>
              <c:f>Sheet1!$C$2:$C$2</c:f>
              <c:numCache>
                <c:formatCode>General</c:formatCode>
                <c:ptCount val="1"/>
                <c:pt idx="0">
                  <c:v>2151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5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CB0332B-B21A-4260-820C-8AC4CC8840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F557631-39E8-4090-A212-27AD098195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E394FD5-1C0F-41C4-BB09-3F5FEBC76A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640FBB3-4FC9-413D-B811-FA9F03C860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F4F1C3D-A703-4EA2-83C1-ACB5653CD0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E02ED37-180B-4193-AFE4-CA20E87FF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EB3192E-C7A6-4CD6-A7F4-690307090B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C9B94F4-B109-4179-A4FC-E2DB6B6F31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727399999999999</c:v>
                </c:pt>
                <c:pt idx="1">
                  <c:v>30.6629</c:v>
                </c:pt>
                <c:pt idx="2">
                  <c:v>28.646999999999998</c:v>
                </c:pt>
                <c:pt idx="3">
                  <c:v>31.494800000000001</c:v>
                </c:pt>
                <c:pt idx="4">
                  <c:v>36.527700000000003</c:v>
                </c:pt>
                <c:pt idx="5">
                  <c:v>90.745199999999997</c:v>
                </c:pt>
                <c:pt idx="6">
                  <c:v>50.264200000000002</c:v>
                </c:pt>
                <c:pt idx="7">
                  <c:v>26.5242</c:v>
                </c:pt>
              </c:numCache>
            </c:numRef>
          </c:xVal>
          <c:yVal>
            <c:numRef>
              <c:f>Sheet1!$B$2:$B$9</c:f>
              <c:numCache>
                <c:formatCode>General</c:formatCode>
                <c:ptCount val="8"/>
                <c:pt idx="0">
                  <c:v>0.94799999999999995</c:v>
                </c:pt>
                <c:pt idx="1">
                  <c:v>0.95299999999999996</c:v>
                </c:pt>
                <c:pt idx="2">
                  <c:v>0.90800000000000003</c:v>
                </c:pt>
                <c:pt idx="3">
                  <c:v>0.98499999999999999</c:v>
                </c:pt>
                <c:pt idx="4">
                  <c:v>1.1579999999999999</c:v>
                </c:pt>
                <c:pt idx="5">
                  <c:v>2.8580000000000001</c:v>
                </c:pt>
                <c:pt idx="6">
                  <c:v>1.579</c:v>
                </c:pt>
                <c:pt idx="7">
                  <c:v>0.90500000000000003</c:v>
                </c:pt>
              </c:numCache>
            </c:numRef>
          </c:yVal>
          <c:bubbleSize>
            <c:numRef>
              <c:f>Sheet1!$C$2:$C$9</c:f>
              <c:numCache>
                <c:formatCode>General</c:formatCode>
                <c:ptCount val="8"/>
                <c:pt idx="0">
                  <c:v>11833795</c:v>
                </c:pt>
                <c:pt idx="1">
                  <c:v>3875602</c:v>
                </c:pt>
                <c:pt idx="2">
                  <c:v>3306117</c:v>
                </c:pt>
                <c:pt idx="3">
                  <c:v>3231524</c:v>
                </c:pt>
                <c:pt idx="4">
                  <c:v>2420106</c:v>
                </c:pt>
                <c:pt idx="5">
                  <c:v>2145762</c:v>
                </c:pt>
                <c:pt idx="6">
                  <c:v>2058218</c:v>
                </c:pt>
                <c:pt idx="7">
                  <c:v>412478</c:v>
                </c:pt>
              </c:numCache>
            </c:numRef>
          </c:bubbleSize>
          <c:bubble3D val="0"/>
          <c:extLst>
            <c:ext xmlns:c15="http://schemas.microsoft.com/office/drawing/2012/chart" uri="{02D57815-91ED-43cb-92C2-25804820EDAC}">
              <c15:datalabelsRange>
                <c15:f>Sheet1!$E$2:$E$10</c15:f>
                <c15:dlblRangeCache>
                  <c:ptCount val="9"/>
                  <c:pt idx="0">
                    <c:v>Nicolas Feuillatte</c:v>
                  </c:pt>
                  <c:pt idx="1">
                    <c:v>Demoiselle</c:v>
                  </c:pt>
                  <c:pt idx="2">
                    <c:v>Canard Duchêne</c:v>
                  </c:pt>
                  <c:pt idx="3">
                    <c:v>Tsarine</c:v>
                  </c:pt>
                  <c:pt idx="4">
                    <c:v>Mumm</c:v>
                  </c:pt>
                  <c:pt idx="5">
                    <c:v>Ruinart</c:v>
                  </c:pt>
                  <c:pt idx="6">
                    <c:v>Moët &amp; Chandon</c:v>
                  </c:pt>
                  <c:pt idx="7">
                    <c:v>Nicolas</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9"/>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9DEFD9-6149-441E-86D7-6DE6F5B172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848A07D-58E9-4CD8-9058-9C982BE05E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CEA9EA4-4940-4F30-83A8-F3365A88CA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C6A05F3-E1BD-406D-BC00-1F4A035814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5EA57FA-C349-4CA4-8CF6-4E16F487A5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B4113D8-8C8C-4A3D-920C-EB13D43872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456C32-BFB6-47B5-87F5-59C8E3DD6B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0F02407-9681-4C14-9A2A-A6B794C9F2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89700000000001</c:v>
                </c:pt>
              </c:numCache>
            </c:numRef>
          </c:xVal>
          <c:yVal>
            <c:numRef>
              <c:f>Sheet1!$B$2:$B$2</c:f>
              <c:numCache>
                <c:formatCode>General</c:formatCode>
                <c:ptCount val="1"/>
                <c:pt idx="0">
                  <c:v>1</c:v>
                </c:pt>
              </c:numCache>
            </c:numRef>
          </c:yVal>
          <c:bubbleSize>
            <c:numRef>
              <c:f>Sheet1!$C$2:$C$2</c:f>
              <c:numCache>
                <c:formatCode>General</c:formatCode>
                <c:ptCount val="1"/>
                <c:pt idx="0">
                  <c:v>2379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1D3EC6-A6A9-4EB1-9AE4-CE4DAE9488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C5F6AA3-B655-4B72-A302-121637DBBC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54C5701-2628-4BC5-9AD2-680A09C1FB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9D00D33-56EF-4145-AA61-16ACF59D8E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70CF30F-1E24-4278-8292-5F2936B660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D102383-6E2D-4B1A-AF71-2BD948D615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E9B8592-E86D-46F6-916E-255F8B8CDD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39799D9-35DC-4FF9-A2BA-071B13D412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18999999999998</c:v>
                </c:pt>
              </c:numCache>
            </c:numRef>
          </c:xVal>
          <c:yVal>
            <c:numRef>
              <c:f>Sheet1!$B$2:$B$2</c:f>
              <c:numCache>
                <c:formatCode>General</c:formatCode>
                <c:ptCount val="1"/>
                <c:pt idx="0">
                  <c:v>1</c:v>
                </c:pt>
              </c:numCache>
            </c:numRef>
          </c:yVal>
          <c:bubbleSize>
            <c:numRef>
              <c:f>Sheet1!$C$2:$C$2</c:f>
              <c:numCache>
                <c:formatCode>General</c:formatCode>
                <c:ptCount val="1"/>
                <c:pt idx="0">
                  <c:v>2217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FB3220-4FE6-4886-8F2A-4479B8D190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9398037-C425-45DD-B5C6-0CB8DFB7DB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8BC8843-0418-4C63-9814-0F387F105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4DEA791-E59F-452A-B739-2BED1EC62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56F6544-A1AA-4BE9-AD4A-423F4C9C39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C7F5213-9B6F-4BC1-8046-E2D14DC5F0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90986C4-83D4-494F-A7DC-902A7F153B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0C4E8EA-1143-4D5B-8B52-1817137FC7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562100000000001</c:v>
                </c:pt>
              </c:numCache>
            </c:numRef>
          </c:xVal>
          <c:yVal>
            <c:numRef>
              <c:f>Sheet1!$B$2:$B$2</c:f>
              <c:numCache>
                <c:formatCode>General</c:formatCode>
                <c:ptCount val="1"/>
                <c:pt idx="0">
                  <c:v>1</c:v>
                </c:pt>
              </c:numCache>
            </c:numRef>
          </c:yVal>
          <c:bubbleSize>
            <c:numRef>
              <c:f>Sheet1!$C$2:$C$2</c:f>
              <c:numCache>
                <c:formatCode>General</c:formatCode>
                <c:ptCount val="1"/>
                <c:pt idx="0">
                  <c:v>13997</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FB14E5-7595-4684-BC3F-16A3C29E00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42DDFC1-0224-41FB-A786-31B02D64AE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8AAE243-F8EB-4205-B0ED-E67B0EDF9E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86FD83F-70ED-4CDE-854B-A7131D3BF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E0E932D-110C-4FF1-A0BC-9AC7E78371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49805AE-21A9-43DC-9EA6-996678DEF8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79C910E-B288-4E3B-9CFE-C722A75E5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9F5B25D-A034-45A8-968B-793D3E22E7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818</c:v>
                </c:pt>
              </c:numCache>
            </c:numRef>
          </c:xVal>
          <c:yVal>
            <c:numRef>
              <c:f>Sheet1!$B$2:$B$2</c:f>
              <c:numCache>
                <c:formatCode>General</c:formatCode>
                <c:ptCount val="1"/>
                <c:pt idx="0">
                  <c:v>1</c:v>
                </c:pt>
              </c:numCache>
            </c:numRef>
          </c:yVal>
          <c:bubbleSize>
            <c:numRef>
              <c:f>Sheet1!$C$2:$C$2</c:f>
              <c:numCache>
                <c:formatCode>General</c:formatCode>
                <c:ptCount val="1"/>
                <c:pt idx="0">
                  <c:v>961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579283-010C-49E5-A6A6-7358AD25B3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D3E6C3D-BA5F-465A-84B4-F499421E51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89218CC-C805-4004-8B0C-C4736915FF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11418C5-8DD3-4AF3-B41F-2A63A0D045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79AE92E-578D-4033-B3AB-A3432705E3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7B01D2B-8798-497E-8AB4-40FA1E5702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DAD4394-FAAC-431D-A8C5-A39042C74C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5EB8011-28AB-4085-9F5C-FABF39FE2C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33100000000002</c:v>
                </c:pt>
              </c:numCache>
            </c:numRef>
          </c:xVal>
          <c:yVal>
            <c:numRef>
              <c:f>Sheet1!$B$2:$B$2</c:f>
              <c:numCache>
                <c:formatCode>General</c:formatCode>
                <c:ptCount val="1"/>
                <c:pt idx="0">
                  <c:v>1.5169999999999999</c:v>
                </c:pt>
              </c:numCache>
            </c:numRef>
          </c:yVal>
          <c:bubbleSize>
            <c:numRef>
              <c:f>Sheet1!$C$2:$C$2</c:f>
              <c:numCache>
                <c:formatCode>General</c:formatCode>
                <c:ptCount val="1"/>
                <c:pt idx="0">
                  <c:v>68483</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F040D1-8425-4948-B7F2-460D70F7E1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2E1D2A3-9373-4CE4-87F7-BFD1EE06B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0AFC573-DBC7-46DB-B89F-88E677C884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EF48FE0-8392-4AC3-8007-84B51920B1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4EE5FC-67F9-4C6B-A393-4DED301069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3FB25C-DB26-4321-B8D0-136D126F4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8ACCE45-E7A7-46EE-BB22-4B1A151E84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F4FEC18-004E-4F6A-9654-F919A30C22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77600000000001</c:v>
                </c:pt>
              </c:numCache>
            </c:numRef>
          </c:xVal>
          <c:yVal>
            <c:numRef>
              <c:f>Sheet1!$B$2:$B$2</c:f>
              <c:numCache>
                <c:formatCode>General</c:formatCode>
                <c:ptCount val="1"/>
                <c:pt idx="0">
                  <c:v>1</c:v>
                </c:pt>
              </c:numCache>
            </c:numRef>
          </c:yVal>
          <c:bubbleSize>
            <c:numRef>
              <c:f>Sheet1!$C$2:$C$2</c:f>
              <c:numCache>
                <c:formatCode>General</c:formatCode>
                <c:ptCount val="1"/>
                <c:pt idx="0">
                  <c:v>78512</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A1C360-29BC-4306-9840-81A95196F7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B6ECFA7-191C-4640-B982-E25A7187F0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22B408F-8B66-4757-BFB6-678D3CEA7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6AD7F5C-D3C9-4984-BCE2-374C0A875B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8EB355B-398E-45F6-815E-AE42122127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BCBEEAF-6C0B-4422-8137-4EB522ECBB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99F7EF3-8D98-4937-8462-EAC18CBD31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B910DC-2884-4498-9ED6-DB86A5CAD9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65600000000001</c:v>
                </c:pt>
              </c:numCache>
            </c:numRef>
          </c:xVal>
          <c:yVal>
            <c:numRef>
              <c:f>Sheet1!$B$2:$B$2</c:f>
              <c:numCache>
                <c:formatCode>General</c:formatCode>
                <c:ptCount val="1"/>
                <c:pt idx="0">
                  <c:v>1.224</c:v>
                </c:pt>
              </c:numCache>
            </c:numRef>
          </c:yVal>
          <c:bubbleSize>
            <c:numRef>
              <c:f>Sheet1!$C$2:$C$2</c:f>
              <c:numCache>
                <c:formatCode>General</c:formatCode>
                <c:ptCount val="1"/>
                <c:pt idx="0">
                  <c:v>7043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CA18C8-88D7-4E63-ABA7-4C7D586E2A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8167CE4-578E-49CF-BA11-3AACF82C10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BCA2DF6-457B-4EC3-BC89-6D720EA29A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B3CB3A5-CEE0-4A80-B9FF-1E42AA99EF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D4AD74B-BD1F-43A6-A889-60AD60DEB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98F3F86-3C3E-4DF3-BAB1-336E745265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F1EF1A8-68DD-4B10-BA47-196AC95B4A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17DB5A-FC04-44C7-BFA7-09384CF644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97300000000001</c:v>
                </c:pt>
              </c:numCache>
            </c:numRef>
          </c:xVal>
          <c:yVal>
            <c:numRef>
              <c:f>Sheet1!$B$2:$B$2</c:f>
              <c:numCache>
                <c:formatCode>General</c:formatCode>
                <c:ptCount val="1"/>
                <c:pt idx="0">
                  <c:v>1.0489999999999999</c:v>
                </c:pt>
              </c:numCache>
            </c:numRef>
          </c:yVal>
          <c:bubbleSize>
            <c:numRef>
              <c:f>Sheet1!$C$2:$C$2</c:f>
              <c:numCache>
                <c:formatCode>General</c:formatCode>
                <c:ptCount val="1"/>
                <c:pt idx="0">
                  <c:v>76009</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7DD44B-5239-4BAE-B67B-8E090BFAFB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B367AF6-7741-4D54-8343-B5186B0845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F5D5993-BE77-42B0-B9DA-3369BBAFD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251DD50-4D43-4283-AEC6-44D55A857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242CFE8-6939-4DCC-A7E6-AC72C7745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1F10BA-B89C-40AC-8594-EE8AEC5542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DBCE6C1-28F9-4CC5-8196-BA12F70E2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CCC33E9-86F5-4647-802A-EA13B6512D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6111</c:v>
                </c:pt>
              </c:numCache>
            </c:numRef>
          </c:xVal>
          <c:yVal>
            <c:numRef>
              <c:f>Sheet1!$B$2:$B$2</c:f>
              <c:numCache>
                <c:formatCode>General</c:formatCode>
                <c:ptCount val="1"/>
                <c:pt idx="0">
                  <c:v>1.2490000000000001</c:v>
                </c:pt>
              </c:numCache>
            </c:numRef>
          </c:yVal>
          <c:bubbleSize>
            <c:numRef>
              <c:f>Sheet1!$C$2:$C$2</c:f>
              <c:numCache>
                <c:formatCode>General</c:formatCode>
                <c:ptCount val="1"/>
                <c:pt idx="0">
                  <c:v>82244</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49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F5F57B-5935-4BBB-A17D-28BB8354AC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95ED553-1250-4B5E-AC18-9CC59DA619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BA4C302-9AB4-4044-9A4F-BE7A97CB66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3A4333D-AE10-4F68-8842-3F1BE1DB1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642A518-42AC-4417-B62C-8FB542F7FD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0B4FCC6-DB1A-412D-AA19-46EDE627C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3C1BB0-D8DE-4CC0-A3CB-F64BD7527C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7108C21-BFC7-4849-8C13-8ADD900055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286000000000001</c:v>
                </c:pt>
              </c:numCache>
            </c:numRef>
          </c:xVal>
          <c:yVal>
            <c:numRef>
              <c:f>Sheet1!$B$2:$B$2</c:f>
              <c:numCache>
                <c:formatCode>General</c:formatCode>
                <c:ptCount val="1"/>
                <c:pt idx="0">
                  <c:v>1.224</c:v>
                </c:pt>
              </c:numCache>
            </c:numRef>
          </c:yVal>
          <c:bubbleSize>
            <c:numRef>
              <c:f>Sheet1!$C$2:$C$2</c:f>
              <c:numCache>
                <c:formatCode>General</c:formatCode>
                <c:ptCount val="1"/>
                <c:pt idx="0">
                  <c:v>81175</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2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64462F0-5A5A-4256-BE83-25C87C694B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6C18D19-F24C-4CC5-8976-C197030EB5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3687102-5E7A-4368-8C9C-F1B0DDDAE3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0C89E11F-65CC-4C63-85F4-1D5FDEFC73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0D331CDE-9398-430E-8518-D56777B09B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38F4454-D8E4-441F-9FE9-40EC1B8F47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1DEC0EA-484D-4075-8C5D-D70E41D32B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221C4897-A8F7-46FD-997D-5B662BAFBF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1654999999999998</c:v>
                </c:pt>
                <c:pt idx="1">
                  <c:v>7.0598000000000001</c:v>
                </c:pt>
                <c:pt idx="2">
                  <c:v>8.4002999999999997</c:v>
                </c:pt>
                <c:pt idx="3">
                  <c:v>7.6973000000000003</c:v>
                </c:pt>
                <c:pt idx="4">
                  <c:v>9.7827999999999999</c:v>
                </c:pt>
                <c:pt idx="5">
                  <c:v>7.3342999999999998</c:v>
                </c:pt>
                <c:pt idx="6">
                  <c:v>7.7112999999999996</c:v>
                </c:pt>
                <c:pt idx="7">
                  <c:v>12.7386</c:v>
                </c:pt>
              </c:numCache>
            </c:numRef>
          </c:xVal>
          <c:yVal>
            <c:numRef>
              <c:f>Sheet1!$B$2:$B$9</c:f>
              <c:numCache>
                <c:formatCode>General</c:formatCode>
                <c:ptCount val="8"/>
                <c:pt idx="0">
                  <c:v>0.995</c:v>
                </c:pt>
                <c:pt idx="1">
                  <c:v>0.95799999999999996</c:v>
                </c:pt>
                <c:pt idx="2">
                  <c:v>1.0389999999999999</c:v>
                </c:pt>
                <c:pt idx="3">
                  <c:v>1.0349999999999999</c:v>
                </c:pt>
                <c:pt idx="4">
                  <c:v>1.1910000000000001</c:v>
                </c:pt>
                <c:pt idx="5">
                  <c:v>1.0309999999999999</c:v>
                </c:pt>
                <c:pt idx="6">
                  <c:v>1.0840000000000001</c:v>
                </c:pt>
                <c:pt idx="7">
                  <c:v>1.792</c:v>
                </c:pt>
              </c:numCache>
            </c:numRef>
          </c:yVal>
          <c:bubbleSize>
            <c:numRef>
              <c:f>Sheet1!$C$2:$C$9</c:f>
              <c:numCache>
                <c:formatCode>General</c:formatCode>
                <c:ptCount val="8"/>
                <c:pt idx="0">
                  <c:v>15897650</c:v>
                </c:pt>
                <c:pt idx="1">
                  <c:v>12258120</c:v>
                </c:pt>
                <c:pt idx="2">
                  <c:v>4177323</c:v>
                </c:pt>
                <c:pt idx="3">
                  <c:v>3025266</c:v>
                </c:pt>
                <c:pt idx="4">
                  <c:v>1797924</c:v>
                </c:pt>
                <c:pt idx="5">
                  <c:v>932508</c:v>
                </c:pt>
                <c:pt idx="6">
                  <c:v>550341</c:v>
                </c:pt>
                <c:pt idx="7">
                  <c:v>506817</c:v>
                </c:pt>
              </c:numCache>
            </c:numRef>
          </c:bubbleSize>
          <c:bubble3D val="0"/>
          <c:extLst>
            <c:ext xmlns:c15="http://schemas.microsoft.com/office/drawing/2012/chart" uri="{02D57815-91ED-43cb-92C2-25804820EDAC}">
              <c15:datalabelsRange>
                <c15:f>Sheet1!$E$2:$E$10</c15:f>
                <c15:dlblRangeCache>
                  <c:ptCount val="9"/>
                  <c:pt idx="0">
                    <c:v>Veuve Ambal</c:v>
                  </c:pt>
                  <c:pt idx="1">
                    <c:v>Mdd</c:v>
                  </c:pt>
                  <c:pt idx="2">
                    <c:v>Couvent Des Visitandines</c:v>
                  </c:pt>
                  <c:pt idx="3">
                    <c:v>Moillard</c:v>
                  </c:pt>
                  <c:pt idx="4">
                    <c:v>Louis Bouillot</c:v>
                  </c:pt>
                  <c:pt idx="5">
                    <c:v>Valenger</c:v>
                  </c:pt>
                  <c:pt idx="6">
                    <c:v>Caves De Lugny</c:v>
                  </c:pt>
                  <c:pt idx="7">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BEA989-D513-4D3F-91C9-2AFBB06BED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443223-13A7-44FC-BE8C-467A63FD46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632EDF-9036-4254-9FF5-AC6B5D1348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4F94B5-C327-48C6-BEED-04523CF08C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A6A7BE-C8C6-4824-83DA-7B8568A93E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4DB365-708E-4227-8C1D-12CA80542C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C6BEA9-2EA7-4D14-998E-4DA3EAA8DF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CAE37EE-8CED-42DC-BF1B-FB36163174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000000000004</c:v>
                </c:pt>
                <c:pt idx="1">
                  <c:v>7.2641</c:v>
                </c:pt>
                <c:pt idx="2">
                  <c:v>6.9162999999999997</c:v>
                </c:pt>
                <c:pt idx="3">
                  <c:v>6.5225999999999997</c:v>
                </c:pt>
                <c:pt idx="4">
                  <c:v>7.99</c:v>
                </c:pt>
                <c:pt idx="5">
                  <c:v>7.0077999999999996</c:v>
                </c:pt>
                <c:pt idx="6">
                  <c:v>5.8705999999999996</c:v>
                </c:pt>
              </c:numCache>
            </c:numRef>
          </c:xVal>
          <c:yVal>
            <c:numRef>
              <c:f>Sheet1!$B$2:$B$8</c:f>
              <c:numCache>
                <c:formatCode>General</c:formatCode>
                <c:ptCount val="7"/>
                <c:pt idx="0">
                  <c:v>0.92200000000000004</c:v>
                </c:pt>
                <c:pt idx="1">
                  <c:v>1.083</c:v>
                </c:pt>
                <c:pt idx="2">
                  <c:v>1.22</c:v>
                </c:pt>
                <c:pt idx="3">
                  <c:v>0.96299999999999997</c:v>
                </c:pt>
                <c:pt idx="4">
                  <c:v>1.373</c:v>
                </c:pt>
                <c:pt idx="5">
                  <c:v>1.2350000000000001</c:v>
                </c:pt>
                <c:pt idx="6">
                  <c:v>0.29699999999999999</c:v>
                </c:pt>
              </c:numCache>
            </c:numRef>
          </c:yVal>
          <c:bubbleSize>
            <c:numRef>
              <c:f>Sheet1!$C$2:$C$8</c:f>
              <c:numCache>
                <c:formatCode>General</c:formatCode>
                <c:ptCount val="7"/>
                <c:pt idx="0">
                  <c:v>3233122</c:v>
                </c:pt>
                <c:pt idx="1">
                  <c:v>2298436</c:v>
                </c:pt>
                <c:pt idx="2">
                  <c:v>2130700</c:v>
                </c:pt>
                <c:pt idx="3">
                  <c:v>1540334</c:v>
                </c:pt>
                <c:pt idx="4">
                  <c:v>1026974</c:v>
                </c:pt>
                <c:pt idx="5">
                  <c:v>477794</c:v>
                </c:pt>
                <c:pt idx="6">
                  <c:v>162181</c:v>
                </c:pt>
              </c:numCache>
            </c:numRef>
          </c:bubbleSize>
          <c:bubble3D val="0"/>
          <c:extLst>
            <c:ext xmlns:c15="http://schemas.microsoft.com/office/drawing/2012/chart" uri="{02D57815-91ED-43cb-92C2-25804820EDAC}">
              <c15:datalabelsRange>
                <c15:f>Sheet1!$E$2:$E$10</c15:f>
                <c15:dlblRangeCache>
                  <c:ptCount val="9"/>
                  <c:pt idx="0">
                    <c:v>Mdd</c:v>
                  </c:pt>
                  <c:pt idx="1">
                    <c:v>Celene Bordeaux</c:v>
                  </c:pt>
                  <c:pt idx="2">
                    <c:v>Castel</c:v>
                  </c:pt>
                  <c:pt idx="3">
                    <c:v>Jaillance</c:v>
                  </c:pt>
                  <c:pt idx="4">
                    <c:v>Sieur Gaillard</c:v>
                  </c:pt>
                  <c:pt idx="5">
                    <c:v>Les Cordeliers</c:v>
                  </c:pt>
                  <c:pt idx="6">
                    <c:v>Calv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C55ABB-397C-4CC4-8B85-59DA949647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3256A4-285F-43FC-BF86-701C8EB0A4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683D973-8EB9-4C05-BA00-E462B5250C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158303F-865A-4025-903C-9419212CE8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B2B248F-330A-4159-B6BF-FB74013223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5B1D2DF-F9A6-4D17-811C-FE15F6448A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51ACAE-D1EC-4252-BED4-0AAB19FFA4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D9A8F98-27BA-4316-B67F-E3A79D00EC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071</c:v>
                </c:pt>
                <c:pt idx="1">
                  <c:v>9.6836000000000002</c:v>
                </c:pt>
              </c:numCache>
            </c:numRef>
          </c:xVal>
          <c:yVal>
            <c:numRef>
              <c:f>Sheet1!$B$2:$B$3</c:f>
              <c:numCache>
                <c:formatCode>General</c:formatCode>
                <c:ptCount val="2"/>
                <c:pt idx="0">
                  <c:v>1.014</c:v>
                </c:pt>
                <c:pt idx="1">
                  <c:v>0.84799999999999998</c:v>
                </c:pt>
              </c:numCache>
            </c:numRef>
          </c:yVal>
          <c:bubbleSize>
            <c:numRef>
              <c:f>Sheet1!$C$2:$C$3</c:f>
              <c:numCache>
                <c:formatCode>General</c:formatCode>
                <c:ptCount val="2"/>
                <c:pt idx="0">
                  <c:v>59904</c:v>
                </c:pt>
                <c:pt idx="1">
                  <c:v>9364</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5DF2EC-8CCA-4F58-AC94-31978A4042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57D6CB-72D6-478B-BC2C-1CD021DE59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0E2E41-8807-4188-BCBE-C6B3015F66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8FF0D7-B288-4578-8A2A-EEDB5D34A6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C95BF5-84A6-49D7-AFEC-96C8B4F67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283ADD-168F-45E3-A2C5-4961F21017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52157A-64F1-4AC5-8BB2-F1D89D5431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2CCC19-2704-4F2A-A804-8F999B2E35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000000000004</c:v>
                </c:pt>
                <c:pt idx="1">
                  <c:v>7.2641</c:v>
                </c:pt>
                <c:pt idx="2">
                  <c:v>6.9162999999999997</c:v>
                </c:pt>
                <c:pt idx="3">
                  <c:v>6.5225999999999997</c:v>
                </c:pt>
                <c:pt idx="4">
                  <c:v>7.99</c:v>
                </c:pt>
                <c:pt idx="5">
                  <c:v>7.0077999999999996</c:v>
                </c:pt>
                <c:pt idx="6">
                  <c:v>5.8705999999999996</c:v>
                </c:pt>
              </c:numCache>
            </c:numRef>
          </c:xVal>
          <c:yVal>
            <c:numRef>
              <c:f>Sheet1!$B$2:$B$8</c:f>
              <c:numCache>
                <c:formatCode>General</c:formatCode>
                <c:ptCount val="7"/>
                <c:pt idx="0">
                  <c:v>0.92500000000000004</c:v>
                </c:pt>
                <c:pt idx="1">
                  <c:v>1.0860000000000001</c:v>
                </c:pt>
                <c:pt idx="2">
                  <c:v>1.224</c:v>
                </c:pt>
                <c:pt idx="3">
                  <c:v>0.96599999999999997</c:v>
                </c:pt>
                <c:pt idx="4">
                  <c:v>1.377</c:v>
                </c:pt>
                <c:pt idx="5">
                  <c:v>1.2390000000000001</c:v>
                </c:pt>
                <c:pt idx="6">
                  <c:v>0.29799999999999999</c:v>
                </c:pt>
              </c:numCache>
            </c:numRef>
          </c:yVal>
          <c:bubbleSize>
            <c:numRef>
              <c:f>Sheet1!$C$2:$C$8</c:f>
              <c:numCache>
                <c:formatCode>General</c:formatCode>
                <c:ptCount val="7"/>
                <c:pt idx="0">
                  <c:v>3233122</c:v>
                </c:pt>
                <c:pt idx="1">
                  <c:v>2298436</c:v>
                </c:pt>
                <c:pt idx="2">
                  <c:v>2130700</c:v>
                </c:pt>
                <c:pt idx="3">
                  <c:v>1540327</c:v>
                </c:pt>
                <c:pt idx="4">
                  <c:v>1026974</c:v>
                </c:pt>
                <c:pt idx="5">
                  <c:v>477794</c:v>
                </c:pt>
                <c:pt idx="6">
                  <c:v>162181</c:v>
                </c:pt>
              </c:numCache>
            </c:numRef>
          </c:bubbleSize>
          <c:bubble3D val="0"/>
          <c:extLst>
            <c:ext xmlns:c15="http://schemas.microsoft.com/office/drawing/2012/chart" uri="{02D57815-91ED-43cb-92C2-25804820EDAC}">
              <c15:datalabelsRange>
                <c15:f>Sheet1!$E$2:$E$10</c15:f>
                <c15:dlblRangeCache>
                  <c:ptCount val="9"/>
                  <c:pt idx="0">
                    <c:v>Mdd</c:v>
                  </c:pt>
                  <c:pt idx="1">
                    <c:v>Celene Bordeaux</c:v>
                  </c:pt>
                  <c:pt idx="2">
                    <c:v>Castel</c:v>
                  </c:pt>
                  <c:pt idx="3">
                    <c:v>Jaillance</c:v>
                  </c:pt>
                  <c:pt idx="4">
                    <c:v>Sieur Gaillard</c:v>
                  </c:pt>
                  <c:pt idx="5">
                    <c:v>Les Cordeliers</c:v>
                  </c:pt>
                  <c:pt idx="6">
                    <c:v>Calv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A154FC-5D90-4912-9F5E-E8D5D2F491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E1CCA1-1085-4B7B-8EDB-C528BA4115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E99E2FE-BA3A-43AF-B627-ED909864B4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E2FB186-5DCC-4ECC-AAD4-406BCCE4C7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EE98DAA-A92A-482B-A903-BC557D78C5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55C02E9-76AF-4249-ADE2-BC9E74305E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BA1782F-C2AA-4ED4-AD1A-B85B5BCEC6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824914C-9124-4F65-95F9-4B32CD748A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256</c:v>
                </c:pt>
                <c:pt idx="1">
                  <c:v>9.5991</c:v>
                </c:pt>
              </c:numCache>
            </c:numRef>
          </c:xVal>
          <c:yVal>
            <c:numRef>
              <c:f>Sheet1!$B$2:$B$3</c:f>
              <c:numCache>
                <c:formatCode>General</c:formatCode>
                <c:ptCount val="2"/>
                <c:pt idx="0">
                  <c:v>1.014</c:v>
                </c:pt>
                <c:pt idx="1">
                  <c:v>0.89500000000000002</c:v>
                </c:pt>
              </c:numCache>
            </c:numRef>
          </c:yVal>
          <c:bubbleSize>
            <c:numRef>
              <c:f>Sheet1!$C$2:$C$3</c:f>
              <c:numCache>
                <c:formatCode>General</c:formatCode>
                <c:ptCount val="2"/>
                <c:pt idx="0">
                  <c:v>30525</c:v>
                </c:pt>
                <c:pt idx="1">
                  <c:v>411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7FBB21-8457-4A64-A7A2-DC51998E7E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7E8F2E-2AB3-42A4-9D97-F282828F0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191889C-C709-4637-A806-9A0DBF1F7E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B651D84-823D-4D35-BA57-7EA0C3B23E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7F94167-E4A5-432C-B0F7-56DB6CD61E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E0A1B5A-2F9E-41DB-81E6-BA6D23C3BC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C771A2-DF4D-4879-B992-F23A888E89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5F88441-A5D9-46A6-A780-E9B7F8991C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11</c:v>
                </c:pt>
                <c:pt idx="1">
                  <c:v>9.48</c:v>
                </c:pt>
              </c:numCache>
            </c:numRef>
          </c:xVal>
          <c:yVal>
            <c:numRef>
              <c:f>Sheet1!$B$2:$B$3</c:f>
              <c:numCache>
                <c:formatCode>General</c:formatCode>
                <c:ptCount val="2"/>
                <c:pt idx="0">
                  <c:v>1.0289999999999999</c:v>
                </c:pt>
                <c:pt idx="1">
                  <c:v>0.84799999999999998</c:v>
                </c:pt>
              </c:numCache>
            </c:numRef>
          </c:yVal>
          <c:bubbleSize>
            <c:numRef>
              <c:f>Sheet1!$C$2:$C$3</c:f>
              <c:numCache>
                <c:formatCode>General</c:formatCode>
                <c:ptCount val="2"/>
                <c:pt idx="0">
                  <c:v>13303</c:v>
                </c:pt>
                <c:pt idx="1">
                  <c:v>2607</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BB1437-4B1B-4AA3-BBE9-B93EEC1B66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C94A01-7189-4B8A-A8A6-7932C092A6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A04F1EE-B10D-422E-98F3-098CDED1FC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49523AE-2EFF-4D26-8A91-9B4FBA45CA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E77CFB6-0A42-4D76-AFF6-8B635B7AB7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39412F3-E64B-4032-ABD9-985397341C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B466FD-670F-4D41-A559-C080B4CE77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B24AF9A-CA7D-4B9A-96EF-DE690E8F1C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194</c:v>
                </c:pt>
                <c:pt idx="1">
                  <c:v>9.7117000000000004</c:v>
                </c:pt>
              </c:numCache>
            </c:numRef>
          </c:xVal>
          <c:yVal>
            <c:numRef>
              <c:f>Sheet1!$B$2:$B$3</c:f>
              <c:numCache>
                <c:formatCode>General</c:formatCode>
                <c:ptCount val="2"/>
                <c:pt idx="0">
                  <c:v>1.034</c:v>
                </c:pt>
                <c:pt idx="1">
                  <c:v>0.82399999999999995</c:v>
                </c:pt>
              </c:numCache>
            </c:numRef>
          </c:yVal>
          <c:bubbleSize>
            <c:numRef>
              <c:f>Sheet1!$C$2:$C$3</c:f>
              <c:numCache>
                <c:formatCode>General</c:formatCode>
                <c:ptCount val="2"/>
                <c:pt idx="0">
                  <c:v>7043</c:v>
                </c:pt>
                <c:pt idx="1">
                  <c:v>107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3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658F7B-EC1B-46A7-9BBD-828BF1C1A6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707401-39C3-416B-ABC2-3ADBB7337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E2A2F4C-1A2C-481B-ADF9-DABC35F26B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6D79204-6CBA-4980-81F2-C0F51AB7AB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05E2EE1-E701-46CD-B9D2-2A4D7316DA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6C94CB9-2777-4D08-B028-2DBE9AA1D4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9BD5272-1C8D-49D8-B7FB-E66C553B9D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015F59-0002-4F2D-A084-F911CA0934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282</c:v>
                </c:pt>
                <c:pt idx="1">
                  <c:v>10.235300000000001</c:v>
                </c:pt>
              </c:numCache>
            </c:numRef>
          </c:xVal>
          <c:yVal>
            <c:numRef>
              <c:f>Sheet1!$B$2:$B$3</c:f>
              <c:numCache>
                <c:formatCode>General</c:formatCode>
                <c:ptCount val="2"/>
                <c:pt idx="0">
                  <c:v>1.0429999999999999</c:v>
                </c:pt>
                <c:pt idx="1">
                  <c:v>0.80900000000000005</c:v>
                </c:pt>
              </c:numCache>
            </c:numRef>
          </c:yVal>
          <c:bubbleSize>
            <c:numRef>
              <c:f>Sheet1!$C$2:$C$3</c:f>
              <c:numCache>
                <c:formatCode>General</c:formatCode>
                <c:ptCount val="2"/>
                <c:pt idx="0">
                  <c:v>1978</c:v>
                </c:pt>
                <c:pt idx="1">
                  <c:v>348</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3439DE-1C75-4C57-8D7F-74CB6DAF45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0A8BE1-3C72-48D4-A541-EAE74AE7C0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6CD22FD-2E4C-4EDC-A830-B6D0CF572A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4AC3B03-BE40-4A5F-B200-353A8B3FFF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A4B737C-6D15-4293-A70B-0640F19A43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D5439D3-80C0-4724-BB93-CE229504B3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23E5EA-579E-4997-B570-BA4761F5FE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1A67FFD-9719-4891-A9E2-3984B1848C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15</c:v>
                </c:pt>
                <c:pt idx="1">
                  <c:v>10.521699999999999</c:v>
                </c:pt>
              </c:numCache>
            </c:numRef>
          </c:xVal>
          <c:yVal>
            <c:numRef>
              <c:f>Sheet1!$B$2:$B$3</c:f>
              <c:numCache>
                <c:formatCode>General</c:formatCode>
                <c:ptCount val="2"/>
                <c:pt idx="0">
                  <c:v>1.0229999999999999</c:v>
                </c:pt>
                <c:pt idx="1">
                  <c:v>0.80800000000000005</c:v>
                </c:pt>
              </c:numCache>
            </c:numRef>
          </c:yVal>
          <c:bubbleSize>
            <c:numRef>
              <c:f>Sheet1!$C$2:$C$3</c:f>
              <c:numCache>
                <c:formatCode>General</c:formatCode>
                <c:ptCount val="2"/>
                <c:pt idx="0">
                  <c:v>2512</c:v>
                </c:pt>
                <c:pt idx="1">
                  <c:v>242</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E62C04-93FD-4B63-A69C-559BCAB582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3BFE89-4C1F-4B5D-8A5B-295B39BE67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63F6BCD-E67C-4E08-904F-602D2926CA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E993508-2C88-4D95-94F9-2298A702FF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64B130A-D601-4F9D-BA84-1AA2AA5863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ADC8ED8-B3DE-47F0-A1DA-A7EC3C9B92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3DD076-489D-4ADB-9175-B59A4A16B5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73B4DA-EA04-43EF-A5E5-1C6998A3BF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323</c:v>
                </c:pt>
                <c:pt idx="1">
                  <c:v>9.3663000000000007</c:v>
                </c:pt>
              </c:numCache>
            </c:numRef>
          </c:xVal>
          <c:yVal>
            <c:numRef>
              <c:f>Sheet1!$B$2:$B$3</c:f>
              <c:numCache>
                <c:formatCode>General</c:formatCode>
                <c:ptCount val="2"/>
                <c:pt idx="0">
                  <c:v>1.018</c:v>
                </c:pt>
                <c:pt idx="1">
                  <c:v>0.88700000000000001</c:v>
                </c:pt>
              </c:numCache>
            </c:numRef>
          </c:yVal>
          <c:bubbleSize>
            <c:numRef>
              <c:f>Sheet1!$C$2:$C$3</c:f>
              <c:numCache>
                <c:formatCode>General</c:formatCode>
                <c:ptCount val="2"/>
                <c:pt idx="0">
                  <c:v>42865</c:v>
                </c:pt>
                <c:pt idx="1">
                  <c:v>5779</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687BF0-FA2F-41C8-9BCF-0384E7DBEA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C36552-37C2-453C-B86E-41DBA220B8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3C2CE9B-8ED4-417A-85CE-055C84EE6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AFCFD28-E60E-43F4-AC55-E862CD7415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C9B9EB9-BBC4-4A5A-9C77-B3A42B9E9C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43E084B-127C-43C7-85B6-803B93EEE2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E65347-05B9-4872-BFDD-97758B2BE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58C185C-66A1-4F77-9EFF-B4D6089DCE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147</c:v>
                </c:pt>
                <c:pt idx="1">
                  <c:v>10.1408</c:v>
                </c:pt>
              </c:numCache>
            </c:numRef>
          </c:xVal>
          <c:yVal>
            <c:numRef>
              <c:f>Sheet1!$B$2:$B$3</c:f>
              <c:numCache>
                <c:formatCode>General</c:formatCode>
                <c:ptCount val="2"/>
                <c:pt idx="0">
                  <c:v>1.028</c:v>
                </c:pt>
                <c:pt idx="1">
                  <c:v>0.84599999999999997</c:v>
                </c:pt>
              </c:numCache>
            </c:numRef>
          </c:yVal>
          <c:bubbleSize>
            <c:numRef>
              <c:f>Sheet1!$C$2:$C$3</c:f>
              <c:numCache>
                <c:formatCode>General</c:formatCode>
                <c:ptCount val="2"/>
                <c:pt idx="0">
                  <c:v>4845</c:v>
                </c:pt>
                <c:pt idx="1">
                  <c:v>720</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44F917-8700-4CB3-82E7-17F5D1A9E6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E4E5CB-DD34-41B4-8008-9A9EA48A59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CAD771-65CC-4C47-86AE-0E200D6DA8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6C464E-2E36-4C8D-9F87-F56826321D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D51F24-613C-42BC-8E49-E4D134BCDD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54AE3C-3C9A-4111-A4F2-CBF7F95435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80DD45-7C4A-4AA4-8C22-BF2D58DEA6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7966E2-2AEA-44C2-9909-0E50AECD38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2.245000000000005</c:v>
                </c:pt>
                <c:pt idx="1">
                  <c:v>23.982600000000001</c:v>
                </c:pt>
                <c:pt idx="2">
                  <c:v>53.209800000000001</c:v>
                </c:pt>
                <c:pt idx="3">
                  <c:v>31.915800000000001</c:v>
                </c:pt>
                <c:pt idx="4">
                  <c:v>56.263100000000001</c:v>
                </c:pt>
                <c:pt idx="5">
                  <c:v>33.282400000000003</c:v>
                </c:pt>
                <c:pt idx="6">
                  <c:v>58.168599999999998</c:v>
                </c:pt>
                <c:pt idx="7">
                  <c:v>74.187700000000007</c:v>
                </c:pt>
              </c:numCache>
            </c:numRef>
          </c:xVal>
          <c:yVal>
            <c:numRef>
              <c:f>Sheet1!$B$2:$B$9</c:f>
              <c:numCache>
                <c:formatCode>General</c:formatCode>
                <c:ptCount val="8"/>
                <c:pt idx="0">
                  <c:v>1.9259999999999999</c:v>
                </c:pt>
                <c:pt idx="1">
                  <c:v>0.63600000000000001</c:v>
                </c:pt>
                <c:pt idx="2">
                  <c:v>1.3460000000000001</c:v>
                </c:pt>
                <c:pt idx="3">
                  <c:v>0.84699999999999998</c:v>
                </c:pt>
                <c:pt idx="4">
                  <c:v>1.28</c:v>
                </c:pt>
                <c:pt idx="5">
                  <c:v>0.86199999999999999</c:v>
                </c:pt>
                <c:pt idx="6">
                  <c:v>1.28</c:v>
                </c:pt>
                <c:pt idx="7">
                  <c:v>1.907</c:v>
                </c:pt>
              </c:numCache>
            </c:numRef>
          </c:yVal>
          <c:bubbleSize>
            <c:numRef>
              <c:f>Sheet1!$C$2:$C$9</c:f>
              <c:numCache>
                <c:formatCode>General</c:formatCode>
                <c:ptCount val="8"/>
                <c:pt idx="0">
                  <c:v>1098847</c:v>
                </c:pt>
                <c:pt idx="1">
                  <c:v>246085</c:v>
                </c:pt>
                <c:pt idx="2">
                  <c:v>239125</c:v>
                </c:pt>
                <c:pt idx="3">
                  <c:v>135355</c:v>
                </c:pt>
                <c:pt idx="4">
                  <c:v>127436</c:v>
                </c:pt>
                <c:pt idx="5">
                  <c:v>107702</c:v>
                </c:pt>
                <c:pt idx="6">
                  <c:v>98654</c:v>
                </c:pt>
                <c:pt idx="7">
                  <c:v>98002</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Malard</c:v>
                  </c:pt>
                  <c:pt idx="4">
                    <c:v>Laurent Perrier</c:v>
                  </c:pt>
                  <c:pt idx="5">
                    <c:v>Nicolas Feuillatte</c:v>
                  </c:pt>
                  <c:pt idx="6">
                    <c:v>Taittinger</c:v>
                  </c:pt>
                  <c:pt idx="7">
                    <c:v>Roeder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32ECB02-790F-4B15-A941-FD902ADE5D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39EFB5C6-C8C6-4329-8171-FD1105BA9B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1EBC1ADB-A39A-4D7B-8A31-02091A2C0D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371514F1-AFF1-4DD8-8F14-7F9041055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7A66F223-1D90-4395-B53F-C9D71BEA8C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BA7DA84B-2299-484C-A1A3-3563FFF01B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796157DA-E593-45B2-80FC-2BC20943FA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F5FDF237-149E-44BE-A7DC-B7C9D45D42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976000000000003</c:v>
                </c:pt>
                <c:pt idx="1">
                  <c:v>5.4188999999999998</c:v>
                </c:pt>
                <c:pt idx="2">
                  <c:v>6.3528000000000002</c:v>
                </c:pt>
                <c:pt idx="3">
                  <c:v>6.7249999999999996</c:v>
                </c:pt>
                <c:pt idx="4">
                  <c:v>7.1329000000000002</c:v>
                </c:pt>
                <c:pt idx="5">
                  <c:v>6.0354999999999999</c:v>
                </c:pt>
                <c:pt idx="6">
                  <c:v>7.5696000000000003</c:v>
                </c:pt>
                <c:pt idx="7">
                  <c:v>5.5134999999999996</c:v>
                </c:pt>
              </c:numCache>
            </c:numRef>
          </c:xVal>
          <c:yVal>
            <c:numRef>
              <c:f>Sheet1!$B$2:$B$9</c:f>
              <c:numCache>
                <c:formatCode>General</c:formatCode>
                <c:ptCount val="8"/>
                <c:pt idx="0">
                  <c:v>1.149</c:v>
                </c:pt>
                <c:pt idx="1">
                  <c:v>0.82099999999999995</c:v>
                </c:pt>
                <c:pt idx="2">
                  <c:v>0.97099999999999997</c:v>
                </c:pt>
                <c:pt idx="3">
                  <c:v>1.097</c:v>
                </c:pt>
                <c:pt idx="4">
                  <c:v>1.0580000000000001</c:v>
                </c:pt>
                <c:pt idx="5">
                  <c:v>0.95699999999999996</c:v>
                </c:pt>
                <c:pt idx="6">
                  <c:v>1.0629999999999999</c:v>
                </c:pt>
                <c:pt idx="7">
                  <c:v>0.89300000000000002</c:v>
                </c:pt>
              </c:numCache>
            </c:numRef>
          </c:yVal>
          <c:bubbleSize>
            <c:numRef>
              <c:f>Sheet1!$C$2:$C$9</c:f>
              <c:numCache>
                <c:formatCode>General</c:formatCode>
                <c:ptCount val="8"/>
                <c:pt idx="0">
                  <c:v>26217786</c:v>
                </c:pt>
                <c:pt idx="1">
                  <c:v>25627765</c:v>
                </c:pt>
                <c:pt idx="2">
                  <c:v>21170443</c:v>
                </c:pt>
                <c:pt idx="3">
                  <c:v>15294585</c:v>
                </c:pt>
                <c:pt idx="4">
                  <c:v>12946978</c:v>
                </c:pt>
                <c:pt idx="5">
                  <c:v>5219639</c:v>
                </c:pt>
                <c:pt idx="6">
                  <c:v>3730611</c:v>
                </c:pt>
                <c:pt idx="7">
                  <c:v>3036504</c:v>
                </c:pt>
              </c:numCache>
            </c:numRef>
          </c:bubbleSize>
          <c:bubble3D val="0"/>
          <c:extLst>
            <c:ext xmlns:c15="http://schemas.microsoft.com/office/drawing/2012/chart" uri="{02D57815-91ED-43cb-92C2-25804820EDAC}">
              <c15:datalabelsRange>
                <c15:f>Sheet1!$E$2:$E$10</c15:f>
                <c15:dlblRangeCache>
                  <c:ptCount val="9"/>
                  <c:pt idx="0">
                    <c:v>Riccadonna</c:v>
                  </c:pt>
                  <c:pt idx="1">
                    <c:v>Mdd</c:v>
                  </c:pt>
                  <c:pt idx="2">
                    <c:v>Vilaveroni</c:v>
                  </c:pt>
                  <c:pt idx="3">
                    <c:v>Perlino</c:v>
                  </c:pt>
                  <c:pt idx="4">
                    <c:v>Mionetto</c:v>
                  </c:pt>
                  <c:pt idx="5">
                    <c:v>Signore Giuseppe</c:v>
                  </c:pt>
                  <c:pt idx="6">
                    <c:v>Maschio</c:v>
                  </c:pt>
                  <c:pt idx="7">
                    <c:v>Nobrand</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FF0AC9-3980-466E-8D16-BC9B2FD069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171B8B-65EF-48DD-B7EC-95A5A71D6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00A2E27-DFC2-4B10-B5FA-D1DDF11FF8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7012396-0687-484A-A9B4-03A619606B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EEC37B3-16FE-431F-A61F-BDBC7896F7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02910A6-06E6-4C2C-91C4-57A9BFDA93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9E1E890-EBEF-4C13-917F-D287419621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7AC998-6E99-4CE8-919F-11D6B06F0B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875</c:v>
                </c:pt>
                <c:pt idx="1">
                  <c:v>10.392200000000001</c:v>
                </c:pt>
              </c:numCache>
            </c:numRef>
          </c:xVal>
          <c:yVal>
            <c:numRef>
              <c:f>Sheet1!$B$2:$B$3</c:f>
              <c:numCache>
                <c:formatCode>General</c:formatCode>
                <c:ptCount val="2"/>
                <c:pt idx="0">
                  <c:v>1.046</c:v>
                </c:pt>
                <c:pt idx="1">
                  <c:v>0.83699999999999997</c:v>
                </c:pt>
              </c:numCache>
            </c:numRef>
          </c:yVal>
          <c:bubbleSize>
            <c:numRef>
              <c:f>Sheet1!$C$2:$C$3</c:f>
              <c:numCache>
                <c:formatCode>General</c:formatCode>
                <c:ptCount val="2"/>
                <c:pt idx="0">
                  <c:v>2327</c:v>
                </c:pt>
                <c:pt idx="1">
                  <c:v>530</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4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1B8417-0F86-4CBD-AA5C-7811D22632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EBC6AA-ACA7-4A92-BD7F-AE66D0D5F4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3A4C05D-EF37-4F1B-8844-4805E12033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CA2C512-5334-43F3-82A5-8BF7C3258E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19D26B5-0DDA-49BA-83E6-DE71D5EF55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B32B102-706E-404E-8722-B87D5536B6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F6B1CAA-C39A-48C6-8C49-9B0C4546AB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9685D5-57DC-42B3-BB46-E923911DAC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453</c:v>
                </c:pt>
                <c:pt idx="1">
                  <c:v>10.7027</c:v>
                </c:pt>
              </c:numCache>
            </c:numRef>
          </c:xVal>
          <c:yVal>
            <c:numRef>
              <c:f>Sheet1!$B$2:$B$3</c:f>
              <c:numCache>
                <c:formatCode>General</c:formatCode>
                <c:ptCount val="2"/>
                <c:pt idx="0">
                  <c:v>0.9</c:v>
                </c:pt>
                <c:pt idx="1">
                  <c:v>0.81599999999999995</c:v>
                </c:pt>
              </c:numCache>
            </c:numRef>
          </c:yVal>
          <c:bubbleSize>
            <c:numRef>
              <c:f>Sheet1!$C$2:$C$3</c:f>
              <c:numCache>
                <c:formatCode>General</c:formatCode>
                <c:ptCount val="2"/>
                <c:pt idx="0">
                  <c:v>2200</c:v>
                </c:pt>
                <c:pt idx="1">
                  <c:v>396</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00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58C19D-400F-4A93-90AB-CB1B9B33D6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9D5FD7-E16E-4B63-9171-08C40F401D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CF096D8-8C52-4712-BBEC-D1328A0997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45692E9-3B05-4EE7-8489-910587A50B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CAE9D38-9918-4C49-961D-C0D9FA97F5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ECB75A3-CBDF-4126-A10D-FD1418DED8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CEBA8D1-B9B2-4C8A-88F4-41A22FAC4D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FD17491-F9F8-4C65-AB95-75AA45C9F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212400000000001</c:v>
                </c:pt>
                <c:pt idx="1">
                  <c:v>9.5396999999999998</c:v>
                </c:pt>
              </c:numCache>
            </c:numRef>
          </c:xVal>
          <c:yVal>
            <c:numRef>
              <c:f>Sheet1!$B$2:$B$3</c:f>
              <c:numCache>
                <c:formatCode>General</c:formatCode>
                <c:ptCount val="2"/>
                <c:pt idx="0">
                  <c:v>1.097</c:v>
                </c:pt>
                <c:pt idx="1">
                  <c:v>0.84199999999999997</c:v>
                </c:pt>
              </c:numCache>
            </c:numRef>
          </c:yVal>
          <c:bubbleSize>
            <c:numRef>
              <c:f>Sheet1!$C$2:$C$3</c:f>
              <c:numCache>
                <c:formatCode>General</c:formatCode>
                <c:ptCount val="2"/>
                <c:pt idx="0">
                  <c:v>1267</c:v>
                </c:pt>
                <c:pt idx="1">
                  <c:v>60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9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9938FC-F385-4458-8B39-374E515604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6F60C7-BABB-4B1D-B57E-DB3B8D0CE9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89F1CC3-4700-48DF-A52A-6775B106ED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0FE202F-BF36-4BAA-BD06-0C82E5684C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7708A52-3599-493D-B009-C83B1E60E0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565C3D6-BF58-49FE-A6D5-ADF8C63A66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7AFF14-E3AE-43EF-B416-1910A94F8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7DAC9B-2A81-4170-B67D-87C35FC038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51099999999999</c:v>
                </c:pt>
                <c:pt idx="1">
                  <c:v>9.6081000000000003</c:v>
                </c:pt>
              </c:numCache>
            </c:numRef>
          </c:xVal>
          <c:yVal>
            <c:numRef>
              <c:f>Sheet1!$B$2:$B$3</c:f>
              <c:numCache>
                <c:formatCode>General</c:formatCode>
                <c:ptCount val="2"/>
                <c:pt idx="0">
                  <c:v>1.014</c:v>
                </c:pt>
                <c:pt idx="1">
                  <c:v>0.78600000000000003</c:v>
                </c:pt>
              </c:numCache>
            </c:numRef>
          </c:yVal>
          <c:bubbleSize>
            <c:numRef>
              <c:f>Sheet1!$C$2:$C$3</c:f>
              <c:numCache>
                <c:formatCode>General</c:formatCode>
                <c:ptCount val="2"/>
                <c:pt idx="0">
                  <c:v>14041</c:v>
                </c:pt>
                <c:pt idx="1">
                  <c:v>71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7CD05A-E608-4495-B180-7DEF20605D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F89D83-B122-449B-9188-30D07304D0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9E9FC12-0C3F-432B-94A2-30A0FC0DA0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16E1E4A-EF71-478A-9B26-2BD20986AF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EC9FEE2-0539-478A-B2F3-51B423461B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EDE636D-AC01-422D-A7AF-0C5935085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A300D55-417D-4235-83C0-6E2266A8F2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3321379-CEA3-47CB-9B2B-267EC5991A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694</c:v>
                </c:pt>
                <c:pt idx="1">
                  <c:v>10.2857</c:v>
                </c:pt>
              </c:numCache>
            </c:numRef>
          </c:xVal>
          <c:yVal>
            <c:numRef>
              <c:f>Sheet1!$B$2:$B$3</c:f>
              <c:numCache>
                <c:formatCode>General</c:formatCode>
                <c:ptCount val="2"/>
                <c:pt idx="0">
                  <c:v>1.0129999999999999</c:v>
                </c:pt>
                <c:pt idx="1">
                  <c:v>0.81699999999999995</c:v>
                </c:pt>
              </c:numCache>
            </c:numRef>
          </c:yVal>
          <c:bubbleSize>
            <c:numRef>
              <c:f>Sheet1!$C$2:$C$3</c:f>
              <c:numCache>
                <c:formatCode>General</c:formatCode>
                <c:ptCount val="2"/>
                <c:pt idx="0">
                  <c:v>10392</c:v>
                </c:pt>
                <c:pt idx="1">
                  <c:v>576</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1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DFC2F35-DE87-4330-94FB-D689F3D0E5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373648-C091-4DB5-B68F-BC44F76ADD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B70F599-62BF-4517-BD88-A623610418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13A5971-C211-4243-BCBD-01764EA33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7989EF0-BB22-4893-B90D-2D29473AE6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DCFD32E-A6A5-4E9E-97CA-137998DBDC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57FC907-C5E3-495D-B0E4-6C1453740F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81B1F3F-1DEA-47E4-8B73-A9E0276186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94</c:v>
                </c:pt>
                <c:pt idx="1">
                  <c:v>9.81</c:v>
                </c:pt>
              </c:numCache>
            </c:numRef>
          </c:xVal>
          <c:yVal>
            <c:numRef>
              <c:f>Sheet1!$B$2:$B$3</c:f>
              <c:numCache>
                <c:formatCode>General</c:formatCode>
                <c:ptCount val="2"/>
                <c:pt idx="0">
                  <c:v>0.98399999999999999</c:v>
                </c:pt>
                <c:pt idx="1">
                  <c:v>0.84399999999999997</c:v>
                </c:pt>
              </c:numCache>
            </c:numRef>
          </c:yVal>
          <c:bubbleSize>
            <c:numRef>
              <c:f>Sheet1!$C$2:$C$3</c:f>
              <c:numCache>
                <c:formatCode>General</c:formatCode>
                <c:ptCount val="2"/>
                <c:pt idx="0">
                  <c:v>13985</c:v>
                </c:pt>
                <c:pt idx="1">
                  <c:v>1962</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18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D8FBBB-E3D5-40F0-A041-44DA54EB66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D9E297-E7A8-4800-A478-9B377715C0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555A153-BD1A-426B-9F1D-8D4DF54936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D1CA463-FB5B-430C-9C70-D5BBE190F2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8D1196A-0DAF-4ACA-8846-EDFEFC8883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004E4ED-2C61-4FEB-BCF7-2808F5148A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2B46128-2E94-4E5A-B5BF-50D1A9BAD7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CF0E74C-E8FA-4954-951C-FEF0E2761A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7454</c:v>
                </c:pt>
                <c:pt idx="1">
                  <c:v>9.6069999999999993</c:v>
                </c:pt>
              </c:numCache>
            </c:numRef>
          </c:xVal>
          <c:yVal>
            <c:numRef>
              <c:f>Sheet1!$B$2:$B$3</c:f>
              <c:numCache>
                <c:formatCode>General</c:formatCode>
                <c:ptCount val="2"/>
                <c:pt idx="0">
                  <c:v>1.036</c:v>
                </c:pt>
                <c:pt idx="1">
                  <c:v>0.84399999999999997</c:v>
                </c:pt>
              </c:numCache>
            </c:numRef>
          </c:yVal>
          <c:bubbleSize>
            <c:numRef>
              <c:f>Sheet1!$C$2:$C$3</c:f>
              <c:numCache>
                <c:formatCode>General</c:formatCode>
                <c:ptCount val="2"/>
                <c:pt idx="0">
                  <c:v>10509</c:v>
                </c:pt>
                <c:pt idx="1">
                  <c:v>1931</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3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282412-2D24-4EAF-9AA6-551B067EBB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EB8CAD-CDDA-4C2D-9BF0-C65AB54E4B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D0728DF-047D-4735-9478-C2AB8256A6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1A3514E-EFDF-45B5-B001-5104EA0FFB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884A1CD-4670-4568-BD51-E65575002C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D55F3B0-888C-46CB-8A6B-03EF080781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C3EFC66-9E8A-4A23-A7D5-EBA673B2C9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7A904C-569A-4754-9255-CC08B0C3B4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89099999999999</c:v>
                </c:pt>
                <c:pt idx="1">
                  <c:v>9.4672999999999998</c:v>
                </c:pt>
              </c:numCache>
            </c:numRef>
          </c:xVal>
          <c:yVal>
            <c:numRef>
              <c:f>Sheet1!$B$2:$B$3</c:f>
              <c:numCache>
                <c:formatCode>General</c:formatCode>
                <c:ptCount val="2"/>
                <c:pt idx="0">
                  <c:v>1.0269999999999999</c:v>
                </c:pt>
                <c:pt idx="1">
                  <c:v>0.90300000000000002</c:v>
                </c:pt>
              </c:numCache>
            </c:numRef>
          </c:yVal>
          <c:bubbleSize>
            <c:numRef>
              <c:f>Sheet1!$C$2:$C$3</c:f>
              <c:numCache>
                <c:formatCode>General</c:formatCode>
                <c:ptCount val="2"/>
                <c:pt idx="0">
                  <c:v>10998</c:v>
                </c:pt>
                <c:pt idx="1">
                  <c:v>4194</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2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lvl>
                <c:lvl>
                  <c:pt idx="0">
                    <c:v>Bruts</c:v>
                  </c:pt>
                  <c:pt idx="2">
                    <c:v>Rosés</c:v>
                  </c:pt>
                  <c:pt idx="4">
                    <c:v>Mousseux Italiens</c:v>
                  </c:pt>
                  <c:pt idx="6">
                    <c:v>Mousseux Alsace</c:v>
                  </c:pt>
                  <c:pt idx="8">
                    <c:v>Mousseux Val De Loire</c:v>
                  </c:pt>
                  <c:pt idx="10">
                    <c:v>Mousseux Bourgogne</c:v>
                  </c:pt>
                </c:lvl>
                <c:lvl>
                  <c:pt idx="0">
                    <c:v>Champagnes</c:v>
                  </c:pt>
                  <c:pt idx="4">
                    <c:v>Mousseux</c:v>
                  </c:pt>
                </c:lvl>
              </c:multiLvlStrCache>
            </c:multiLvlStrRef>
          </c:cat>
          <c:val>
            <c:numRef>
              <c:f>Sheet1!$D$2:$D$13</c:f>
              <c:numCache>
                <c:formatCode>General</c:formatCode>
                <c:ptCount val="12"/>
                <c:pt idx="0">
                  <c:v>475.5</c:v>
                </c:pt>
                <c:pt idx="1">
                  <c:v>4.5999999999999996</c:v>
                </c:pt>
                <c:pt idx="2">
                  <c:v>43.9</c:v>
                </c:pt>
                <c:pt idx="3">
                  <c:v>0.4</c:v>
                </c:pt>
                <c:pt idx="4">
                  <c:v>131.1</c:v>
                </c:pt>
                <c:pt idx="5">
                  <c:v>0</c:v>
                </c:pt>
                <c:pt idx="6">
                  <c:v>103.8</c:v>
                </c:pt>
                <c:pt idx="7">
                  <c:v>0</c:v>
                </c:pt>
                <c:pt idx="8">
                  <c:v>70.3</c:v>
                </c:pt>
                <c:pt idx="9">
                  <c:v>0</c:v>
                </c:pt>
                <c:pt idx="10">
                  <c:v>41.2</c:v>
                </c:pt>
                <c:pt idx="11">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1.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37.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64A4-4039-B2C2-0A2263E9C06B}"/>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64A4-4039-B2C2-0A2263E9C06B}"/>
                </c:ext>
              </c:extLst>
            </c:dLbl>
            <c:dLbl>
              <c:idx val="6"/>
              <c:tx>
                <c:rich>
                  <a:bodyPr/>
                  <a:lstStyle/>
                  <a:p>
                    <a:r>
                      <a:t>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64A4-4039-B2C2-0A2263E9C06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64A4-4039-B2C2-0A2263E9C06B}"/>
                </c:ext>
              </c:extLst>
            </c:dLbl>
            <c:dLbl>
              <c:idx val="8"/>
              <c:tx>
                <c:rich>
                  <a:bodyPr/>
                  <a:lstStyle/>
                  <a:p>
                    <a:r>
                      <a:t>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64A4-4039-B2C2-0A2263E9C06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64A4-4039-B2C2-0A2263E9C06B}"/>
                </c:ext>
              </c:extLst>
            </c:dLbl>
            <c:dLbl>
              <c:idx val="10"/>
              <c:tx>
                <c:rich>
                  <a:bodyPr/>
                  <a:lstStyle/>
                  <a:p>
                    <a:r>
                      <a:t>9.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64A4-4039-B2C2-0A2263E9C06B}"/>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64A4-4039-B2C2-0A2263E9C06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lvl>
                <c:lvl>
                  <c:pt idx="0">
                    <c:v>Bruts</c:v>
                  </c:pt>
                  <c:pt idx="2">
                    <c:v>Rosés</c:v>
                  </c:pt>
                  <c:pt idx="4">
                    <c:v>Mousseux Italiens</c:v>
                  </c:pt>
                  <c:pt idx="6">
                    <c:v>Mousseux Alsace</c:v>
                  </c:pt>
                  <c:pt idx="8">
                    <c:v>Mousseux Val De Loire</c:v>
                  </c:pt>
                  <c:pt idx="10">
                    <c:v>Mousseux Bourgogne</c:v>
                  </c:pt>
                </c:lvl>
                <c:lvl>
                  <c:pt idx="0">
                    <c:v>Champagnes</c:v>
                  </c:pt>
                  <c:pt idx="4">
                    <c:v>Mousseux</c:v>
                  </c:pt>
                </c:lvl>
              </c:multiLvlStrCache>
            </c:multiLvlStrRef>
          </c:cat>
          <c:val>
            <c:numRef>
              <c:f>Sheet1!$E$2:$E$13</c:f>
              <c:numCache>
                <c:formatCode>General</c:formatCode>
                <c:ptCount val="12"/>
                <c:pt idx="0">
                  <c:v>26.361699999999999</c:v>
                </c:pt>
                <c:pt idx="1">
                  <c:v>29.526199999999999</c:v>
                </c:pt>
                <c:pt idx="2">
                  <c:v>41.983699999999999</c:v>
                </c:pt>
                <c:pt idx="3">
                  <c:v>37.991900000000001</c:v>
                </c:pt>
                <c:pt idx="4">
                  <c:v>8.2279999999999998</c:v>
                </c:pt>
                <c:pt idx="5">
                  <c:v>0</c:v>
                </c:pt>
                <c:pt idx="6">
                  <c:v>6.9306000000000001</c:v>
                </c:pt>
                <c:pt idx="7">
                  <c:v>0</c:v>
                </c:pt>
                <c:pt idx="8">
                  <c:v>7.1753</c:v>
                </c:pt>
                <c:pt idx="9">
                  <c:v>0</c:v>
                </c:pt>
                <c:pt idx="10">
                  <c:v>9.4803999999999995</c:v>
                </c:pt>
                <c:pt idx="11">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065B-4D93-8010-20AC8467F111}"/>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42</c:v>
                </c:pt>
                <c:pt idx="1">
                  <c:v>4.5999999999999996</c:v>
                </c:pt>
                <c:pt idx="2">
                  <c:v>8.1</c:v>
                </c:pt>
                <c:pt idx="3">
                  <c:v>0.5</c:v>
                </c:pt>
                <c:pt idx="4">
                  <c:v>4.3</c:v>
                </c:pt>
                <c:pt idx="5">
                  <c:v>0.4</c:v>
                </c:pt>
                <c:pt idx="6">
                  <c:v>2.9</c:v>
                </c:pt>
                <c:pt idx="7">
                  <c:v>0.1</c:v>
                </c:pt>
                <c:pt idx="8">
                  <c:v>2.5</c:v>
                </c:pt>
                <c:pt idx="9">
                  <c:v>0</c:v>
                </c:pt>
                <c:pt idx="10">
                  <c:v>2.2999999999999998</c:v>
                </c:pt>
                <c:pt idx="11">
                  <c:v>0</c:v>
                </c:pt>
                <c:pt idx="12">
                  <c:v>1.7</c:v>
                </c:pt>
                <c:pt idx="13">
                  <c:v>0</c:v>
                </c:pt>
                <c:pt idx="14">
                  <c:v>1.100000000000000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7.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065B-4D93-8010-20AC8467F111}"/>
                </c:ext>
              </c:extLst>
            </c:dLbl>
            <c:dLbl>
              <c:idx val="5"/>
              <c:tx>
                <c:rich>
                  <a:bodyPr/>
                  <a:lstStyle/>
                  <a:p>
                    <a:r>
                      <a:t>3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065B-4D93-8010-20AC8467F111}"/>
                </c:ext>
              </c:extLst>
            </c:dLbl>
            <c:dLbl>
              <c:idx val="6"/>
              <c:tx>
                <c:rich>
                  <a:bodyPr/>
                  <a:lstStyle/>
                  <a:p>
                    <a:r>
                      <a:t>3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065B-4D93-8010-20AC8467F111}"/>
                </c:ext>
              </c:extLst>
            </c:dLbl>
            <c:dLbl>
              <c:idx val="7"/>
              <c:tx>
                <c:rich>
                  <a:bodyPr/>
                  <a:lstStyle/>
                  <a:p>
                    <a:r>
                      <a:t>4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065B-4D93-8010-20AC8467F111}"/>
                </c:ext>
              </c:extLst>
            </c:dLbl>
            <c:dLbl>
              <c:idx val="8"/>
              <c:tx>
                <c:rich>
                  <a:bodyPr/>
                  <a:lstStyle/>
                  <a:p>
                    <a:r>
                      <a:t>180.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065B-4D93-8010-20AC8467F111}"/>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065B-4D93-8010-20AC8467F111}"/>
                </c:ext>
              </c:extLst>
            </c:dLbl>
            <c:dLbl>
              <c:idx val="10"/>
              <c:tx>
                <c:rich>
                  <a:bodyPr/>
                  <a:lstStyle/>
                  <a:p>
                    <a:r>
                      <a:t>44.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065B-4D93-8010-20AC8467F111}"/>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065B-4D93-8010-20AC8467F111}"/>
                </c:ext>
              </c:extLst>
            </c:dLbl>
            <c:dLbl>
              <c:idx val="12"/>
              <c:tx>
                <c:rich>
                  <a:bodyPr/>
                  <a:lstStyle/>
                  <a:p>
                    <a:r>
                      <a:t>1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065B-4D93-8010-20AC8467F111}"/>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065B-4D93-8010-20AC8467F111}"/>
                </c:ext>
              </c:extLst>
            </c:dLbl>
            <c:dLbl>
              <c:idx val="14"/>
              <c:tx>
                <c:rich>
                  <a:bodyPr/>
                  <a:lstStyle/>
                  <a:p>
                    <a:r>
                      <a:t>1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065B-4D93-8010-20AC8467F111}"/>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065B-4D93-8010-20AC8467F11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2.466700000000003</c:v>
                </c:pt>
                <c:pt idx="1">
                  <c:v>29.543600000000001</c:v>
                </c:pt>
                <c:pt idx="2">
                  <c:v>97.591700000000003</c:v>
                </c:pt>
                <c:pt idx="3">
                  <c:v>53.555700000000002</c:v>
                </c:pt>
                <c:pt idx="4">
                  <c:v>75.725800000000007</c:v>
                </c:pt>
                <c:pt idx="5">
                  <c:v>38.1937</c:v>
                </c:pt>
                <c:pt idx="6">
                  <c:v>39.992199999999997</c:v>
                </c:pt>
                <c:pt idx="7">
                  <c:v>43.083599999999997</c:v>
                </c:pt>
                <c:pt idx="8">
                  <c:v>180.0427</c:v>
                </c:pt>
                <c:pt idx="9">
                  <c:v>0</c:v>
                </c:pt>
                <c:pt idx="10">
                  <c:v>44.387300000000003</c:v>
                </c:pt>
                <c:pt idx="11">
                  <c:v>0</c:v>
                </c:pt>
                <c:pt idx="12">
                  <c:v>11.944100000000001</c:v>
                </c:pt>
                <c:pt idx="13">
                  <c:v>0</c:v>
                </c:pt>
                <c:pt idx="14">
                  <c:v>15.4686</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1B40B6-96D4-4EF2-A9A9-B36768C478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0599A7B-C1DC-4124-AE2A-55A84CD021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222478-41E3-4FEE-9071-6D1C31C70F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24C981-E03B-4BCB-981F-5D519DF0D9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460941-0800-4E20-9CF6-A5EFD3CB80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7428543-E6B1-41C2-B2AD-09CB643750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F3E4A8-CF21-4C9E-8E6B-F242EE6563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AAE0B1-5040-4B5E-893B-509C767BAC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3677000000000001</c:v>
                </c:pt>
                <c:pt idx="1">
                  <c:v>6.4625000000000004</c:v>
                </c:pt>
                <c:pt idx="2">
                  <c:v>6.7061999999999999</c:v>
                </c:pt>
                <c:pt idx="3">
                  <c:v>6.0472000000000001</c:v>
                </c:pt>
                <c:pt idx="4">
                  <c:v>7.4202000000000004</c:v>
                </c:pt>
                <c:pt idx="5">
                  <c:v>6.5438000000000001</c:v>
                </c:pt>
                <c:pt idx="6">
                  <c:v>6.5370999999999997</c:v>
                </c:pt>
                <c:pt idx="7">
                  <c:v>6.8582000000000001</c:v>
                </c:pt>
              </c:numCache>
            </c:numRef>
          </c:xVal>
          <c:yVal>
            <c:numRef>
              <c:f>Sheet1!$B$2:$B$9</c:f>
              <c:numCache>
                <c:formatCode>General</c:formatCode>
                <c:ptCount val="8"/>
                <c:pt idx="0">
                  <c:v>0.99199999999999999</c:v>
                </c:pt>
                <c:pt idx="1">
                  <c:v>1.012</c:v>
                </c:pt>
                <c:pt idx="2">
                  <c:v>0.77200000000000002</c:v>
                </c:pt>
                <c:pt idx="3">
                  <c:v>0.92300000000000004</c:v>
                </c:pt>
                <c:pt idx="4">
                  <c:v>1.202</c:v>
                </c:pt>
                <c:pt idx="5">
                  <c:v>1.1759999999999999</c:v>
                </c:pt>
                <c:pt idx="6">
                  <c:v>0.74199999999999999</c:v>
                </c:pt>
                <c:pt idx="7">
                  <c:v>1.306</c:v>
                </c:pt>
              </c:numCache>
            </c:numRef>
          </c:yVal>
          <c:bubbleSize>
            <c:numRef>
              <c:f>Sheet1!$C$2:$C$9</c:f>
              <c:numCache>
                <c:formatCode>General</c:formatCode>
                <c:ptCount val="8"/>
                <c:pt idx="0">
                  <c:v>26939241</c:v>
                </c:pt>
                <c:pt idx="1">
                  <c:v>11877367</c:v>
                </c:pt>
                <c:pt idx="2">
                  <c:v>6775215</c:v>
                </c:pt>
                <c:pt idx="3">
                  <c:v>5266419</c:v>
                </c:pt>
                <c:pt idx="4">
                  <c:v>3181796</c:v>
                </c:pt>
                <c:pt idx="5">
                  <c:v>2333478</c:v>
                </c:pt>
                <c:pt idx="6">
                  <c:v>964260</c:v>
                </c:pt>
                <c:pt idx="7">
                  <c:v>953391</c:v>
                </c:pt>
              </c:numCache>
            </c:numRef>
          </c:bubbleSize>
          <c:bubble3D val="0"/>
          <c:extLst>
            <c:ext xmlns:c15="http://schemas.microsoft.com/office/drawing/2012/chart" uri="{02D57815-91ED-43cb-92C2-25804820EDAC}">
              <c15:datalabelsRange>
                <c15:f>Sheet1!$E$2:$E$10</c15:f>
                <c15:dlblRangeCache>
                  <c:ptCount val="9"/>
                  <c:pt idx="0">
                    <c:v>Mdd</c:v>
                  </c:pt>
                  <c:pt idx="1">
                    <c:v>Ackerman</c:v>
                  </c:pt>
                  <c:pt idx="2">
                    <c:v>Melle Ladubay</c:v>
                  </c:pt>
                  <c:pt idx="3">
                    <c:v>Gratien Et Meyer</c:v>
                  </c:pt>
                  <c:pt idx="4">
                    <c:v>Chateau Moncontour</c:v>
                  </c:pt>
                  <c:pt idx="5">
                    <c:v>Lacheteau</c:v>
                  </c:pt>
                  <c:pt idx="6">
                    <c:v>Jean Marc Toussaint</c:v>
                  </c:pt>
                  <c:pt idx="7">
                    <c:v>Sca Gd Vin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3161-4B6A-843F-F907B73A5C21}"/>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18.8</c:v>
                </c:pt>
                <c:pt idx="1">
                  <c:v>2.1</c:v>
                </c:pt>
                <c:pt idx="2">
                  <c:v>2.8</c:v>
                </c:pt>
                <c:pt idx="3">
                  <c:v>0.2</c:v>
                </c:pt>
                <c:pt idx="4">
                  <c:v>1.8</c:v>
                </c:pt>
                <c:pt idx="5">
                  <c:v>0.2</c:v>
                </c:pt>
                <c:pt idx="6">
                  <c:v>1.4</c:v>
                </c:pt>
                <c:pt idx="7">
                  <c:v>0</c:v>
                </c:pt>
                <c:pt idx="8">
                  <c:v>1.1000000000000001</c:v>
                </c:pt>
                <c:pt idx="9">
                  <c:v>0</c:v>
                </c:pt>
                <c:pt idx="10">
                  <c:v>0.9</c:v>
                </c:pt>
                <c:pt idx="11">
                  <c:v>0</c:v>
                </c:pt>
                <c:pt idx="12">
                  <c:v>0.8</c:v>
                </c:pt>
                <c:pt idx="13">
                  <c:v>0</c:v>
                </c:pt>
                <c:pt idx="14">
                  <c:v>0.6</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3.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3161-4B6A-843F-F907B73A5C21}"/>
                </c:ext>
              </c:extLst>
            </c:dLbl>
            <c:dLbl>
              <c:idx val="5"/>
              <c:tx>
                <c:rich>
                  <a:bodyPr/>
                  <a:lstStyle/>
                  <a:p>
                    <a:r>
                      <a:t>38.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3161-4B6A-843F-F907B73A5C21}"/>
                </c:ext>
              </c:extLst>
            </c:dLbl>
            <c:dLbl>
              <c:idx val="6"/>
              <c:tx>
                <c:rich>
                  <a:bodyPr/>
                  <a:lstStyle/>
                  <a:p>
                    <a:r>
                      <a:t>4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3161-4B6A-843F-F907B73A5C21}"/>
                </c:ext>
              </c:extLst>
            </c:dLbl>
            <c:dLbl>
              <c:idx val="7"/>
              <c:tx>
                <c:rich>
                  <a:bodyPr/>
                  <a:lstStyle/>
                  <a:p>
                    <a:r>
                      <a:t>4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3161-4B6A-843F-F907B73A5C21}"/>
                </c:ext>
              </c:extLst>
            </c:dLbl>
            <c:dLbl>
              <c:idx val="8"/>
              <c:tx>
                <c:rich>
                  <a:bodyPr/>
                  <a:lstStyle/>
                  <a:p>
                    <a:r>
                      <a:t>4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3161-4B6A-843F-F907B73A5C21}"/>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3161-4B6A-843F-F907B73A5C21}"/>
                </c:ext>
              </c:extLst>
            </c:dLbl>
            <c:dLbl>
              <c:idx val="10"/>
              <c:tx>
                <c:rich>
                  <a:bodyPr/>
                  <a:lstStyle/>
                  <a:p>
                    <a:r>
                      <a:t>16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3161-4B6A-843F-F907B73A5C21}"/>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3161-4B6A-843F-F907B73A5C21}"/>
                </c:ext>
              </c:extLst>
            </c:dLbl>
            <c:dLbl>
              <c:idx val="12"/>
              <c:tx>
                <c:rich>
                  <a:bodyPr/>
                  <a:lstStyle/>
                  <a:p>
                    <a:r>
                      <a:t>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3161-4B6A-843F-F907B73A5C21}"/>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3161-4B6A-843F-F907B73A5C21}"/>
                </c:ext>
              </c:extLst>
            </c:dLbl>
            <c:dLbl>
              <c:idx val="14"/>
              <c:tx>
                <c:rich>
                  <a:bodyPr/>
                  <a:lstStyle/>
                  <a:p>
                    <a:r>
                      <a:t>1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3161-4B6A-843F-F907B73A5C21}"/>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3161-4B6A-843F-F907B73A5C2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2.0747</c:v>
                </c:pt>
                <c:pt idx="1">
                  <c:v>29.639299999999999</c:v>
                </c:pt>
                <c:pt idx="2">
                  <c:v>93.406300000000002</c:v>
                </c:pt>
                <c:pt idx="3">
                  <c:v>53.369700000000002</c:v>
                </c:pt>
                <c:pt idx="4">
                  <c:v>74.968500000000006</c:v>
                </c:pt>
                <c:pt idx="5">
                  <c:v>38.447499999999998</c:v>
                </c:pt>
                <c:pt idx="6">
                  <c:v>40.025500000000001</c:v>
                </c:pt>
                <c:pt idx="7">
                  <c:v>43.528599999999997</c:v>
                </c:pt>
                <c:pt idx="8">
                  <c:v>44.255899999999997</c:v>
                </c:pt>
                <c:pt idx="9">
                  <c:v>0</c:v>
                </c:pt>
                <c:pt idx="10">
                  <c:v>162.9813</c:v>
                </c:pt>
                <c:pt idx="11">
                  <c:v>0</c:v>
                </c:pt>
                <c:pt idx="12">
                  <c:v>11.971500000000001</c:v>
                </c:pt>
                <c:pt idx="13">
                  <c:v>0</c:v>
                </c:pt>
                <c:pt idx="14">
                  <c:v>15.5694</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4146-4295-B899-C3ABD64D6C43}"/>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8</c:v>
                </c:pt>
                <c:pt idx="1">
                  <c:v>1</c:v>
                </c:pt>
                <c:pt idx="2">
                  <c:v>1.8</c:v>
                </c:pt>
                <c:pt idx="3">
                  <c:v>0.1</c:v>
                </c:pt>
                <c:pt idx="4">
                  <c:v>0.8</c:v>
                </c:pt>
                <c:pt idx="5">
                  <c:v>0.1</c:v>
                </c:pt>
                <c:pt idx="6">
                  <c:v>0.6</c:v>
                </c:pt>
                <c:pt idx="7">
                  <c:v>0</c:v>
                </c:pt>
                <c:pt idx="8">
                  <c:v>0.4</c:v>
                </c:pt>
                <c:pt idx="9">
                  <c:v>0</c:v>
                </c:pt>
                <c:pt idx="10">
                  <c:v>0.4</c:v>
                </c:pt>
                <c:pt idx="11">
                  <c:v>0</c:v>
                </c:pt>
                <c:pt idx="12">
                  <c:v>0.3</c:v>
                </c:pt>
                <c:pt idx="13">
                  <c:v>0</c:v>
                </c:pt>
                <c:pt idx="14">
                  <c:v>0.2</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8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4146-4295-B899-C3ABD64D6C43}"/>
                </c:ext>
              </c:extLst>
            </c:dLbl>
            <c:dLbl>
              <c:idx val="5"/>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4146-4295-B899-C3ABD64D6C43}"/>
                </c:ext>
              </c:extLst>
            </c:dLbl>
            <c:dLbl>
              <c:idx val="6"/>
              <c:tx>
                <c:rich>
                  <a:bodyPr/>
                  <a:lstStyle/>
                  <a:p>
                    <a:r>
                      <a:t>39.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4146-4295-B899-C3ABD64D6C43}"/>
                </c:ext>
              </c:extLst>
            </c:dLbl>
            <c:dLbl>
              <c:idx val="7"/>
              <c:tx>
                <c:rich>
                  <a:bodyPr/>
                  <a:lstStyle/>
                  <a:p>
                    <a:r>
                      <a:t>4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4146-4295-B899-C3ABD64D6C43}"/>
                </c:ext>
              </c:extLst>
            </c:dLbl>
            <c:dLbl>
              <c:idx val="8"/>
              <c:tx>
                <c:rich>
                  <a:bodyPr/>
                  <a:lstStyle/>
                  <a:p>
                    <a:r>
                      <a:t>16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4146-4295-B899-C3ABD64D6C4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4146-4295-B899-C3ABD64D6C43}"/>
                </c:ext>
              </c:extLst>
            </c:dLbl>
            <c:dLbl>
              <c:idx val="10"/>
              <c:tx>
                <c:rich>
                  <a:bodyPr/>
                  <a:lstStyle/>
                  <a:p>
                    <a:r>
                      <a:t>4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4146-4295-B899-C3ABD64D6C43}"/>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4146-4295-B899-C3ABD64D6C43}"/>
                </c:ext>
              </c:extLst>
            </c:dLbl>
            <c:dLbl>
              <c:idx val="12"/>
              <c:tx>
                <c:rich>
                  <a:bodyPr/>
                  <a:lstStyle/>
                  <a:p>
                    <a:r>
                      <a:t>1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4146-4295-B899-C3ABD64D6C43}"/>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4146-4295-B899-C3ABD64D6C43}"/>
                </c:ext>
              </c:extLst>
            </c:dLbl>
            <c:dLbl>
              <c:idx val="14"/>
              <c:tx>
                <c:rich>
                  <a:bodyPr/>
                  <a:lstStyle/>
                  <a:p>
                    <a:r>
                      <a:t>15.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4146-4295-B899-C3ABD64D6C43}"/>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4146-4295-B899-C3ABD64D6C4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0.809600000000003</c:v>
                </c:pt>
                <c:pt idx="1">
                  <c:v>29.407</c:v>
                </c:pt>
                <c:pt idx="2">
                  <c:v>89.915599999999998</c:v>
                </c:pt>
                <c:pt idx="3">
                  <c:v>53.1783</c:v>
                </c:pt>
                <c:pt idx="4">
                  <c:v>69.418400000000005</c:v>
                </c:pt>
                <c:pt idx="5">
                  <c:v>37.555500000000002</c:v>
                </c:pt>
                <c:pt idx="6">
                  <c:v>39.741700000000002</c:v>
                </c:pt>
                <c:pt idx="7">
                  <c:v>42.764400000000002</c:v>
                </c:pt>
                <c:pt idx="8">
                  <c:v>165.1045</c:v>
                </c:pt>
                <c:pt idx="9">
                  <c:v>0</c:v>
                </c:pt>
                <c:pt idx="10">
                  <c:v>43.831200000000003</c:v>
                </c:pt>
                <c:pt idx="11">
                  <c:v>0</c:v>
                </c:pt>
                <c:pt idx="12">
                  <c:v>11.875500000000001</c:v>
                </c:pt>
                <c:pt idx="13">
                  <c:v>0</c:v>
                </c:pt>
                <c:pt idx="14">
                  <c:v>15.2592</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D6DD-4F78-8527-2C9F4920D90E}"/>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5</c:v>
                </c:pt>
                <c:pt idx="1">
                  <c:v>0.5</c:v>
                </c:pt>
                <c:pt idx="2">
                  <c:v>1</c:v>
                </c:pt>
                <c:pt idx="3">
                  <c:v>0</c:v>
                </c:pt>
                <c:pt idx="4">
                  <c:v>0.5</c:v>
                </c:pt>
                <c:pt idx="5">
                  <c:v>0</c:v>
                </c:pt>
                <c:pt idx="6">
                  <c:v>0.4</c:v>
                </c:pt>
                <c:pt idx="7">
                  <c:v>0</c:v>
                </c:pt>
                <c:pt idx="8">
                  <c:v>0.4</c:v>
                </c:pt>
                <c:pt idx="9">
                  <c:v>0</c:v>
                </c:pt>
                <c:pt idx="10">
                  <c:v>0.3</c:v>
                </c:pt>
                <c:pt idx="11">
                  <c:v>0</c:v>
                </c:pt>
                <c:pt idx="12">
                  <c:v>0.2</c:v>
                </c:pt>
                <c:pt idx="13">
                  <c:v>0</c:v>
                </c:pt>
                <c:pt idx="14">
                  <c:v>0.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7.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D6DD-4F78-8527-2C9F4920D90E}"/>
                </c:ext>
              </c:extLst>
            </c:dLbl>
            <c:dLbl>
              <c:idx val="5"/>
              <c:tx>
                <c:rich>
                  <a:bodyPr/>
                  <a:lstStyle/>
                  <a:p>
                    <a:r>
                      <a:t>3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D6DD-4F78-8527-2C9F4920D90E}"/>
                </c:ext>
              </c:extLst>
            </c:dLbl>
            <c:dLbl>
              <c:idx val="6"/>
              <c:tx>
                <c:rich>
                  <a:bodyPr/>
                  <a:lstStyle/>
                  <a:p>
                    <a:r>
                      <a:t>1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D6DD-4F78-8527-2C9F4920D90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D6DD-4F78-8527-2C9F4920D90E}"/>
                </c:ext>
              </c:extLst>
            </c:dLbl>
            <c:dLbl>
              <c:idx val="8"/>
              <c:tx>
                <c:rich>
                  <a:bodyPr/>
                  <a:lstStyle/>
                  <a:p>
                    <a:r>
                      <a:t>4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D6DD-4F78-8527-2C9F4920D90E}"/>
                </c:ext>
              </c:extLst>
            </c:dLbl>
            <c:dLbl>
              <c:idx val="9"/>
              <c:tx>
                <c:rich>
                  <a:bodyPr/>
                  <a:lstStyle/>
                  <a:p>
                    <a:r>
                      <a:t>4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D6DD-4F78-8527-2C9F4920D90E}"/>
                </c:ext>
              </c:extLst>
            </c:dLbl>
            <c:dLbl>
              <c:idx val="10"/>
              <c:tx>
                <c:rich>
                  <a:bodyPr/>
                  <a:lstStyle/>
                  <a:p>
                    <a:r>
                      <a:t>44.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D6DD-4F78-8527-2C9F4920D90E}"/>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D6DD-4F78-8527-2C9F4920D90E}"/>
                </c:ext>
              </c:extLst>
            </c:dLbl>
            <c:dLbl>
              <c:idx val="12"/>
              <c:tx>
                <c:rich>
                  <a:bodyPr/>
                  <a:lstStyle/>
                  <a:p>
                    <a:r>
                      <a:t>1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D6DD-4F78-8527-2C9F4920D90E}"/>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D6DD-4F78-8527-2C9F4920D90E}"/>
                </c:ext>
              </c:extLst>
            </c:dLbl>
            <c:dLbl>
              <c:idx val="14"/>
              <c:tx>
                <c:rich>
                  <a:bodyPr/>
                  <a:lstStyle/>
                  <a:p>
                    <a:r>
                      <a:t>15.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D6DD-4F78-8527-2C9F4920D90E}"/>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D6DD-4F78-8527-2C9F4920D90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4.107599999999998</c:v>
                </c:pt>
                <c:pt idx="1">
                  <c:v>29.730899999999998</c:v>
                </c:pt>
                <c:pt idx="2">
                  <c:v>105.47490000000001</c:v>
                </c:pt>
                <c:pt idx="3">
                  <c:v>53.761099999999999</c:v>
                </c:pt>
                <c:pt idx="4">
                  <c:v>77.8583</c:v>
                </c:pt>
                <c:pt idx="5">
                  <c:v>39.375799999999998</c:v>
                </c:pt>
                <c:pt idx="6">
                  <c:v>199.89930000000001</c:v>
                </c:pt>
                <c:pt idx="7">
                  <c:v>0</c:v>
                </c:pt>
                <c:pt idx="8">
                  <c:v>40.273899999999998</c:v>
                </c:pt>
                <c:pt idx="9">
                  <c:v>43.153799999999997</c:v>
                </c:pt>
                <c:pt idx="10">
                  <c:v>44.922400000000003</c:v>
                </c:pt>
                <c:pt idx="11">
                  <c:v>0</c:v>
                </c:pt>
                <c:pt idx="12">
                  <c:v>12.126799999999999</c:v>
                </c:pt>
                <c:pt idx="13">
                  <c:v>0</c:v>
                </c:pt>
                <c:pt idx="14">
                  <c:v>15.9879</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A654-4B21-8256-6A2669E7354A}"/>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Extra Brut</c:v>
                  </c:pt>
                  <c:pt idx="10">
                    <c:v>Crus</c:v>
                  </c:pt>
                  <c:pt idx="12">
                    <c:v>Mousseux Italiens</c:v>
                  </c:pt>
                </c:lvl>
                <c:lvl>
                  <c:pt idx="0">
                    <c:v>Champagnes</c:v>
                  </c:pt>
                  <c:pt idx="12">
                    <c:v>Mousseux</c:v>
                  </c:pt>
                </c:lvl>
              </c:multiLvlStrCache>
            </c:multiLvlStrRef>
          </c:cat>
          <c:val>
            <c:numRef>
              <c:f>Sheet1!$D$2:$D$15</c:f>
              <c:numCache>
                <c:formatCode>General</c:formatCode>
                <c:ptCount val="14"/>
                <c:pt idx="0">
                  <c:v>3.3</c:v>
                </c:pt>
                <c:pt idx="1">
                  <c:v>0.3</c:v>
                </c:pt>
                <c:pt idx="2">
                  <c:v>1</c:v>
                </c:pt>
                <c:pt idx="3">
                  <c:v>0</c:v>
                </c:pt>
                <c:pt idx="4">
                  <c:v>0.4</c:v>
                </c:pt>
                <c:pt idx="5">
                  <c:v>0</c:v>
                </c:pt>
                <c:pt idx="6">
                  <c:v>0.3</c:v>
                </c:pt>
                <c:pt idx="7">
                  <c:v>0</c:v>
                </c:pt>
                <c:pt idx="8">
                  <c:v>0.2</c:v>
                </c:pt>
                <c:pt idx="9">
                  <c:v>0</c:v>
                </c:pt>
                <c:pt idx="10">
                  <c:v>0.2</c:v>
                </c:pt>
                <c:pt idx="11">
                  <c:v>0</c:v>
                </c:pt>
                <c:pt idx="12">
                  <c:v>0.1</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5.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9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654-4B21-8256-6A2669E7354A}"/>
                </c:ext>
              </c:extLst>
            </c:dLbl>
            <c:dLbl>
              <c:idx val="5"/>
              <c:tx>
                <c:rich>
                  <a:bodyPr/>
                  <a:lstStyle/>
                  <a:p>
                    <a:r>
                      <a:t>38.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654-4B21-8256-6A2669E7354A}"/>
                </c:ext>
              </c:extLst>
            </c:dLbl>
            <c:dLbl>
              <c:idx val="6"/>
              <c:tx>
                <c:rich>
                  <a:bodyPr/>
                  <a:lstStyle/>
                  <a:p>
                    <a:r>
                      <a:t>21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654-4B21-8256-6A2669E7354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654-4B21-8256-6A2669E7354A}"/>
                </c:ext>
              </c:extLst>
            </c:dLbl>
            <c:dLbl>
              <c:idx val="8"/>
              <c:tx>
                <c:rich>
                  <a:bodyPr/>
                  <a:lstStyle/>
                  <a:p>
                    <a:r>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654-4B21-8256-6A2669E7354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654-4B21-8256-6A2669E7354A}"/>
                </c:ext>
              </c:extLst>
            </c:dLbl>
            <c:dLbl>
              <c:idx val="10"/>
              <c:tx>
                <c:rich>
                  <a:bodyPr/>
                  <a:lstStyle/>
                  <a:p>
                    <a:r>
                      <a:t>40.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654-4B21-8256-6A2669E7354A}"/>
                </c:ext>
              </c:extLst>
            </c:dLbl>
            <c:dLbl>
              <c:idx val="11"/>
              <c:tx>
                <c:rich>
                  <a:bodyPr/>
                  <a:lstStyle/>
                  <a:p>
                    <a:r>
                      <a:t>42.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654-4B21-8256-6A2669E7354A}"/>
                </c:ext>
              </c:extLst>
            </c:dLbl>
            <c:dLbl>
              <c:idx val="12"/>
              <c:tx>
                <c:rich>
                  <a:bodyPr/>
                  <a:lstStyle/>
                  <a:p>
                    <a:r>
                      <a:t>1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654-4B21-8256-6A2669E7354A}"/>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654-4B21-8256-6A2669E7354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Extra Brut</c:v>
                  </c:pt>
                  <c:pt idx="10">
                    <c:v>Crus</c:v>
                  </c:pt>
                  <c:pt idx="12">
                    <c:v>Mousseux Italiens</c:v>
                  </c:pt>
                </c:lvl>
                <c:lvl>
                  <c:pt idx="0">
                    <c:v>Champagnes</c:v>
                  </c:pt>
                  <c:pt idx="12">
                    <c:v>Mousseux</c:v>
                  </c:pt>
                </c:lvl>
              </c:multiLvlStrCache>
            </c:multiLvlStrRef>
          </c:cat>
          <c:val>
            <c:numRef>
              <c:f>Sheet1!$E$2:$E$15</c:f>
              <c:numCache>
                <c:formatCode>General</c:formatCode>
                <c:ptCount val="14"/>
                <c:pt idx="0">
                  <c:v>55.952300000000001</c:v>
                </c:pt>
                <c:pt idx="1">
                  <c:v>29.520299999999999</c:v>
                </c:pt>
                <c:pt idx="2">
                  <c:v>111.7274</c:v>
                </c:pt>
                <c:pt idx="3">
                  <c:v>54.277799999999999</c:v>
                </c:pt>
                <c:pt idx="4">
                  <c:v>93.713300000000004</c:v>
                </c:pt>
                <c:pt idx="5">
                  <c:v>38.324199999999998</c:v>
                </c:pt>
                <c:pt idx="6">
                  <c:v>215.56800000000001</c:v>
                </c:pt>
                <c:pt idx="7">
                  <c:v>0</c:v>
                </c:pt>
                <c:pt idx="8">
                  <c:v>45.168300000000002</c:v>
                </c:pt>
                <c:pt idx="9">
                  <c:v>0</c:v>
                </c:pt>
                <c:pt idx="10">
                  <c:v>40.239899999999999</c:v>
                </c:pt>
                <c:pt idx="11">
                  <c:v>42.831899999999997</c:v>
                </c:pt>
                <c:pt idx="12">
                  <c:v>12.2026</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B69D-4891-95F3-0D47E4091DC6}"/>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Millesimes</c:v>
                  </c:pt>
                  <c:pt idx="8">
                    <c:v>Extra Brut</c:v>
                  </c:pt>
                  <c:pt idx="10">
                    <c:v>Crus</c:v>
                  </c:pt>
                  <c:pt idx="12">
                    <c:v>Mousseux Italiens</c:v>
                  </c:pt>
                  <c:pt idx="14">
                    <c:v>Mousseux Val De Loire</c:v>
                  </c:pt>
                  <c:pt idx="16">
                    <c:v>Mousseux Alsace</c:v>
                  </c:pt>
                </c:lvl>
                <c:lvl>
                  <c:pt idx="0">
                    <c:v>Champagnes</c:v>
                  </c:pt>
                  <c:pt idx="12">
                    <c:v>Mousseux</c:v>
                  </c:pt>
                </c:lvl>
              </c:multiLvlStrCache>
            </c:multiLvlStrRef>
          </c:cat>
          <c:val>
            <c:numRef>
              <c:f>Sheet1!$D$2:$D$19</c:f>
              <c:numCache>
                <c:formatCode>General</c:formatCode>
                <c:ptCount val="18"/>
                <c:pt idx="0">
                  <c:v>2</c:v>
                </c:pt>
                <c:pt idx="1">
                  <c:v>0.2</c:v>
                </c:pt>
                <c:pt idx="2">
                  <c:v>0.6</c:v>
                </c:pt>
                <c:pt idx="3">
                  <c:v>0</c:v>
                </c:pt>
                <c:pt idx="4">
                  <c:v>0.2</c:v>
                </c:pt>
                <c:pt idx="5">
                  <c:v>0</c:v>
                </c:pt>
                <c:pt idx="6">
                  <c:v>0.2</c:v>
                </c:pt>
                <c:pt idx="7">
                  <c:v>0</c:v>
                </c:pt>
                <c:pt idx="8">
                  <c:v>0.1</c:v>
                </c:pt>
                <c:pt idx="9">
                  <c:v>0</c:v>
                </c:pt>
                <c:pt idx="10">
                  <c:v>0.1</c:v>
                </c:pt>
                <c:pt idx="11">
                  <c:v>0</c:v>
                </c:pt>
                <c:pt idx="12">
                  <c:v>0.1</c:v>
                </c:pt>
                <c:pt idx="13">
                  <c:v>0</c:v>
                </c:pt>
                <c:pt idx="14">
                  <c:v>0</c:v>
                </c:pt>
                <c:pt idx="15">
                  <c:v>0</c:v>
                </c:pt>
                <c:pt idx="16">
                  <c:v>0</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7.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B69D-4891-95F3-0D47E4091DC6}"/>
                </c:ext>
              </c:extLst>
            </c:dLbl>
            <c:dLbl>
              <c:idx val="5"/>
              <c:tx>
                <c:rich>
                  <a:bodyPr/>
                  <a:lstStyle/>
                  <a:p>
                    <a:r>
                      <a:t>3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69D-4891-95F3-0D47E4091DC6}"/>
                </c:ext>
              </c:extLst>
            </c:dLbl>
            <c:dLbl>
              <c:idx val="6"/>
              <c:tx>
                <c:rich>
                  <a:bodyPr/>
                  <a:lstStyle/>
                  <a:p>
                    <a:r>
                      <a:t>184.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B69D-4891-95F3-0D47E4091DC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69D-4891-95F3-0D47E4091DC6}"/>
                </c:ext>
              </c:extLst>
            </c:dLbl>
            <c:dLbl>
              <c:idx val="8"/>
              <c:tx>
                <c:rich>
                  <a:bodyPr/>
                  <a:lstStyle/>
                  <a:p>
                    <a:r>
                      <a:t>44.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B69D-4891-95F3-0D47E4091DC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69D-4891-95F3-0D47E4091DC6}"/>
                </c:ext>
              </c:extLst>
            </c:dLbl>
            <c:dLbl>
              <c:idx val="10"/>
              <c:tx>
                <c:rich>
                  <a:bodyPr/>
                  <a:lstStyle/>
                  <a:p>
                    <a:r>
                      <a:t>39.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B69D-4891-95F3-0D47E4091DC6}"/>
                </c:ext>
              </c:extLst>
            </c:dLbl>
            <c:dLbl>
              <c:idx val="11"/>
              <c:tx>
                <c:rich>
                  <a:bodyPr/>
                  <a:lstStyle/>
                  <a:p>
                    <a:r>
                      <a:t>40.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69D-4891-95F3-0D47E4091DC6}"/>
                </c:ext>
              </c:extLst>
            </c:dLbl>
            <c:dLbl>
              <c:idx val="12"/>
              <c:tx>
                <c:rich>
                  <a:bodyPr/>
                  <a:lstStyle/>
                  <a:p>
                    <a:r>
                      <a:t>1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B69D-4891-95F3-0D47E4091DC6}"/>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69D-4891-95F3-0D47E4091DC6}"/>
                </c:ext>
              </c:extLst>
            </c:dLbl>
            <c:dLbl>
              <c:idx val="14"/>
              <c:tx>
                <c:rich>
                  <a:bodyPr/>
                  <a:lstStyle/>
                  <a:p>
                    <a:r>
                      <a:t>15.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B69D-4891-95F3-0D47E4091DC6}"/>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69D-4891-95F3-0D47E4091DC6}"/>
                </c:ext>
              </c:extLst>
            </c:dLbl>
            <c:dLbl>
              <c:idx val="16"/>
              <c:tx>
                <c:rich>
                  <a:bodyPr/>
                  <a:lstStyle/>
                  <a:p>
                    <a:r>
                      <a:t>17.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B69D-4891-95F3-0D47E4091DC6}"/>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69D-4891-95F3-0D47E4091DC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Millesimes</c:v>
                  </c:pt>
                  <c:pt idx="8">
                    <c:v>Extra Brut</c:v>
                  </c:pt>
                  <c:pt idx="10">
                    <c:v>Crus</c:v>
                  </c:pt>
                  <c:pt idx="12">
                    <c:v>Mousseux Italiens</c:v>
                  </c:pt>
                  <c:pt idx="14">
                    <c:v>Mousseux Val De Loire</c:v>
                  </c:pt>
                  <c:pt idx="16">
                    <c:v>Mousseux Alsace</c:v>
                  </c:pt>
                </c:lvl>
                <c:lvl>
                  <c:pt idx="0">
                    <c:v>Champagnes</c:v>
                  </c:pt>
                  <c:pt idx="12">
                    <c:v>Mousseux</c:v>
                  </c:pt>
                </c:lvl>
              </c:multiLvlStrCache>
            </c:multiLvlStrRef>
          </c:cat>
          <c:val>
            <c:numRef>
              <c:f>Sheet1!$E$2:$E$19</c:f>
              <c:numCache>
                <c:formatCode>General</c:formatCode>
                <c:ptCount val="18"/>
                <c:pt idx="0">
                  <c:v>54.516300000000001</c:v>
                </c:pt>
                <c:pt idx="1">
                  <c:v>29.320399999999999</c:v>
                </c:pt>
                <c:pt idx="2">
                  <c:v>106.9933</c:v>
                </c:pt>
                <c:pt idx="3">
                  <c:v>54.095700000000001</c:v>
                </c:pt>
                <c:pt idx="4">
                  <c:v>77.268100000000004</c:v>
                </c:pt>
                <c:pt idx="5">
                  <c:v>38.129199999999997</c:v>
                </c:pt>
                <c:pt idx="6">
                  <c:v>184.56649999999999</c:v>
                </c:pt>
                <c:pt idx="7">
                  <c:v>0</c:v>
                </c:pt>
                <c:pt idx="8">
                  <c:v>44.226100000000002</c:v>
                </c:pt>
                <c:pt idx="9">
                  <c:v>0</c:v>
                </c:pt>
                <c:pt idx="10">
                  <c:v>39.791200000000003</c:v>
                </c:pt>
                <c:pt idx="11">
                  <c:v>40.984099999999998</c:v>
                </c:pt>
                <c:pt idx="12">
                  <c:v>11.5238</c:v>
                </c:pt>
                <c:pt idx="13">
                  <c:v>0</c:v>
                </c:pt>
                <c:pt idx="14">
                  <c:v>15.2057</c:v>
                </c:pt>
                <c:pt idx="15">
                  <c:v>0</c:v>
                </c:pt>
                <c:pt idx="16">
                  <c:v>17.650500000000001</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1790-4B7A-A54E-1E576287BA7F}"/>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29</c:v>
                </c:pt>
                <c:pt idx="1">
                  <c:v>3.1</c:v>
                </c:pt>
                <c:pt idx="2">
                  <c:v>5.5</c:v>
                </c:pt>
                <c:pt idx="3">
                  <c:v>0.3</c:v>
                </c:pt>
                <c:pt idx="4">
                  <c:v>3</c:v>
                </c:pt>
                <c:pt idx="5">
                  <c:v>0.3</c:v>
                </c:pt>
                <c:pt idx="6">
                  <c:v>2.1</c:v>
                </c:pt>
                <c:pt idx="7">
                  <c:v>0</c:v>
                </c:pt>
                <c:pt idx="8">
                  <c:v>1.7</c:v>
                </c:pt>
                <c:pt idx="9">
                  <c:v>0</c:v>
                </c:pt>
                <c:pt idx="10">
                  <c:v>1.7</c:v>
                </c:pt>
                <c:pt idx="11">
                  <c:v>0</c:v>
                </c:pt>
                <c:pt idx="12">
                  <c:v>1.2</c:v>
                </c:pt>
                <c:pt idx="13">
                  <c:v>0</c:v>
                </c:pt>
                <c:pt idx="14">
                  <c:v>0.7</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790-4B7A-A54E-1E576287BA7F}"/>
                </c:ext>
              </c:extLst>
            </c:dLbl>
            <c:dLbl>
              <c:idx val="5"/>
              <c:tx>
                <c:rich>
                  <a:bodyPr/>
                  <a:lstStyle/>
                  <a:p>
                    <a:r>
                      <a:t>3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790-4B7A-A54E-1E576287BA7F}"/>
                </c:ext>
              </c:extLst>
            </c:dLbl>
            <c:dLbl>
              <c:idx val="6"/>
              <c:tx>
                <c:rich>
                  <a:bodyPr/>
                  <a:lstStyle/>
                  <a:p>
                    <a:r>
                      <a:t>40.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790-4B7A-A54E-1E576287BA7F}"/>
                </c:ext>
              </c:extLst>
            </c:dLbl>
            <c:dLbl>
              <c:idx val="7"/>
              <c:tx>
                <c:rich>
                  <a:bodyPr/>
                  <a:lstStyle/>
                  <a:p>
                    <a:r>
                      <a:t>4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790-4B7A-A54E-1E576287BA7F}"/>
                </c:ext>
              </c:extLst>
            </c:dLbl>
            <c:dLbl>
              <c:idx val="8"/>
              <c:tx>
                <c:rich>
                  <a:bodyPr/>
                  <a:lstStyle/>
                  <a:p>
                    <a:r>
                      <a:t>4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790-4B7A-A54E-1E576287BA7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790-4B7A-A54E-1E576287BA7F}"/>
                </c:ext>
              </c:extLst>
            </c:dLbl>
            <c:dLbl>
              <c:idx val="10"/>
              <c:tx>
                <c:rich>
                  <a:bodyPr/>
                  <a:lstStyle/>
                  <a:p>
                    <a:r>
                      <a:t>178.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790-4B7A-A54E-1E576287BA7F}"/>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790-4B7A-A54E-1E576287BA7F}"/>
                </c:ext>
              </c:extLst>
            </c:dLbl>
            <c:dLbl>
              <c:idx val="12"/>
              <c:tx>
                <c:rich>
                  <a:bodyPr/>
                  <a:lstStyle/>
                  <a:p>
                    <a:r>
                      <a:t>1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790-4B7A-A54E-1E576287BA7F}"/>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790-4B7A-A54E-1E576287BA7F}"/>
                </c:ext>
              </c:extLst>
            </c:dLbl>
            <c:dLbl>
              <c:idx val="14"/>
              <c:tx>
                <c:rich>
                  <a:bodyPr/>
                  <a:lstStyle/>
                  <a:p>
                    <a:r>
                      <a:t>15.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790-4B7A-A54E-1E576287BA7F}"/>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790-4B7A-A54E-1E576287BA7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2.746600000000001</c:v>
                </c:pt>
                <c:pt idx="1">
                  <c:v>29.5703</c:v>
                </c:pt>
                <c:pt idx="2">
                  <c:v>99.004499999999993</c:v>
                </c:pt>
                <c:pt idx="3">
                  <c:v>53.195399999999999</c:v>
                </c:pt>
                <c:pt idx="4">
                  <c:v>76.944500000000005</c:v>
                </c:pt>
                <c:pt idx="5">
                  <c:v>38.406399999999998</c:v>
                </c:pt>
                <c:pt idx="6">
                  <c:v>40.0443</c:v>
                </c:pt>
                <c:pt idx="7">
                  <c:v>43.926900000000003</c:v>
                </c:pt>
                <c:pt idx="8">
                  <c:v>44.462200000000003</c:v>
                </c:pt>
                <c:pt idx="9">
                  <c:v>0</c:v>
                </c:pt>
                <c:pt idx="10">
                  <c:v>178.5181</c:v>
                </c:pt>
                <c:pt idx="11">
                  <c:v>0</c:v>
                </c:pt>
                <c:pt idx="12">
                  <c:v>12.059200000000001</c:v>
                </c:pt>
                <c:pt idx="13">
                  <c:v>0</c:v>
                </c:pt>
                <c:pt idx="14">
                  <c:v>15.8711</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5E06-4B0A-B758-46D98840104D}"/>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D$2:$D$15</c:f>
              <c:numCache>
                <c:formatCode>General</c:formatCode>
                <c:ptCount val="14"/>
                <c:pt idx="0">
                  <c:v>4.0999999999999996</c:v>
                </c:pt>
                <c:pt idx="1">
                  <c:v>0.5</c:v>
                </c:pt>
                <c:pt idx="2">
                  <c:v>1</c:v>
                </c:pt>
                <c:pt idx="3">
                  <c:v>0.1</c:v>
                </c:pt>
                <c:pt idx="4">
                  <c:v>0.5</c:v>
                </c:pt>
                <c:pt idx="5">
                  <c:v>0</c:v>
                </c:pt>
                <c:pt idx="6">
                  <c:v>0.3</c:v>
                </c:pt>
                <c:pt idx="7">
                  <c:v>0</c:v>
                </c:pt>
                <c:pt idx="8">
                  <c:v>0.2</c:v>
                </c:pt>
                <c:pt idx="9">
                  <c:v>0</c:v>
                </c:pt>
                <c:pt idx="10">
                  <c:v>0.2</c:v>
                </c:pt>
                <c:pt idx="11">
                  <c:v>0</c:v>
                </c:pt>
                <c:pt idx="12">
                  <c:v>0.2</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7.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5E06-4B0A-B758-46D98840104D}"/>
                </c:ext>
              </c:extLst>
            </c:dLbl>
            <c:dLbl>
              <c:idx val="5"/>
              <c:tx>
                <c:rich>
                  <a:bodyPr/>
                  <a:lstStyle/>
                  <a:p>
                    <a:r>
                      <a:t>38.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5E06-4B0A-B758-46D98840104D}"/>
                </c:ext>
              </c:extLst>
            </c:dLbl>
            <c:dLbl>
              <c:idx val="6"/>
              <c:tx>
                <c:rich>
                  <a:bodyPr/>
                  <a:lstStyle/>
                  <a:p>
                    <a:r>
                      <a:t>22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5E06-4B0A-B758-46D98840104D}"/>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5E06-4B0A-B758-46D98840104D}"/>
                </c:ext>
              </c:extLst>
            </c:dLbl>
            <c:dLbl>
              <c:idx val="8"/>
              <c:tx>
                <c:rich>
                  <a:bodyPr/>
                  <a:lstStyle/>
                  <a:p>
                    <a:r>
                      <a:t>3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5E06-4B0A-B758-46D98840104D}"/>
                </c:ext>
              </c:extLst>
            </c:dLbl>
            <c:dLbl>
              <c:idx val="9"/>
              <c:tx>
                <c:rich>
                  <a:bodyPr/>
                  <a:lstStyle/>
                  <a:p>
                    <a:r>
                      <a:t>43.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5E06-4B0A-B758-46D98840104D}"/>
                </c:ext>
              </c:extLst>
            </c:dLbl>
            <c:dLbl>
              <c:idx val="10"/>
              <c:tx>
                <c:rich>
                  <a:bodyPr/>
                  <a:lstStyle/>
                  <a:p>
                    <a:r>
                      <a:t>4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5E06-4B0A-B758-46D98840104D}"/>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5E06-4B0A-B758-46D98840104D}"/>
                </c:ext>
              </c:extLst>
            </c:dLbl>
            <c:dLbl>
              <c:idx val="12"/>
              <c:tx>
                <c:rich>
                  <a:bodyPr/>
                  <a:lstStyle/>
                  <a:p>
                    <a:r>
                      <a:t>12.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5E06-4B0A-B758-46D98840104D}"/>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5E06-4B0A-B758-46D98840104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E$2:$E$15</c:f>
              <c:numCache>
                <c:formatCode>General</c:formatCode>
                <c:ptCount val="14"/>
                <c:pt idx="0">
                  <c:v>52.975099999999998</c:v>
                </c:pt>
                <c:pt idx="1">
                  <c:v>29.342099999999999</c:v>
                </c:pt>
                <c:pt idx="2">
                  <c:v>106.7418</c:v>
                </c:pt>
                <c:pt idx="3">
                  <c:v>53.975299999999997</c:v>
                </c:pt>
                <c:pt idx="4">
                  <c:v>77.956299999999999</c:v>
                </c:pt>
                <c:pt idx="5">
                  <c:v>38.017800000000001</c:v>
                </c:pt>
                <c:pt idx="6">
                  <c:v>225.2834</c:v>
                </c:pt>
                <c:pt idx="7">
                  <c:v>0</c:v>
                </c:pt>
                <c:pt idx="8">
                  <c:v>39.923000000000002</c:v>
                </c:pt>
                <c:pt idx="9">
                  <c:v>43.031300000000002</c:v>
                </c:pt>
                <c:pt idx="10">
                  <c:v>44.665599999999998</c:v>
                </c:pt>
                <c:pt idx="11">
                  <c:v>0</c:v>
                </c:pt>
                <c:pt idx="12">
                  <c:v>12.029199999999999</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3292-48E2-8530-3E7FDCDA9CE3}"/>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D$2:$D$15</c:f>
              <c:numCache>
                <c:formatCode>General</c:formatCode>
                <c:ptCount val="14"/>
                <c:pt idx="0">
                  <c:v>2.4</c:v>
                </c:pt>
                <c:pt idx="1">
                  <c:v>0.2</c:v>
                </c:pt>
                <c:pt idx="2">
                  <c:v>0.4</c:v>
                </c:pt>
                <c:pt idx="3">
                  <c:v>0</c:v>
                </c:pt>
                <c:pt idx="4">
                  <c:v>0.2</c:v>
                </c:pt>
                <c:pt idx="5">
                  <c:v>0</c:v>
                </c:pt>
                <c:pt idx="6">
                  <c:v>0.2</c:v>
                </c:pt>
                <c:pt idx="7">
                  <c:v>0</c:v>
                </c:pt>
                <c:pt idx="8">
                  <c:v>0.1</c:v>
                </c:pt>
                <c:pt idx="9">
                  <c:v>0</c:v>
                </c:pt>
                <c:pt idx="10">
                  <c:v>0.1</c:v>
                </c:pt>
                <c:pt idx="11">
                  <c:v>0</c:v>
                </c:pt>
                <c:pt idx="12">
                  <c:v>0.1</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3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5.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3292-48E2-8530-3E7FDCDA9CE3}"/>
                </c:ext>
              </c:extLst>
            </c:dLbl>
            <c:dLbl>
              <c:idx val="5"/>
              <c:tx>
                <c:rich>
                  <a:bodyPr/>
                  <a:lstStyle/>
                  <a:p>
                    <a:r>
                      <a:t>38.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3292-48E2-8530-3E7FDCDA9CE3}"/>
                </c:ext>
              </c:extLst>
            </c:dLbl>
            <c:dLbl>
              <c:idx val="6"/>
              <c:tx>
                <c:rich>
                  <a:bodyPr/>
                  <a:lstStyle/>
                  <a:p>
                    <a:r>
                      <a:t>1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3292-48E2-8530-3E7FDCDA9CE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3292-48E2-8530-3E7FDCDA9CE3}"/>
                </c:ext>
              </c:extLst>
            </c:dLbl>
            <c:dLbl>
              <c:idx val="8"/>
              <c:tx>
                <c:rich>
                  <a:bodyPr/>
                  <a:lstStyle/>
                  <a:p>
                    <a:r>
                      <a:t>39.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3292-48E2-8530-3E7FDCDA9CE3}"/>
                </c:ext>
              </c:extLst>
            </c:dLbl>
            <c:dLbl>
              <c:idx val="9"/>
              <c:tx>
                <c:rich>
                  <a:bodyPr/>
                  <a:lstStyle/>
                  <a:p>
                    <a:r>
                      <a:t>44.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3292-48E2-8530-3E7FDCDA9CE3}"/>
                </c:ext>
              </c:extLst>
            </c:dLbl>
            <c:dLbl>
              <c:idx val="10"/>
              <c:tx>
                <c:rich>
                  <a:bodyPr/>
                  <a:lstStyle/>
                  <a:p>
                    <a:r>
                      <a:t>44.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3292-48E2-8530-3E7FDCDA9CE3}"/>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3292-48E2-8530-3E7FDCDA9CE3}"/>
                </c:ext>
              </c:extLst>
            </c:dLbl>
            <c:dLbl>
              <c:idx val="12"/>
              <c:tx>
                <c:rich>
                  <a:bodyPr/>
                  <a:lstStyle/>
                  <a:p>
                    <a:r>
                      <a:t>1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3292-48E2-8530-3E7FDCDA9CE3}"/>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3292-48E2-8530-3E7FDCDA9C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E$2:$E$15</c:f>
              <c:numCache>
                <c:formatCode>General</c:formatCode>
                <c:ptCount val="14"/>
                <c:pt idx="0">
                  <c:v>53.6935</c:v>
                </c:pt>
                <c:pt idx="1">
                  <c:v>30.215599999999998</c:v>
                </c:pt>
                <c:pt idx="2">
                  <c:v>98.810699999999997</c:v>
                </c:pt>
                <c:pt idx="3">
                  <c:v>55.517699999999998</c:v>
                </c:pt>
                <c:pt idx="4">
                  <c:v>73.642300000000006</c:v>
                </c:pt>
                <c:pt idx="5">
                  <c:v>38.415900000000001</c:v>
                </c:pt>
                <c:pt idx="6">
                  <c:v>187.09819999999999</c:v>
                </c:pt>
                <c:pt idx="7">
                  <c:v>0</c:v>
                </c:pt>
                <c:pt idx="8">
                  <c:v>39.974299999999999</c:v>
                </c:pt>
                <c:pt idx="9">
                  <c:v>44.848500000000001</c:v>
                </c:pt>
                <c:pt idx="10">
                  <c:v>44.310400000000001</c:v>
                </c:pt>
                <c:pt idx="11">
                  <c:v>0</c:v>
                </c:pt>
                <c:pt idx="12">
                  <c:v>11.4984</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6FE8-4B9D-883D-8BBF62CADEF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1.3</c:v>
                </c:pt>
                <c:pt idx="1">
                  <c:v>0.2</c:v>
                </c:pt>
                <c:pt idx="2">
                  <c:v>0.2</c:v>
                </c:pt>
                <c:pt idx="3">
                  <c:v>0</c:v>
                </c:pt>
                <c:pt idx="4">
                  <c:v>0.1</c:v>
                </c:pt>
                <c:pt idx="5">
                  <c:v>0</c:v>
                </c:pt>
                <c:pt idx="6">
                  <c:v>0.1</c:v>
                </c:pt>
                <c:pt idx="7">
                  <c:v>0</c:v>
                </c:pt>
                <c:pt idx="8">
                  <c:v>0.1</c:v>
                </c:pt>
                <c:pt idx="9">
                  <c:v>0</c:v>
                </c:pt>
                <c:pt idx="10">
                  <c:v>0</c:v>
                </c:pt>
                <c:pt idx="11">
                  <c:v>0</c:v>
                </c:pt>
                <c:pt idx="12">
                  <c:v>0</c:v>
                </c:pt>
                <c:pt idx="13">
                  <c:v>0</c:v>
                </c:pt>
                <c:pt idx="14">
                  <c:v>0</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9.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2.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9.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6FE8-4B9D-883D-8BBF62CADEFC}"/>
                </c:ext>
              </c:extLst>
            </c:dLbl>
            <c:dLbl>
              <c:idx val="5"/>
              <c:tx>
                <c:rich>
                  <a:bodyPr/>
                  <a:lstStyle/>
                  <a:p>
                    <a:r>
                      <a:t>37.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6FE8-4B9D-883D-8BBF62CADEFC}"/>
                </c:ext>
              </c:extLst>
            </c:dLbl>
            <c:dLbl>
              <c:idx val="6"/>
              <c:tx>
                <c:rich>
                  <a:bodyPr/>
                  <a:lstStyle/>
                  <a:p>
                    <a:r>
                      <a:t>40.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6FE8-4B9D-883D-8BBF62CADEFC}"/>
                </c:ext>
              </c:extLst>
            </c:dLbl>
            <c:dLbl>
              <c:idx val="7"/>
              <c:tx>
                <c:rich>
                  <a:bodyPr/>
                  <a:lstStyle/>
                  <a:p>
                    <a:r>
                      <a:t>43.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6FE8-4B9D-883D-8BBF62CADEFC}"/>
                </c:ext>
              </c:extLst>
            </c:dLbl>
            <c:dLbl>
              <c:idx val="8"/>
              <c:tx>
                <c:rich>
                  <a:bodyPr/>
                  <a:lstStyle/>
                  <a:p>
                    <a:r>
                      <a:t>189.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6FE8-4B9D-883D-8BBF62CADEF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6FE8-4B9D-883D-8BBF62CADEFC}"/>
                </c:ext>
              </c:extLst>
            </c:dLbl>
            <c:dLbl>
              <c:idx val="10"/>
              <c:tx>
                <c:rich>
                  <a:bodyPr/>
                  <a:lstStyle/>
                  <a:p>
                    <a:r>
                      <a:t>43.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6FE8-4B9D-883D-8BBF62CADEFC}"/>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6FE8-4B9D-883D-8BBF62CADEFC}"/>
                </c:ext>
              </c:extLst>
            </c:dLbl>
            <c:dLbl>
              <c:idx val="12"/>
              <c:tx>
                <c:rich>
                  <a:bodyPr/>
                  <a:lstStyle/>
                  <a:p>
                    <a:r>
                      <a:t>11.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6FE8-4B9D-883D-8BBF62CADEFC}"/>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6FE8-4B9D-883D-8BBF62CADEFC}"/>
                </c:ext>
              </c:extLst>
            </c:dLbl>
            <c:dLbl>
              <c:idx val="14"/>
              <c:tx>
                <c:rich>
                  <a:bodyPr/>
                  <a:lstStyle/>
                  <a:p>
                    <a:r>
                      <a:t>14.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6FE8-4B9D-883D-8BBF62CADEFC}"/>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6FE8-4B9D-883D-8BBF62CADEF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49.7729</c:v>
                </c:pt>
                <c:pt idx="1">
                  <c:v>29.226299999999998</c:v>
                </c:pt>
                <c:pt idx="2">
                  <c:v>92.624799999999993</c:v>
                </c:pt>
                <c:pt idx="3">
                  <c:v>53.447000000000003</c:v>
                </c:pt>
                <c:pt idx="4">
                  <c:v>69.882499999999993</c:v>
                </c:pt>
                <c:pt idx="5">
                  <c:v>37.238300000000002</c:v>
                </c:pt>
                <c:pt idx="6">
                  <c:v>40.115699999999997</c:v>
                </c:pt>
                <c:pt idx="7">
                  <c:v>43.537300000000002</c:v>
                </c:pt>
                <c:pt idx="8">
                  <c:v>189.125</c:v>
                </c:pt>
                <c:pt idx="9">
                  <c:v>0</c:v>
                </c:pt>
                <c:pt idx="10">
                  <c:v>43.936999999999998</c:v>
                </c:pt>
                <c:pt idx="11">
                  <c:v>0</c:v>
                </c:pt>
                <c:pt idx="12">
                  <c:v>11.468</c:v>
                </c:pt>
                <c:pt idx="13">
                  <c:v>0</c:v>
                </c:pt>
                <c:pt idx="14">
                  <c:v>14.828900000000001</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DB49-4C1A-AA9B-DE91EDDFEAD0}"/>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Crus</c:v>
                  </c:pt>
                  <c:pt idx="10">
                    <c:v>Extra Brut</c:v>
                  </c:pt>
                  <c:pt idx="12">
                    <c:v>Mousseux Alsace</c:v>
                  </c:pt>
                </c:lvl>
                <c:lvl>
                  <c:pt idx="0">
                    <c:v>Champagnes</c:v>
                  </c:pt>
                  <c:pt idx="12">
                    <c:v>Mousseux</c:v>
                  </c:pt>
                </c:lvl>
              </c:multiLvlStrCache>
            </c:multiLvlStrRef>
          </c:cat>
          <c:val>
            <c:numRef>
              <c:f>Sheet1!$D$2:$D$15</c:f>
              <c:numCache>
                <c:formatCode>General</c:formatCode>
                <c:ptCount val="14"/>
                <c:pt idx="0">
                  <c:v>1</c:v>
                </c:pt>
                <c:pt idx="1">
                  <c:v>0.1</c:v>
                </c:pt>
                <c:pt idx="2">
                  <c:v>0.2</c:v>
                </c:pt>
                <c:pt idx="3">
                  <c:v>0</c:v>
                </c:pt>
                <c:pt idx="4">
                  <c:v>0.1</c:v>
                </c:pt>
                <c:pt idx="5">
                  <c:v>0</c:v>
                </c:pt>
                <c:pt idx="6">
                  <c:v>0.1</c:v>
                </c:pt>
                <c:pt idx="7">
                  <c:v>0</c:v>
                </c:pt>
                <c:pt idx="8">
                  <c:v>0.1</c:v>
                </c:pt>
                <c:pt idx="9">
                  <c:v>0</c:v>
                </c:pt>
                <c:pt idx="10">
                  <c:v>0</c:v>
                </c:pt>
                <c:pt idx="11">
                  <c:v>0</c:v>
                </c:pt>
                <c:pt idx="12">
                  <c:v>0.2</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64.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4.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DB49-4C1A-AA9B-DE91EDDFEAD0}"/>
                </c:ext>
              </c:extLst>
            </c:dLbl>
            <c:dLbl>
              <c:idx val="5"/>
              <c:tx>
                <c:rich>
                  <a:bodyPr/>
                  <a:lstStyle/>
                  <a:p>
                    <a:r>
                      <a:t>35.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DB49-4C1A-AA9B-DE91EDDFEAD0}"/>
                </c:ext>
              </c:extLst>
            </c:dLbl>
            <c:dLbl>
              <c:idx val="6"/>
              <c:tx>
                <c:rich>
                  <a:bodyPr/>
                  <a:lstStyle/>
                  <a:p>
                    <a:r>
                      <a:t>144.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DB49-4C1A-AA9B-DE91EDDFEAD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DB49-4C1A-AA9B-DE91EDDFEAD0}"/>
                </c:ext>
              </c:extLst>
            </c:dLbl>
            <c:dLbl>
              <c:idx val="8"/>
              <c:tx>
                <c:rich>
                  <a:bodyPr/>
                  <a:lstStyle/>
                  <a:p>
                    <a:r>
                      <a:t>3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DB49-4C1A-AA9B-DE91EDDFEAD0}"/>
                </c:ext>
              </c:extLst>
            </c:dLbl>
            <c:dLbl>
              <c:idx val="9"/>
              <c:tx>
                <c:rich>
                  <a:bodyPr/>
                  <a:lstStyle/>
                  <a:p>
                    <a:r>
                      <a:t>43.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DB49-4C1A-AA9B-DE91EDDFEAD0}"/>
                </c:ext>
              </c:extLst>
            </c:dLbl>
            <c:dLbl>
              <c:idx val="10"/>
              <c:tx>
                <c:rich>
                  <a:bodyPr/>
                  <a:lstStyle/>
                  <a:p>
                    <a:r>
                      <a:t>43.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DB49-4C1A-AA9B-DE91EDDFEAD0}"/>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DB49-4C1A-AA9B-DE91EDDFEAD0}"/>
                </c:ext>
              </c:extLst>
            </c:dLbl>
            <c:dLbl>
              <c:idx val="12"/>
              <c:tx>
                <c:rich>
                  <a:bodyPr/>
                  <a:lstStyle/>
                  <a:p>
                    <a:r>
                      <a:t>1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DB49-4C1A-AA9B-DE91EDDFEAD0}"/>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DB49-4C1A-AA9B-DE91EDDFEAD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lvl>
                <c:lvl>
                  <c:pt idx="0">
                    <c:v>Bruts</c:v>
                  </c:pt>
                  <c:pt idx="2">
                    <c:v>Blanc De Blancs</c:v>
                  </c:pt>
                  <c:pt idx="4">
                    <c:v>Rosés</c:v>
                  </c:pt>
                  <c:pt idx="6">
                    <c:v>Millesimes</c:v>
                  </c:pt>
                  <c:pt idx="8">
                    <c:v>Crus</c:v>
                  </c:pt>
                  <c:pt idx="10">
                    <c:v>Extra Brut</c:v>
                  </c:pt>
                  <c:pt idx="12">
                    <c:v>Mousseux Alsace</c:v>
                  </c:pt>
                </c:lvl>
                <c:lvl>
                  <c:pt idx="0">
                    <c:v>Champagnes</c:v>
                  </c:pt>
                  <c:pt idx="12">
                    <c:v>Mousseux</c:v>
                  </c:pt>
                </c:lvl>
              </c:multiLvlStrCache>
            </c:multiLvlStrRef>
          </c:cat>
          <c:val>
            <c:numRef>
              <c:f>Sheet1!$E$2:$E$15</c:f>
              <c:numCache>
                <c:formatCode>General</c:formatCode>
                <c:ptCount val="14"/>
                <c:pt idx="0">
                  <c:v>49.9983</c:v>
                </c:pt>
                <c:pt idx="1">
                  <c:v>28.638400000000001</c:v>
                </c:pt>
                <c:pt idx="2">
                  <c:v>64.121099999999998</c:v>
                </c:pt>
                <c:pt idx="3">
                  <c:v>54.355899999999998</c:v>
                </c:pt>
                <c:pt idx="4">
                  <c:v>64.334999999999994</c:v>
                </c:pt>
                <c:pt idx="5">
                  <c:v>35.692599999999999</c:v>
                </c:pt>
                <c:pt idx="6">
                  <c:v>144.41679999999999</c:v>
                </c:pt>
                <c:pt idx="7">
                  <c:v>0</c:v>
                </c:pt>
                <c:pt idx="8">
                  <c:v>39.542400000000001</c:v>
                </c:pt>
                <c:pt idx="9">
                  <c:v>43.166699999999999</c:v>
                </c:pt>
                <c:pt idx="10">
                  <c:v>43.752200000000002</c:v>
                </c:pt>
                <c:pt idx="11">
                  <c:v>0</c:v>
                </c:pt>
                <c:pt idx="12">
                  <c:v>16.241700000000002</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ADCE7D5-F9B7-4C9B-82EA-D6D526F62D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905DE7F-CC59-4A32-8EB9-7E40D85FE6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A0D690D-FFB7-4D64-B6A9-6D35597038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B3FBF68-3C6F-4480-AFB5-44DAF8C999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C385633-0577-4BAE-A8CE-2A7C15D47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866A2F1-7A92-42CD-A66C-F8680D644A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81ABEB4-1B8E-4B50-A919-AC7C3D75C7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27B9653-D1B0-4258-9E5B-C8C6900344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54000000000004</c:v>
                </c:pt>
                <c:pt idx="1">
                  <c:v>6.3410000000000002</c:v>
                </c:pt>
                <c:pt idx="2">
                  <c:v>7.1822999999999997</c:v>
                </c:pt>
                <c:pt idx="3">
                  <c:v>7.6665999999999999</c:v>
                </c:pt>
                <c:pt idx="4">
                  <c:v>7.1292999999999997</c:v>
                </c:pt>
                <c:pt idx="5">
                  <c:v>5.9306000000000001</c:v>
                </c:pt>
                <c:pt idx="6">
                  <c:v>6.8876999999999997</c:v>
                </c:pt>
                <c:pt idx="7">
                  <c:v>6.9467999999999996</c:v>
                </c:pt>
              </c:numCache>
            </c:numRef>
          </c:xVal>
          <c:yVal>
            <c:numRef>
              <c:f>Sheet1!$B$2:$B$9</c:f>
              <c:numCache>
                <c:formatCode>General</c:formatCode>
                <c:ptCount val="8"/>
                <c:pt idx="0">
                  <c:v>0.96499999999999997</c:v>
                </c:pt>
                <c:pt idx="1">
                  <c:v>1.153</c:v>
                </c:pt>
                <c:pt idx="2">
                  <c:v>1.0580000000000001</c:v>
                </c:pt>
                <c:pt idx="3">
                  <c:v>1.3049999999999999</c:v>
                </c:pt>
                <c:pt idx="4">
                  <c:v>0.96299999999999997</c:v>
                </c:pt>
                <c:pt idx="5">
                  <c:v>0.37</c:v>
                </c:pt>
                <c:pt idx="6">
                  <c:v>0.89300000000000002</c:v>
                </c:pt>
                <c:pt idx="7">
                  <c:v>0.93400000000000005</c:v>
                </c:pt>
              </c:numCache>
            </c:numRef>
          </c:yVal>
          <c:bubbleSize>
            <c:numRef>
              <c:f>Sheet1!$C$2:$C$9</c:f>
              <c:numCache>
                <c:formatCode>General</c:formatCode>
                <c:ptCount val="8"/>
                <c:pt idx="0">
                  <c:v>32603771</c:v>
                </c:pt>
                <c:pt idx="1">
                  <c:v>28541428</c:v>
                </c:pt>
                <c:pt idx="2">
                  <c:v>16692146</c:v>
                </c:pt>
                <c:pt idx="3">
                  <c:v>2899640</c:v>
                </c:pt>
                <c:pt idx="4">
                  <c:v>2432770</c:v>
                </c:pt>
                <c:pt idx="5">
                  <c:v>1442399</c:v>
                </c:pt>
                <c:pt idx="6">
                  <c:v>1348354</c:v>
                </c:pt>
                <c:pt idx="7">
                  <c:v>1286705</c:v>
                </c:pt>
              </c:numCache>
            </c:numRef>
          </c:bubbleSize>
          <c:bubble3D val="0"/>
          <c:extLst>
            <c:ext xmlns:c15="http://schemas.microsoft.com/office/drawing/2012/chart" uri="{02D57815-91ED-43cb-92C2-25804820EDAC}">
              <c15:datalabelsRange>
                <c15:f>Sheet1!$E$2:$E$10</c15:f>
                <c15:dlblRangeCache>
                  <c:ptCount val="9"/>
                  <c:pt idx="0">
                    <c:v>Wolfberger</c:v>
                  </c:pt>
                  <c:pt idx="1">
                    <c:v>Mdd</c:v>
                  </c:pt>
                  <c:pt idx="2">
                    <c:v>Arthur Metz</c:v>
                  </c:pt>
                  <c:pt idx="3">
                    <c:v>Bestheim</c:v>
                  </c:pt>
                  <c:pt idx="4">
                    <c:v>Cave Beblenheim</c:v>
                  </c:pt>
                  <c:pt idx="5">
                    <c:v>Les Quinze Arpents</c:v>
                  </c:pt>
                  <c:pt idx="6">
                    <c:v>Geiler Jean</c:v>
                  </c:pt>
                  <c:pt idx="7">
                    <c:v>Dopff</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2E12-4C1E-B9A5-46EC9A2CEA37}"/>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11.8</c:v>
                </c:pt>
                <c:pt idx="1">
                  <c:v>1.2</c:v>
                </c:pt>
                <c:pt idx="2">
                  <c:v>2.8</c:v>
                </c:pt>
                <c:pt idx="3">
                  <c:v>0.1</c:v>
                </c:pt>
                <c:pt idx="4">
                  <c:v>1.5</c:v>
                </c:pt>
                <c:pt idx="5">
                  <c:v>0.1</c:v>
                </c:pt>
                <c:pt idx="6">
                  <c:v>1</c:v>
                </c:pt>
                <c:pt idx="7">
                  <c:v>0</c:v>
                </c:pt>
                <c:pt idx="8">
                  <c:v>0.8</c:v>
                </c:pt>
                <c:pt idx="9">
                  <c:v>0</c:v>
                </c:pt>
                <c:pt idx="10">
                  <c:v>0.7</c:v>
                </c:pt>
                <c:pt idx="11">
                  <c:v>0</c:v>
                </c:pt>
                <c:pt idx="12">
                  <c:v>0.5</c:v>
                </c:pt>
                <c:pt idx="13">
                  <c:v>0</c:v>
                </c:pt>
                <c:pt idx="14">
                  <c:v>0.2</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E12-4C1E-B9A5-46EC9A2CEA37}"/>
                </c:ext>
              </c:extLst>
            </c:dLbl>
            <c:dLbl>
              <c:idx val="5"/>
              <c:tx>
                <c:rich>
                  <a:bodyPr/>
                  <a:lstStyle/>
                  <a:p>
                    <a:r>
                      <a:t>37.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E12-4C1E-B9A5-46EC9A2CEA37}"/>
                </c:ext>
              </c:extLst>
            </c:dLbl>
            <c:dLbl>
              <c:idx val="6"/>
              <c:tx>
                <c:rich>
                  <a:bodyPr/>
                  <a:lstStyle/>
                  <a:p>
                    <a:r>
                      <a:t>208.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E12-4C1E-B9A5-46EC9A2CEA3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E12-4C1E-B9A5-46EC9A2CEA37}"/>
                </c:ext>
              </c:extLst>
            </c:dLbl>
            <c:dLbl>
              <c:idx val="8"/>
              <c:tx>
                <c:rich>
                  <a:bodyPr/>
                  <a:lstStyle/>
                  <a:p>
                    <a:r>
                      <a:t>3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E12-4C1E-B9A5-46EC9A2CEA37}"/>
                </c:ext>
              </c:extLst>
            </c:dLbl>
            <c:dLbl>
              <c:idx val="9"/>
              <c:tx>
                <c:rich>
                  <a:bodyPr/>
                  <a:lstStyle/>
                  <a:p>
                    <a:r>
                      <a:t>43.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E12-4C1E-B9A5-46EC9A2CEA37}"/>
                </c:ext>
              </c:extLst>
            </c:dLbl>
            <c:dLbl>
              <c:idx val="10"/>
              <c:tx>
                <c:rich>
                  <a:bodyPr/>
                  <a:lstStyle/>
                  <a:p>
                    <a:r>
                      <a:t>44.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E12-4C1E-B9A5-46EC9A2CEA37}"/>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E12-4C1E-B9A5-46EC9A2CEA37}"/>
                </c:ext>
              </c:extLst>
            </c:dLbl>
            <c:dLbl>
              <c:idx val="12"/>
              <c:tx>
                <c:rich>
                  <a:bodyPr/>
                  <a:lstStyle/>
                  <a:p>
                    <a:r>
                      <a:t>1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E12-4C1E-B9A5-46EC9A2CEA37}"/>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E12-4C1E-B9A5-46EC9A2CEA37}"/>
                </c:ext>
              </c:extLst>
            </c:dLbl>
            <c:dLbl>
              <c:idx val="14"/>
              <c:tx>
                <c:rich>
                  <a:bodyPr/>
                  <a:lstStyle/>
                  <a:p>
                    <a:r>
                      <a:t>15.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E12-4C1E-B9A5-46EC9A2CEA37}"/>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E12-4C1E-B9A5-46EC9A2CEA3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3.777200000000001</c:v>
                </c:pt>
                <c:pt idx="1">
                  <c:v>29.4495</c:v>
                </c:pt>
                <c:pt idx="2">
                  <c:v>103.51739999999999</c:v>
                </c:pt>
                <c:pt idx="3">
                  <c:v>53.3187</c:v>
                </c:pt>
                <c:pt idx="4">
                  <c:v>86.603999999999999</c:v>
                </c:pt>
                <c:pt idx="5">
                  <c:v>37.9148</c:v>
                </c:pt>
                <c:pt idx="6">
                  <c:v>208.25470000000001</c:v>
                </c:pt>
                <c:pt idx="7">
                  <c:v>0</c:v>
                </c:pt>
                <c:pt idx="8">
                  <c:v>39.921300000000002</c:v>
                </c:pt>
                <c:pt idx="9">
                  <c:v>43.948900000000002</c:v>
                </c:pt>
                <c:pt idx="10">
                  <c:v>44.706400000000002</c:v>
                </c:pt>
                <c:pt idx="11">
                  <c:v>0</c:v>
                </c:pt>
                <c:pt idx="12">
                  <c:v>12.002800000000001</c:v>
                </c:pt>
                <c:pt idx="13">
                  <c:v>0</c:v>
                </c:pt>
                <c:pt idx="14">
                  <c:v>15.8344</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5348-4556-BE39-D7791C5F1D22}"/>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D$2:$D$19</c:f>
              <c:numCache>
                <c:formatCode>General</c:formatCode>
                <c:ptCount val="18"/>
                <c:pt idx="0">
                  <c:v>6.2</c:v>
                </c:pt>
                <c:pt idx="1">
                  <c:v>0.7</c:v>
                </c:pt>
                <c:pt idx="2">
                  <c:v>1</c:v>
                </c:pt>
                <c:pt idx="3">
                  <c:v>0.1</c:v>
                </c:pt>
                <c:pt idx="4">
                  <c:v>0.6</c:v>
                </c:pt>
                <c:pt idx="5">
                  <c:v>0.1</c:v>
                </c:pt>
                <c:pt idx="6">
                  <c:v>0.4</c:v>
                </c:pt>
                <c:pt idx="7">
                  <c:v>0</c:v>
                </c:pt>
                <c:pt idx="8">
                  <c:v>0.3</c:v>
                </c:pt>
                <c:pt idx="9">
                  <c:v>0</c:v>
                </c:pt>
                <c:pt idx="10">
                  <c:v>0.3</c:v>
                </c:pt>
                <c:pt idx="11">
                  <c:v>0</c:v>
                </c:pt>
                <c:pt idx="12">
                  <c:v>0.2</c:v>
                </c:pt>
                <c:pt idx="13">
                  <c:v>0</c:v>
                </c:pt>
                <c:pt idx="14">
                  <c:v>0.2</c:v>
                </c:pt>
                <c:pt idx="15">
                  <c:v>0</c:v>
                </c:pt>
                <c:pt idx="16">
                  <c:v>0.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5348-4556-BE39-D7791C5F1D22}"/>
                </c:ext>
              </c:extLst>
            </c:dLbl>
            <c:dLbl>
              <c:idx val="5"/>
              <c:tx>
                <c:rich>
                  <a:bodyPr/>
                  <a:lstStyle/>
                  <a:p>
                    <a:r>
                      <a:t>38.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5348-4556-BE39-D7791C5F1D22}"/>
                </c:ext>
              </c:extLst>
            </c:dLbl>
            <c:dLbl>
              <c:idx val="6"/>
              <c:tx>
                <c:rich>
                  <a:bodyPr/>
                  <a:lstStyle/>
                  <a:p>
                    <a:r>
                      <a:t>4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5348-4556-BE39-D7791C5F1D22}"/>
                </c:ext>
              </c:extLst>
            </c:dLbl>
            <c:dLbl>
              <c:idx val="7"/>
              <c:tx>
                <c:rich>
                  <a:bodyPr/>
                  <a:lstStyle/>
                  <a:p>
                    <a:r>
                      <a:t>4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5348-4556-BE39-D7791C5F1D22}"/>
                </c:ext>
              </c:extLst>
            </c:dLbl>
            <c:dLbl>
              <c:idx val="8"/>
              <c:tx>
                <c:rich>
                  <a:bodyPr/>
                  <a:lstStyle/>
                  <a:p>
                    <a:r>
                      <a:t>4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5348-4556-BE39-D7791C5F1D2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5348-4556-BE39-D7791C5F1D22}"/>
                </c:ext>
              </c:extLst>
            </c:dLbl>
            <c:dLbl>
              <c:idx val="10"/>
              <c:tx>
                <c:rich>
                  <a:bodyPr/>
                  <a:lstStyle/>
                  <a:p>
                    <a:r>
                      <a:t>17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5348-4556-BE39-D7791C5F1D22}"/>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5348-4556-BE39-D7791C5F1D22}"/>
                </c:ext>
              </c:extLst>
            </c:dLbl>
            <c:dLbl>
              <c:idx val="12"/>
              <c:tx>
                <c:rich>
                  <a:bodyPr/>
                  <a:lstStyle/>
                  <a:p>
                    <a:r>
                      <a:t>1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5348-4556-BE39-D7791C5F1D22}"/>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5348-4556-BE39-D7791C5F1D22}"/>
                </c:ext>
              </c:extLst>
            </c:dLbl>
            <c:dLbl>
              <c:idx val="14"/>
              <c:tx>
                <c:rich>
                  <a:bodyPr/>
                  <a:lstStyle/>
                  <a:p>
                    <a:r>
                      <a:t>15.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5348-4556-BE39-D7791C5F1D22}"/>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5348-4556-BE39-D7791C5F1D22}"/>
                </c:ext>
              </c:extLst>
            </c:dLbl>
            <c:dLbl>
              <c:idx val="16"/>
              <c:tx>
                <c:rich>
                  <a:bodyPr/>
                  <a:lstStyle/>
                  <a:p>
                    <a:r>
                      <a:t>19.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5348-4556-BE39-D7791C5F1D22}"/>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5348-4556-BE39-D7791C5F1D2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E$2:$E$19</c:f>
              <c:numCache>
                <c:formatCode>General</c:formatCode>
                <c:ptCount val="18"/>
                <c:pt idx="0">
                  <c:v>52.288400000000003</c:v>
                </c:pt>
                <c:pt idx="1">
                  <c:v>29.443300000000001</c:v>
                </c:pt>
                <c:pt idx="2">
                  <c:v>96.4328</c:v>
                </c:pt>
                <c:pt idx="3">
                  <c:v>53.074300000000001</c:v>
                </c:pt>
                <c:pt idx="4">
                  <c:v>71.403099999999995</c:v>
                </c:pt>
                <c:pt idx="5">
                  <c:v>38.486699999999999</c:v>
                </c:pt>
                <c:pt idx="6">
                  <c:v>40.002000000000002</c:v>
                </c:pt>
                <c:pt idx="7">
                  <c:v>43.6907</c:v>
                </c:pt>
                <c:pt idx="8">
                  <c:v>44.6783</c:v>
                </c:pt>
                <c:pt idx="9">
                  <c:v>0</c:v>
                </c:pt>
                <c:pt idx="10">
                  <c:v>172.92179999999999</c:v>
                </c:pt>
                <c:pt idx="11">
                  <c:v>0</c:v>
                </c:pt>
                <c:pt idx="12">
                  <c:v>11.8932</c:v>
                </c:pt>
                <c:pt idx="13">
                  <c:v>0</c:v>
                </c:pt>
                <c:pt idx="14">
                  <c:v>15.3527</c:v>
                </c:pt>
                <c:pt idx="15">
                  <c:v>0</c:v>
                </c:pt>
                <c:pt idx="16">
                  <c:v>19.110700000000001</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232D-4E02-B8F6-FB7BD0586488}"/>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9.4</c:v>
                </c:pt>
                <c:pt idx="1">
                  <c:v>1.1000000000000001</c:v>
                </c:pt>
                <c:pt idx="2">
                  <c:v>1.7</c:v>
                </c:pt>
                <c:pt idx="3">
                  <c:v>0.1</c:v>
                </c:pt>
                <c:pt idx="4">
                  <c:v>0.9</c:v>
                </c:pt>
                <c:pt idx="5">
                  <c:v>0.1</c:v>
                </c:pt>
                <c:pt idx="6">
                  <c:v>0.6</c:v>
                </c:pt>
                <c:pt idx="7">
                  <c:v>0</c:v>
                </c:pt>
                <c:pt idx="8">
                  <c:v>0.5</c:v>
                </c:pt>
                <c:pt idx="9">
                  <c:v>0</c:v>
                </c:pt>
                <c:pt idx="10">
                  <c:v>0.5</c:v>
                </c:pt>
                <c:pt idx="11">
                  <c:v>0</c:v>
                </c:pt>
                <c:pt idx="12">
                  <c:v>0.4</c:v>
                </c:pt>
                <c:pt idx="13">
                  <c:v>0</c:v>
                </c:pt>
                <c:pt idx="14">
                  <c:v>0.3</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32D-4E02-B8F6-FB7BD0586488}"/>
                </c:ext>
              </c:extLst>
            </c:dLbl>
            <c:dLbl>
              <c:idx val="5"/>
              <c:tx>
                <c:rich>
                  <a:bodyPr/>
                  <a:lstStyle/>
                  <a:p>
                    <a:r>
                      <a:t>3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32D-4E02-B8F6-FB7BD0586488}"/>
                </c:ext>
              </c:extLst>
            </c:dLbl>
            <c:dLbl>
              <c:idx val="6"/>
              <c:tx>
                <c:rich>
                  <a:bodyPr/>
                  <a:lstStyle/>
                  <a:p>
                    <a:r>
                      <a:t>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32D-4E02-B8F6-FB7BD0586488}"/>
                </c:ext>
              </c:extLst>
            </c:dLbl>
            <c:dLbl>
              <c:idx val="7"/>
              <c:tx>
                <c:rich>
                  <a:bodyPr/>
                  <a:lstStyle/>
                  <a:p>
                    <a:r>
                      <a:t>4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32D-4E02-B8F6-FB7BD0586488}"/>
                </c:ext>
              </c:extLst>
            </c:dLbl>
            <c:dLbl>
              <c:idx val="8"/>
              <c:tx>
                <c:rich>
                  <a:bodyPr/>
                  <a:lstStyle/>
                  <a:p>
                    <a:r>
                      <a:t>4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32D-4E02-B8F6-FB7BD0586488}"/>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32D-4E02-B8F6-FB7BD0586488}"/>
                </c:ext>
              </c:extLst>
            </c:dLbl>
            <c:dLbl>
              <c:idx val="10"/>
              <c:tx>
                <c:rich>
                  <a:bodyPr/>
                  <a:lstStyle/>
                  <a:p>
                    <a:r>
                      <a:t>181.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32D-4E02-B8F6-FB7BD0586488}"/>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32D-4E02-B8F6-FB7BD0586488}"/>
                </c:ext>
              </c:extLst>
            </c:dLbl>
            <c:dLbl>
              <c:idx val="1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32D-4E02-B8F6-FB7BD0586488}"/>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32D-4E02-B8F6-FB7BD0586488}"/>
                </c:ext>
              </c:extLst>
            </c:dLbl>
            <c:dLbl>
              <c:idx val="14"/>
              <c:tx>
                <c:rich>
                  <a:bodyPr/>
                  <a:lstStyle/>
                  <a:p>
                    <a:r>
                      <a:t>1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32D-4E02-B8F6-FB7BD0586488}"/>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32D-4E02-B8F6-FB7BD058648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1.913600000000002</c:v>
                </c:pt>
                <c:pt idx="1">
                  <c:v>29.5412</c:v>
                </c:pt>
                <c:pt idx="2">
                  <c:v>95.071700000000007</c:v>
                </c:pt>
                <c:pt idx="3">
                  <c:v>53.9056</c:v>
                </c:pt>
                <c:pt idx="4">
                  <c:v>71.443700000000007</c:v>
                </c:pt>
                <c:pt idx="5">
                  <c:v>38.719799999999999</c:v>
                </c:pt>
                <c:pt idx="6">
                  <c:v>39.950000000000003</c:v>
                </c:pt>
                <c:pt idx="7">
                  <c:v>43.762900000000002</c:v>
                </c:pt>
                <c:pt idx="8">
                  <c:v>44.064500000000002</c:v>
                </c:pt>
                <c:pt idx="9">
                  <c:v>0</c:v>
                </c:pt>
                <c:pt idx="10">
                  <c:v>181.48410000000001</c:v>
                </c:pt>
                <c:pt idx="11">
                  <c:v>0</c:v>
                </c:pt>
                <c:pt idx="12">
                  <c:v>12.017200000000001</c:v>
                </c:pt>
                <c:pt idx="13">
                  <c:v>0</c:v>
                </c:pt>
                <c:pt idx="14">
                  <c:v>15.5825</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0BB7-41A3-8560-CFC34FE136BA}"/>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Bourgogne</c:v>
                  </c:pt>
                </c:lvl>
                <c:lvl>
                  <c:pt idx="0">
                    <c:v>Champagnes</c:v>
                  </c:pt>
                  <c:pt idx="12">
                    <c:v>Mousseux</c:v>
                  </c:pt>
                </c:lvl>
              </c:multiLvlStrCache>
            </c:multiLvlStrRef>
          </c:cat>
          <c:val>
            <c:numRef>
              <c:f>Sheet1!$D$2:$D$19</c:f>
              <c:numCache>
                <c:formatCode>General</c:formatCode>
                <c:ptCount val="18"/>
                <c:pt idx="0">
                  <c:v>7.6</c:v>
                </c:pt>
                <c:pt idx="1">
                  <c:v>0.8</c:v>
                </c:pt>
                <c:pt idx="2">
                  <c:v>1.4</c:v>
                </c:pt>
                <c:pt idx="3">
                  <c:v>0.1</c:v>
                </c:pt>
                <c:pt idx="4">
                  <c:v>0.7</c:v>
                </c:pt>
                <c:pt idx="5">
                  <c:v>0.1</c:v>
                </c:pt>
                <c:pt idx="6">
                  <c:v>0.6</c:v>
                </c:pt>
                <c:pt idx="7">
                  <c:v>0</c:v>
                </c:pt>
                <c:pt idx="8">
                  <c:v>0.4</c:v>
                </c:pt>
                <c:pt idx="9">
                  <c:v>0</c:v>
                </c:pt>
                <c:pt idx="10">
                  <c:v>0.4</c:v>
                </c:pt>
                <c:pt idx="11">
                  <c:v>0</c:v>
                </c:pt>
                <c:pt idx="12">
                  <c:v>0.3</c:v>
                </c:pt>
                <c:pt idx="13">
                  <c:v>0</c:v>
                </c:pt>
                <c:pt idx="14">
                  <c:v>0.2</c:v>
                </c:pt>
                <c:pt idx="15">
                  <c:v>0</c:v>
                </c:pt>
                <c:pt idx="16">
                  <c:v>0.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0.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0BB7-41A3-8560-CFC34FE136BA}"/>
                </c:ext>
              </c:extLst>
            </c:dLbl>
            <c:dLbl>
              <c:idx val="5"/>
              <c:tx>
                <c:rich>
                  <a:bodyPr/>
                  <a:lstStyle/>
                  <a:p>
                    <a:r>
                      <a:t>3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0BB7-41A3-8560-CFC34FE136BA}"/>
                </c:ext>
              </c:extLst>
            </c:dLbl>
            <c:dLbl>
              <c:idx val="6"/>
              <c:tx>
                <c:rich>
                  <a:bodyPr/>
                  <a:lstStyle/>
                  <a:p>
                    <a:r>
                      <a:t>40.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0BB7-41A3-8560-CFC34FE136BA}"/>
                </c:ext>
              </c:extLst>
            </c:dLbl>
            <c:dLbl>
              <c:idx val="7"/>
              <c:tx>
                <c:rich>
                  <a:bodyPr/>
                  <a:lstStyle/>
                  <a:p>
                    <a:r>
                      <a:t>4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0BB7-41A3-8560-CFC34FE136BA}"/>
                </c:ext>
              </c:extLst>
            </c:dLbl>
            <c:dLbl>
              <c:idx val="8"/>
              <c:tx>
                <c:rich>
                  <a:bodyPr/>
                  <a:lstStyle/>
                  <a:p>
                    <a:r>
                      <a:t>4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0BB7-41A3-8560-CFC34FE136B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0BB7-41A3-8560-CFC34FE136BA}"/>
                </c:ext>
              </c:extLst>
            </c:dLbl>
            <c:dLbl>
              <c:idx val="10"/>
              <c:tx>
                <c:rich>
                  <a:bodyPr/>
                  <a:lstStyle/>
                  <a:p>
                    <a:r>
                      <a:t>16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0BB7-41A3-8560-CFC34FE136BA}"/>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0BB7-41A3-8560-CFC34FE136BA}"/>
                </c:ext>
              </c:extLst>
            </c:dLbl>
            <c:dLbl>
              <c:idx val="12"/>
              <c:tx>
                <c:rich>
                  <a:bodyPr/>
                  <a:lstStyle/>
                  <a:p>
                    <a:r>
                      <a:t>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0BB7-41A3-8560-CFC34FE136BA}"/>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0BB7-41A3-8560-CFC34FE136BA}"/>
                </c:ext>
              </c:extLst>
            </c:dLbl>
            <c:dLbl>
              <c:idx val="14"/>
              <c:tx>
                <c:rich>
                  <a:bodyPr/>
                  <a:lstStyle/>
                  <a:p>
                    <a:r>
                      <a:t>15.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0BB7-41A3-8560-CFC34FE136BA}"/>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0BB7-41A3-8560-CFC34FE136BA}"/>
                </c:ext>
              </c:extLst>
            </c:dLbl>
            <c:dLbl>
              <c:idx val="16"/>
              <c:tx>
                <c:rich>
                  <a:bodyPr/>
                  <a:lstStyle/>
                  <a:p>
                    <a:r>
                      <a:t>17.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0BB7-41A3-8560-CFC34FE136BA}"/>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0BB7-41A3-8560-CFC34FE136B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Bourgogne</c:v>
                  </c:pt>
                </c:lvl>
                <c:lvl>
                  <c:pt idx="0">
                    <c:v>Champagnes</c:v>
                  </c:pt>
                  <c:pt idx="12">
                    <c:v>Mousseux</c:v>
                  </c:pt>
                </c:lvl>
              </c:multiLvlStrCache>
            </c:multiLvlStrRef>
          </c:cat>
          <c:val>
            <c:numRef>
              <c:f>Sheet1!$E$2:$E$19</c:f>
              <c:numCache>
                <c:formatCode>General</c:formatCode>
                <c:ptCount val="18"/>
                <c:pt idx="0">
                  <c:v>52.087000000000003</c:v>
                </c:pt>
                <c:pt idx="1">
                  <c:v>29.7624</c:v>
                </c:pt>
                <c:pt idx="2">
                  <c:v>96.240099999999998</c:v>
                </c:pt>
                <c:pt idx="3">
                  <c:v>53.482700000000001</c:v>
                </c:pt>
                <c:pt idx="4">
                  <c:v>70.820599999999999</c:v>
                </c:pt>
                <c:pt idx="5">
                  <c:v>38.188899999999997</c:v>
                </c:pt>
                <c:pt idx="6">
                  <c:v>40.056399999999996</c:v>
                </c:pt>
                <c:pt idx="7">
                  <c:v>42.754899999999999</c:v>
                </c:pt>
                <c:pt idx="8">
                  <c:v>44.022100000000002</c:v>
                </c:pt>
                <c:pt idx="9">
                  <c:v>0</c:v>
                </c:pt>
                <c:pt idx="10">
                  <c:v>169.0966</c:v>
                </c:pt>
                <c:pt idx="11">
                  <c:v>0</c:v>
                </c:pt>
                <c:pt idx="12">
                  <c:v>11.9002</c:v>
                </c:pt>
                <c:pt idx="13">
                  <c:v>0</c:v>
                </c:pt>
                <c:pt idx="14">
                  <c:v>15.480499999999999</c:v>
                </c:pt>
                <c:pt idx="15">
                  <c:v>0</c:v>
                </c:pt>
                <c:pt idx="16">
                  <c:v>17.416399999999999</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1FC9-41A2-BC95-45ECBA9710CD}"/>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D$2:$D$19</c:f>
              <c:numCache>
                <c:formatCode>General</c:formatCode>
                <c:ptCount val="18"/>
                <c:pt idx="0">
                  <c:v>6.9</c:v>
                </c:pt>
                <c:pt idx="1">
                  <c:v>0.8</c:v>
                </c:pt>
                <c:pt idx="2">
                  <c:v>1.3</c:v>
                </c:pt>
                <c:pt idx="3">
                  <c:v>0.1</c:v>
                </c:pt>
                <c:pt idx="4">
                  <c:v>0.6</c:v>
                </c:pt>
                <c:pt idx="5">
                  <c:v>0.1</c:v>
                </c:pt>
                <c:pt idx="6">
                  <c:v>0.5</c:v>
                </c:pt>
                <c:pt idx="7">
                  <c:v>0</c:v>
                </c:pt>
                <c:pt idx="8">
                  <c:v>0.3</c:v>
                </c:pt>
                <c:pt idx="9">
                  <c:v>0</c:v>
                </c:pt>
                <c:pt idx="10">
                  <c:v>0.3</c:v>
                </c:pt>
                <c:pt idx="11">
                  <c:v>0</c:v>
                </c:pt>
                <c:pt idx="12">
                  <c:v>0.3</c:v>
                </c:pt>
                <c:pt idx="13">
                  <c:v>0</c:v>
                </c:pt>
                <c:pt idx="14">
                  <c:v>0.2</c:v>
                </c:pt>
                <c:pt idx="15">
                  <c:v>0</c:v>
                </c:pt>
                <c:pt idx="16">
                  <c:v>0.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FC9-41A2-BC95-45ECBA9710CD}"/>
                </c:ext>
              </c:extLst>
            </c:dLbl>
            <c:dLbl>
              <c:idx val="5"/>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FC9-41A2-BC95-45ECBA9710CD}"/>
                </c:ext>
              </c:extLst>
            </c:dLbl>
            <c:dLbl>
              <c:idx val="6"/>
              <c:tx>
                <c:rich>
                  <a:bodyPr/>
                  <a:lstStyle/>
                  <a:p>
                    <a:r>
                      <a:t>4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FC9-41A2-BC95-45ECBA9710CD}"/>
                </c:ext>
              </c:extLst>
            </c:dLbl>
            <c:dLbl>
              <c:idx val="7"/>
              <c:tx>
                <c:rich>
                  <a:bodyPr/>
                  <a:lstStyle/>
                  <a:p>
                    <a:r>
                      <a:t>4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FC9-41A2-BC95-45ECBA9710CD}"/>
                </c:ext>
              </c:extLst>
            </c:dLbl>
            <c:dLbl>
              <c:idx val="8"/>
              <c:tx>
                <c:rich>
                  <a:bodyPr/>
                  <a:lstStyle/>
                  <a:p>
                    <a:r>
                      <a:t>44.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FC9-41A2-BC95-45ECBA9710CD}"/>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FC9-41A2-BC95-45ECBA9710CD}"/>
                </c:ext>
              </c:extLst>
            </c:dLbl>
            <c:dLbl>
              <c:idx val="10"/>
              <c:tx>
                <c:rich>
                  <a:bodyPr/>
                  <a:lstStyle/>
                  <a:p>
                    <a:r>
                      <a:t>139.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FC9-41A2-BC95-45ECBA9710CD}"/>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FC9-41A2-BC95-45ECBA9710CD}"/>
                </c:ext>
              </c:extLst>
            </c:dLbl>
            <c:dLbl>
              <c:idx val="12"/>
              <c:tx>
                <c:rich>
                  <a:bodyPr/>
                  <a:lstStyle/>
                  <a:p>
                    <a:r>
                      <a:t>1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FC9-41A2-BC95-45ECBA9710CD}"/>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FC9-41A2-BC95-45ECBA9710CD}"/>
                </c:ext>
              </c:extLst>
            </c:dLbl>
            <c:dLbl>
              <c:idx val="1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FC9-41A2-BC95-45ECBA9710CD}"/>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FC9-41A2-BC95-45ECBA9710CD}"/>
                </c:ext>
              </c:extLst>
            </c:dLbl>
            <c:dLbl>
              <c:idx val="16"/>
              <c:tx>
                <c:rich>
                  <a:bodyPr/>
                  <a:lstStyle/>
                  <a:p>
                    <a:r>
                      <a:t>19.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FC9-41A2-BC95-45ECBA9710CD}"/>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FC9-41A2-BC95-45ECBA9710C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Malard Nicolas</c:v>
                  </c:pt>
                  <c:pt idx="2">
                    <c:v>Total</c:v>
                  </c:pt>
                  <c:pt idx="3">
                    <c:v>Malard Nicolas</c:v>
                  </c:pt>
                  <c:pt idx="4">
                    <c:v>Total</c:v>
                  </c:pt>
                  <c:pt idx="5">
                    <c:v>Malard Nicolas</c:v>
                  </c:pt>
                  <c:pt idx="6">
                    <c:v>Total</c:v>
                  </c:pt>
                  <c:pt idx="7">
                    <c:v>Malard Nicolas</c:v>
                  </c:pt>
                  <c:pt idx="8">
                    <c:v>Total</c:v>
                  </c:pt>
                  <c:pt idx="9">
                    <c:v>Malard Nicolas</c:v>
                  </c:pt>
                  <c:pt idx="10">
                    <c:v>Total</c:v>
                  </c:pt>
                  <c:pt idx="11">
                    <c:v>Malard Nicolas</c:v>
                  </c:pt>
                  <c:pt idx="12">
                    <c:v>Total</c:v>
                  </c:pt>
                  <c:pt idx="13">
                    <c:v>Malard Nicolas</c:v>
                  </c:pt>
                  <c:pt idx="14">
                    <c:v>Total</c:v>
                  </c:pt>
                  <c:pt idx="15">
                    <c:v>Malard Nicolas</c:v>
                  </c:pt>
                  <c:pt idx="16">
                    <c:v>Total</c:v>
                  </c:pt>
                  <c:pt idx="17">
                    <c:v>Malard 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E$2:$E$19</c:f>
              <c:numCache>
                <c:formatCode>General</c:formatCode>
                <c:ptCount val="18"/>
                <c:pt idx="0">
                  <c:v>51.553199999999997</c:v>
                </c:pt>
                <c:pt idx="1">
                  <c:v>29.5824</c:v>
                </c:pt>
                <c:pt idx="2">
                  <c:v>91.7941</c:v>
                </c:pt>
                <c:pt idx="3">
                  <c:v>53.469299999999997</c:v>
                </c:pt>
                <c:pt idx="4">
                  <c:v>69.801000000000002</c:v>
                </c:pt>
                <c:pt idx="5">
                  <c:v>37.558</c:v>
                </c:pt>
                <c:pt idx="6">
                  <c:v>40.034799999999997</c:v>
                </c:pt>
                <c:pt idx="7">
                  <c:v>42.422400000000003</c:v>
                </c:pt>
                <c:pt idx="8">
                  <c:v>44.418100000000003</c:v>
                </c:pt>
                <c:pt idx="9">
                  <c:v>0</c:v>
                </c:pt>
                <c:pt idx="10">
                  <c:v>139.68</c:v>
                </c:pt>
                <c:pt idx="11">
                  <c:v>0</c:v>
                </c:pt>
                <c:pt idx="12">
                  <c:v>11.7942</c:v>
                </c:pt>
                <c:pt idx="13">
                  <c:v>0</c:v>
                </c:pt>
                <c:pt idx="14">
                  <c:v>15.0991</c:v>
                </c:pt>
                <c:pt idx="15">
                  <c:v>0</c:v>
                </c:pt>
                <c:pt idx="16">
                  <c:v>19.282299999999999</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lvl>
                <c:lvl>
                  <c:pt idx="0">
                    <c:v>Bruts</c:v>
                  </c:pt>
                  <c:pt idx="2">
                    <c:v>Rosés</c:v>
                  </c:pt>
                  <c:pt idx="4">
                    <c:v>Mousseux Italiens</c:v>
                  </c:pt>
                  <c:pt idx="6">
                    <c:v>Mousseux Alsace</c:v>
                  </c:pt>
                  <c:pt idx="8">
                    <c:v>Mousseux Val De Loire</c:v>
                  </c:pt>
                  <c:pt idx="10">
                    <c:v>Mousseux Bourgogne</c:v>
                  </c:pt>
                </c:lvl>
                <c:lvl>
                  <c:pt idx="0">
                    <c:v>Champagnes</c:v>
                  </c:pt>
                  <c:pt idx="4">
                    <c:v>Mousseux</c:v>
                  </c:pt>
                </c:lvl>
              </c:multiLvlStrCache>
            </c:multiLvlStrRef>
          </c:cat>
          <c:val>
            <c:numRef>
              <c:f>Sheet1!$D$2:$D$13</c:f>
              <c:numCache>
                <c:formatCode>General</c:formatCode>
                <c:ptCount val="12"/>
                <c:pt idx="0">
                  <c:v>475.5</c:v>
                </c:pt>
                <c:pt idx="1">
                  <c:v>4.5999999999999996</c:v>
                </c:pt>
                <c:pt idx="2">
                  <c:v>43.9</c:v>
                </c:pt>
                <c:pt idx="3">
                  <c:v>0.4</c:v>
                </c:pt>
                <c:pt idx="4">
                  <c:v>131.1</c:v>
                </c:pt>
                <c:pt idx="5">
                  <c:v>0</c:v>
                </c:pt>
                <c:pt idx="6">
                  <c:v>103.8</c:v>
                </c:pt>
                <c:pt idx="7">
                  <c:v>0</c:v>
                </c:pt>
                <c:pt idx="8">
                  <c:v>70.3</c:v>
                </c:pt>
                <c:pt idx="9">
                  <c:v>0</c:v>
                </c:pt>
                <c:pt idx="10">
                  <c:v>41.2</c:v>
                </c:pt>
                <c:pt idx="11">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1.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37.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ED8-4A0A-B514-CFD10DD0D9C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ED8-4A0A-B514-CFD10DD0D9C9}"/>
                </c:ext>
              </c:extLst>
            </c:dLbl>
            <c:dLbl>
              <c:idx val="6"/>
              <c:tx>
                <c:rich>
                  <a:bodyPr/>
                  <a:lstStyle/>
                  <a:p>
                    <a:r>
                      <a:t>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EED8-4A0A-B514-CFD10DD0D9C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EED8-4A0A-B514-CFD10DD0D9C9}"/>
                </c:ext>
              </c:extLst>
            </c:dLbl>
            <c:dLbl>
              <c:idx val="8"/>
              <c:tx>
                <c:rich>
                  <a:bodyPr/>
                  <a:lstStyle/>
                  <a:p>
                    <a:r>
                      <a:t>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EED8-4A0A-B514-CFD10DD0D9C9}"/>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EED8-4A0A-B514-CFD10DD0D9C9}"/>
                </c:ext>
              </c:extLst>
            </c:dLbl>
            <c:dLbl>
              <c:idx val="10"/>
              <c:tx>
                <c:rich>
                  <a:bodyPr/>
                  <a:lstStyle/>
                  <a:p>
                    <a:r>
                      <a:t>9.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EED8-4A0A-B514-CFD10DD0D9C9}"/>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EED8-4A0A-B514-CFD10DD0D9C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lvl>
                <c:lvl>
                  <c:pt idx="0">
                    <c:v>Bruts</c:v>
                  </c:pt>
                  <c:pt idx="2">
                    <c:v>Rosés</c:v>
                  </c:pt>
                  <c:pt idx="4">
                    <c:v>Mousseux Italiens</c:v>
                  </c:pt>
                  <c:pt idx="6">
                    <c:v>Mousseux Alsace</c:v>
                  </c:pt>
                  <c:pt idx="8">
                    <c:v>Mousseux Val De Loire</c:v>
                  </c:pt>
                  <c:pt idx="10">
                    <c:v>Mousseux Bourgogne</c:v>
                  </c:pt>
                </c:lvl>
                <c:lvl>
                  <c:pt idx="0">
                    <c:v>Champagnes</c:v>
                  </c:pt>
                  <c:pt idx="4">
                    <c:v>Mousseux</c:v>
                  </c:pt>
                </c:lvl>
              </c:multiLvlStrCache>
            </c:multiLvlStrRef>
          </c:cat>
          <c:val>
            <c:numRef>
              <c:f>Sheet1!$E$2:$E$13</c:f>
              <c:numCache>
                <c:formatCode>General</c:formatCode>
                <c:ptCount val="12"/>
                <c:pt idx="0">
                  <c:v>26.361699999999999</c:v>
                </c:pt>
                <c:pt idx="1">
                  <c:v>29.526199999999999</c:v>
                </c:pt>
                <c:pt idx="2">
                  <c:v>41.983699999999999</c:v>
                </c:pt>
                <c:pt idx="3">
                  <c:v>37.991900000000001</c:v>
                </c:pt>
                <c:pt idx="4">
                  <c:v>8.2279999999999998</c:v>
                </c:pt>
                <c:pt idx="5">
                  <c:v>0</c:v>
                </c:pt>
                <c:pt idx="6">
                  <c:v>6.9306000000000001</c:v>
                </c:pt>
                <c:pt idx="7">
                  <c:v>0</c:v>
                </c:pt>
                <c:pt idx="8">
                  <c:v>7.1753</c:v>
                </c:pt>
                <c:pt idx="9">
                  <c:v>0</c:v>
                </c:pt>
                <c:pt idx="10">
                  <c:v>9.4803999999999995</c:v>
                </c:pt>
                <c:pt idx="11">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90CD-48A1-9DFE-1F463149B1AF}"/>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42</c:v>
                </c:pt>
                <c:pt idx="1">
                  <c:v>4.5999999999999996</c:v>
                </c:pt>
                <c:pt idx="2">
                  <c:v>8.1</c:v>
                </c:pt>
                <c:pt idx="3">
                  <c:v>0.5</c:v>
                </c:pt>
                <c:pt idx="4">
                  <c:v>4.3</c:v>
                </c:pt>
                <c:pt idx="5">
                  <c:v>0.4</c:v>
                </c:pt>
                <c:pt idx="6">
                  <c:v>2.9</c:v>
                </c:pt>
                <c:pt idx="7">
                  <c:v>0.1</c:v>
                </c:pt>
                <c:pt idx="8">
                  <c:v>2.5</c:v>
                </c:pt>
                <c:pt idx="9">
                  <c:v>0</c:v>
                </c:pt>
                <c:pt idx="10">
                  <c:v>2.2999999999999998</c:v>
                </c:pt>
                <c:pt idx="11">
                  <c:v>0</c:v>
                </c:pt>
                <c:pt idx="12">
                  <c:v>1.7</c:v>
                </c:pt>
                <c:pt idx="13">
                  <c:v>0</c:v>
                </c:pt>
                <c:pt idx="14">
                  <c:v>1.100000000000000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7.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90CD-48A1-9DFE-1F463149B1AF}"/>
                </c:ext>
              </c:extLst>
            </c:dLbl>
            <c:dLbl>
              <c:idx val="5"/>
              <c:tx>
                <c:rich>
                  <a:bodyPr/>
                  <a:lstStyle/>
                  <a:p>
                    <a:r>
                      <a:t>3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CD-48A1-9DFE-1F463149B1AF}"/>
                </c:ext>
              </c:extLst>
            </c:dLbl>
            <c:dLbl>
              <c:idx val="6"/>
              <c:tx>
                <c:rich>
                  <a:bodyPr/>
                  <a:lstStyle/>
                  <a:p>
                    <a:r>
                      <a:t>3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90CD-48A1-9DFE-1F463149B1AF}"/>
                </c:ext>
              </c:extLst>
            </c:dLbl>
            <c:dLbl>
              <c:idx val="7"/>
              <c:tx>
                <c:rich>
                  <a:bodyPr/>
                  <a:lstStyle/>
                  <a:p>
                    <a:r>
                      <a:t>4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CD-48A1-9DFE-1F463149B1AF}"/>
                </c:ext>
              </c:extLst>
            </c:dLbl>
            <c:dLbl>
              <c:idx val="8"/>
              <c:tx>
                <c:rich>
                  <a:bodyPr/>
                  <a:lstStyle/>
                  <a:p>
                    <a:r>
                      <a:t>180.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90CD-48A1-9DFE-1F463149B1A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CD-48A1-9DFE-1F463149B1AF}"/>
                </c:ext>
              </c:extLst>
            </c:dLbl>
            <c:dLbl>
              <c:idx val="10"/>
              <c:tx>
                <c:rich>
                  <a:bodyPr/>
                  <a:lstStyle/>
                  <a:p>
                    <a:r>
                      <a:t>44.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90CD-48A1-9DFE-1F463149B1AF}"/>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CD-48A1-9DFE-1F463149B1AF}"/>
                </c:ext>
              </c:extLst>
            </c:dLbl>
            <c:dLbl>
              <c:idx val="12"/>
              <c:tx>
                <c:rich>
                  <a:bodyPr/>
                  <a:lstStyle/>
                  <a:p>
                    <a:r>
                      <a:t>1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90CD-48A1-9DFE-1F463149B1AF}"/>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CD-48A1-9DFE-1F463149B1AF}"/>
                </c:ext>
              </c:extLst>
            </c:dLbl>
            <c:dLbl>
              <c:idx val="14"/>
              <c:tx>
                <c:rich>
                  <a:bodyPr/>
                  <a:lstStyle/>
                  <a:p>
                    <a:r>
                      <a:t>1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90CD-48A1-9DFE-1F463149B1AF}"/>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CD-48A1-9DFE-1F463149B1A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2.466700000000003</c:v>
                </c:pt>
                <c:pt idx="1">
                  <c:v>29.543600000000001</c:v>
                </c:pt>
                <c:pt idx="2">
                  <c:v>97.591700000000003</c:v>
                </c:pt>
                <c:pt idx="3">
                  <c:v>54.874099999999999</c:v>
                </c:pt>
                <c:pt idx="4">
                  <c:v>75.725800000000007</c:v>
                </c:pt>
                <c:pt idx="5">
                  <c:v>38.1937</c:v>
                </c:pt>
                <c:pt idx="6">
                  <c:v>39.992199999999997</c:v>
                </c:pt>
                <c:pt idx="7">
                  <c:v>43.083599999999997</c:v>
                </c:pt>
                <c:pt idx="8">
                  <c:v>180.0427</c:v>
                </c:pt>
                <c:pt idx="9">
                  <c:v>0</c:v>
                </c:pt>
                <c:pt idx="10">
                  <c:v>44.387300000000003</c:v>
                </c:pt>
                <c:pt idx="11">
                  <c:v>0</c:v>
                </c:pt>
                <c:pt idx="12">
                  <c:v>11.944100000000001</c:v>
                </c:pt>
                <c:pt idx="13">
                  <c:v>0</c:v>
                </c:pt>
                <c:pt idx="14">
                  <c:v>15.4686</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92BF-4AD8-B6EA-90A4426F6E6A}"/>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18.8</c:v>
                </c:pt>
                <c:pt idx="1">
                  <c:v>2.1</c:v>
                </c:pt>
                <c:pt idx="2">
                  <c:v>2.8</c:v>
                </c:pt>
                <c:pt idx="3">
                  <c:v>0.2</c:v>
                </c:pt>
                <c:pt idx="4">
                  <c:v>1.8</c:v>
                </c:pt>
                <c:pt idx="5">
                  <c:v>0.2</c:v>
                </c:pt>
                <c:pt idx="6">
                  <c:v>1.4</c:v>
                </c:pt>
                <c:pt idx="7">
                  <c:v>0</c:v>
                </c:pt>
                <c:pt idx="8">
                  <c:v>1.1000000000000001</c:v>
                </c:pt>
                <c:pt idx="9">
                  <c:v>0</c:v>
                </c:pt>
                <c:pt idx="10">
                  <c:v>0.9</c:v>
                </c:pt>
                <c:pt idx="11">
                  <c:v>0</c:v>
                </c:pt>
                <c:pt idx="12">
                  <c:v>0.8</c:v>
                </c:pt>
                <c:pt idx="13">
                  <c:v>0</c:v>
                </c:pt>
                <c:pt idx="14">
                  <c:v>0.6</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3.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92BF-4AD8-B6EA-90A4426F6E6A}"/>
                </c:ext>
              </c:extLst>
            </c:dLbl>
            <c:dLbl>
              <c:idx val="5"/>
              <c:tx>
                <c:rich>
                  <a:bodyPr/>
                  <a:lstStyle/>
                  <a:p>
                    <a:r>
                      <a:t>38.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2BF-4AD8-B6EA-90A4426F6E6A}"/>
                </c:ext>
              </c:extLst>
            </c:dLbl>
            <c:dLbl>
              <c:idx val="6"/>
              <c:tx>
                <c:rich>
                  <a:bodyPr/>
                  <a:lstStyle/>
                  <a:p>
                    <a:r>
                      <a:t>4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92BF-4AD8-B6EA-90A4426F6E6A}"/>
                </c:ext>
              </c:extLst>
            </c:dLbl>
            <c:dLbl>
              <c:idx val="7"/>
              <c:tx>
                <c:rich>
                  <a:bodyPr/>
                  <a:lstStyle/>
                  <a:p>
                    <a:r>
                      <a:t>4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2BF-4AD8-B6EA-90A4426F6E6A}"/>
                </c:ext>
              </c:extLst>
            </c:dLbl>
            <c:dLbl>
              <c:idx val="8"/>
              <c:tx>
                <c:rich>
                  <a:bodyPr/>
                  <a:lstStyle/>
                  <a:p>
                    <a:r>
                      <a:t>4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92BF-4AD8-B6EA-90A4426F6E6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2BF-4AD8-B6EA-90A4426F6E6A}"/>
                </c:ext>
              </c:extLst>
            </c:dLbl>
            <c:dLbl>
              <c:idx val="10"/>
              <c:tx>
                <c:rich>
                  <a:bodyPr/>
                  <a:lstStyle/>
                  <a:p>
                    <a:r>
                      <a:t>16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92BF-4AD8-B6EA-90A4426F6E6A}"/>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2BF-4AD8-B6EA-90A4426F6E6A}"/>
                </c:ext>
              </c:extLst>
            </c:dLbl>
            <c:dLbl>
              <c:idx val="12"/>
              <c:tx>
                <c:rich>
                  <a:bodyPr/>
                  <a:lstStyle/>
                  <a:p>
                    <a:r>
                      <a:t>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92BF-4AD8-B6EA-90A4426F6E6A}"/>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2BF-4AD8-B6EA-90A4426F6E6A}"/>
                </c:ext>
              </c:extLst>
            </c:dLbl>
            <c:dLbl>
              <c:idx val="14"/>
              <c:tx>
                <c:rich>
                  <a:bodyPr/>
                  <a:lstStyle/>
                  <a:p>
                    <a:r>
                      <a:t>1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92BF-4AD8-B6EA-90A4426F6E6A}"/>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2BF-4AD8-B6EA-90A4426F6E6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2.0747</c:v>
                </c:pt>
                <c:pt idx="1">
                  <c:v>29.639299999999999</c:v>
                </c:pt>
                <c:pt idx="2">
                  <c:v>93.406300000000002</c:v>
                </c:pt>
                <c:pt idx="3">
                  <c:v>54.441699999999997</c:v>
                </c:pt>
                <c:pt idx="4">
                  <c:v>74.968500000000006</c:v>
                </c:pt>
                <c:pt idx="5">
                  <c:v>38.447499999999998</c:v>
                </c:pt>
                <c:pt idx="6">
                  <c:v>40.025500000000001</c:v>
                </c:pt>
                <c:pt idx="7">
                  <c:v>43.528599999999997</c:v>
                </c:pt>
                <c:pt idx="8">
                  <c:v>44.255899999999997</c:v>
                </c:pt>
                <c:pt idx="9">
                  <c:v>0</c:v>
                </c:pt>
                <c:pt idx="10">
                  <c:v>162.9813</c:v>
                </c:pt>
                <c:pt idx="11">
                  <c:v>0</c:v>
                </c:pt>
                <c:pt idx="12">
                  <c:v>11.971500000000001</c:v>
                </c:pt>
                <c:pt idx="13">
                  <c:v>0</c:v>
                </c:pt>
                <c:pt idx="14">
                  <c:v>15.5694</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2DF0-459C-B577-C030822B0DC1}"/>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8</c:v>
                </c:pt>
                <c:pt idx="1">
                  <c:v>1</c:v>
                </c:pt>
                <c:pt idx="2">
                  <c:v>1.8</c:v>
                </c:pt>
                <c:pt idx="3">
                  <c:v>0.1</c:v>
                </c:pt>
                <c:pt idx="4">
                  <c:v>0.8</c:v>
                </c:pt>
                <c:pt idx="5">
                  <c:v>0.1</c:v>
                </c:pt>
                <c:pt idx="6">
                  <c:v>0.6</c:v>
                </c:pt>
                <c:pt idx="7">
                  <c:v>0</c:v>
                </c:pt>
                <c:pt idx="8">
                  <c:v>0.4</c:v>
                </c:pt>
                <c:pt idx="9">
                  <c:v>0</c:v>
                </c:pt>
                <c:pt idx="10">
                  <c:v>0.4</c:v>
                </c:pt>
                <c:pt idx="11">
                  <c:v>0</c:v>
                </c:pt>
                <c:pt idx="12">
                  <c:v>0.3</c:v>
                </c:pt>
                <c:pt idx="13">
                  <c:v>0</c:v>
                </c:pt>
                <c:pt idx="14">
                  <c:v>0.2</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8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DF0-459C-B577-C030822B0DC1}"/>
                </c:ext>
              </c:extLst>
            </c:dLbl>
            <c:dLbl>
              <c:idx val="5"/>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DF0-459C-B577-C030822B0DC1}"/>
                </c:ext>
              </c:extLst>
            </c:dLbl>
            <c:dLbl>
              <c:idx val="6"/>
              <c:tx>
                <c:rich>
                  <a:bodyPr/>
                  <a:lstStyle/>
                  <a:p>
                    <a:r>
                      <a:t>39.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DF0-459C-B577-C030822B0DC1}"/>
                </c:ext>
              </c:extLst>
            </c:dLbl>
            <c:dLbl>
              <c:idx val="7"/>
              <c:tx>
                <c:rich>
                  <a:bodyPr/>
                  <a:lstStyle/>
                  <a:p>
                    <a:r>
                      <a:t>4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DF0-459C-B577-C030822B0DC1}"/>
                </c:ext>
              </c:extLst>
            </c:dLbl>
            <c:dLbl>
              <c:idx val="8"/>
              <c:tx>
                <c:rich>
                  <a:bodyPr/>
                  <a:lstStyle/>
                  <a:p>
                    <a:r>
                      <a:t>16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DF0-459C-B577-C030822B0DC1}"/>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DF0-459C-B577-C030822B0DC1}"/>
                </c:ext>
              </c:extLst>
            </c:dLbl>
            <c:dLbl>
              <c:idx val="10"/>
              <c:tx>
                <c:rich>
                  <a:bodyPr/>
                  <a:lstStyle/>
                  <a:p>
                    <a:r>
                      <a:t>4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DF0-459C-B577-C030822B0DC1}"/>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DF0-459C-B577-C030822B0DC1}"/>
                </c:ext>
              </c:extLst>
            </c:dLbl>
            <c:dLbl>
              <c:idx val="12"/>
              <c:tx>
                <c:rich>
                  <a:bodyPr/>
                  <a:lstStyle/>
                  <a:p>
                    <a:r>
                      <a:t>1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DF0-459C-B577-C030822B0DC1}"/>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DF0-459C-B577-C030822B0DC1}"/>
                </c:ext>
              </c:extLst>
            </c:dLbl>
            <c:dLbl>
              <c:idx val="14"/>
              <c:tx>
                <c:rich>
                  <a:bodyPr/>
                  <a:lstStyle/>
                  <a:p>
                    <a:r>
                      <a:t>15.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DF0-459C-B577-C030822B0DC1}"/>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DF0-459C-B577-C030822B0DC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0.809600000000003</c:v>
                </c:pt>
                <c:pt idx="1">
                  <c:v>29.407</c:v>
                </c:pt>
                <c:pt idx="2">
                  <c:v>89.915599999999998</c:v>
                </c:pt>
                <c:pt idx="3">
                  <c:v>54.375500000000002</c:v>
                </c:pt>
                <c:pt idx="4">
                  <c:v>69.418400000000005</c:v>
                </c:pt>
                <c:pt idx="5">
                  <c:v>37.555500000000002</c:v>
                </c:pt>
                <c:pt idx="6">
                  <c:v>39.741700000000002</c:v>
                </c:pt>
                <c:pt idx="7">
                  <c:v>42.764400000000002</c:v>
                </c:pt>
                <c:pt idx="8">
                  <c:v>165.1045</c:v>
                </c:pt>
                <c:pt idx="9">
                  <c:v>0</c:v>
                </c:pt>
                <c:pt idx="10">
                  <c:v>43.831200000000003</c:v>
                </c:pt>
                <c:pt idx="11">
                  <c:v>0</c:v>
                </c:pt>
                <c:pt idx="12">
                  <c:v>11.875500000000001</c:v>
                </c:pt>
                <c:pt idx="13">
                  <c:v>0</c:v>
                </c:pt>
                <c:pt idx="14">
                  <c:v>15.2592</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B5F8-49B0-AFB6-DA7D62287EF2}"/>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5</c:v>
                </c:pt>
                <c:pt idx="1">
                  <c:v>0.5</c:v>
                </c:pt>
                <c:pt idx="2">
                  <c:v>1</c:v>
                </c:pt>
                <c:pt idx="3">
                  <c:v>0</c:v>
                </c:pt>
                <c:pt idx="4">
                  <c:v>0.5</c:v>
                </c:pt>
                <c:pt idx="5">
                  <c:v>0</c:v>
                </c:pt>
                <c:pt idx="6">
                  <c:v>0.4</c:v>
                </c:pt>
                <c:pt idx="7">
                  <c:v>0</c:v>
                </c:pt>
                <c:pt idx="8">
                  <c:v>0.4</c:v>
                </c:pt>
                <c:pt idx="9">
                  <c:v>0</c:v>
                </c:pt>
                <c:pt idx="10">
                  <c:v>0.3</c:v>
                </c:pt>
                <c:pt idx="11">
                  <c:v>0</c:v>
                </c:pt>
                <c:pt idx="12">
                  <c:v>0.2</c:v>
                </c:pt>
                <c:pt idx="13">
                  <c:v>0</c:v>
                </c:pt>
                <c:pt idx="14">
                  <c:v>0.1</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5.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7.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B5F8-49B0-AFB6-DA7D62287EF2}"/>
                </c:ext>
              </c:extLst>
            </c:dLbl>
            <c:dLbl>
              <c:idx val="5"/>
              <c:tx>
                <c:rich>
                  <a:bodyPr/>
                  <a:lstStyle/>
                  <a:p>
                    <a:r>
                      <a:t>3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5F8-49B0-AFB6-DA7D62287EF2}"/>
                </c:ext>
              </c:extLst>
            </c:dLbl>
            <c:dLbl>
              <c:idx val="6"/>
              <c:tx>
                <c:rich>
                  <a:bodyPr/>
                  <a:lstStyle/>
                  <a:p>
                    <a:r>
                      <a:t>1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B5F8-49B0-AFB6-DA7D62287EF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5F8-49B0-AFB6-DA7D62287EF2}"/>
                </c:ext>
              </c:extLst>
            </c:dLbl>
            <c:dLbl>
              <c:idx val="8"/>
              <c:tx>
                <c:rich>
                  <a:bodyPr/>
                  <a:lstStyle/>
                  <a:p>
                    <a:r>
                      <a:t>4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B5F8-49B0-AFB6-DA7D62287EF2}"/>
                </c:ext>
              </c:extLst>
            </c:dLbl>
            <c:dLbl>
              <c:idx val="9"/>
              <c:tx>
                <c:rich>
                  <a:bodyPr/>
                  <a:lstStyle/>
                  <a:p>
                    <a:r>
                      <a:t>4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5F8-49B0-AFB6-DA7D62287EF2}"/>
                </c:ext>
              </c:extLst>
            </c:dLbl>
            <c:dLbl>
              <c:idx val="10"/>
              <c:tx>
                <c:rich>
                  <a:bodyPr/>
                  <a:lstStyle/>
                  <a:p>
                    <a:r>
                      <a:t>44.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B5F8-49B0-AFB6-DA7D62287EF2}"/>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5F8-49B0-AFB6-DA7D62287EF2}"/>
                </c:ext>
              </c:extLst>
            </c:dLbl>
            <c:dLbl>
              <c:idx val="12"/>
              <c:tx>
                <c:rich>
                  <a:bodyPr/>
                  <a:lstStyle/>
                  <a:p>
                    <a:r>
                      <a:t>1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B5F8-49B0-AFB6-DA7D62287EF2}"/>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5F8-49B0-AFB6-DA7D62287EF2}"/>
                </c:ext>
              </c:extLst>
            </c:dLbl>
            <c:dLbl>
              <c:idx val="14"/>
              <c:tx>
                <c:rich>
                  <a:bodyPr/>
                  <a:lstStyle/>
                  <a:p>
                    <a:r>
                      <a:t>15.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B5F8-49B0-AFB6-DA7D62287EF2}"/>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5F8-49B0-AFB6-DA7D62287EF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4.107599999999998</c:v>
                </c:pt>
                <c:pt idx="1">
                  <c:v>29.730899999999998</c:v>
                </c:pt>
                <c:pt idx="2">
                  <c:v>105.47490000000001</c:v>
                </c:pt>
                <c:pt idx="3">
                  <c:v>55.932699999999997</c:v>
                </c:pt>
                <c:pt idx="4">
                  <c:v>77.8583</c:v>
                </c:pt>
                <c:pt idx="5">
                  <c:v>39.375799999999998</c:v>
                </c:pt>
                <c:pt idx="6">
                  <c:v>199.89930000000001</c:v>
                </c:pt>
                <c:pt idx="7">
                  <c:v>0</c:v>
                </c:pt>
                <c:pt idx="8">
                  <c:v>40.273899999999998</c:v>
                </c:pt>
                <c:pt idx="9">
                  <c:v>43.153799999999997</c:v>
                </c:pt>
                <c:pt idx="10">
                  <c:v>44.922400000000003</c:v>
                </c:pt>
                <c:pt idx="11">
                  <c:v>0</c:v>
                </c:pt>
                <c:pt idx="12">
                  <c:v>12.126799999999999</c:v>
                </c:pt>
                <c:pt idx="13">
                  <c:v>0</c:v>
                </c:pt>
                <c:pt idx="14">
                  <c:v>15.9879</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94EEFB8-4D56-4DB6-929B-F416CBE9DD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7C259EC-46B7-405D-A323-2B43875CF0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10C6CD7F-8610-48CB-AFB2-735F2E8F40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932B7E8-E6A5-4C68-B75C-633F8A781F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7C7F570-5CDC-4CAB-8886-FFB8C232F1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4C7676D-AC56-4DFD-B75D-961A3A20AA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DB422B81-C3D4-4FC5-90EC-D412D46993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5AC439E-1E62-4C4D-9983-2DFD184E15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3131000000000004</c:v>
                </c:pt>
                <c:pt idx="1">
                  <c:v>7.2641</c:v>
                </c:pt>
                <c:pt idx="2">
                  <c:v>6.9162999999999997</c:v>
                </c:pt>
                <c:pt idx="3">
                  <c:v>6.5225999999999997</c:v>
                </c:pt>
                <c:pt idx="4">
                  <c:v>7.99</c:v>
                </c:pt>
                <c:pt idx="5">
                  <c:v>7.0077999999999996</c:v>
                </c:pt>
                <c:pt idx="6">
                  <c:v>5.8705999999999996</c:v>
                </c:pt>
              </c:numCache>
            </c:numRef>
          </c:xVal>
          <c:yVal>
            <c:numRef>
              <c:f>Sheet1!$B$2:$B$8</c:f>
              <c:numCache>
                <c:formatCode>General</c:formatCode>
                <c:ptCount val="7"/>
                <c:pt idx="0">
                  <c:v>0.92200000000000004</c:v>
                </c:pt>
                <c:pt idx="1">
                  <c:v>1.083</c:v>
                </c:pt>
                <c:pt idx="2">
                  <c:v>1.22</c:v>
                </c:pt>
                <c:pt idx="3">
                  <c:v>0.96299999999999997</c:v>
                </c:pt>
                <c:pt idx="4">
                  <c:v>1.373</c:v>
                </c:pt>
                <c:pt idx="5">
                  <c:v>1.2350000000000001</c:v>
                </c:pt>
                <c:pt idx="6">
                  <c:v>0.29699999999999999</c:v>
                </c:pt>
              </c:numCache>
            </c:numRef>
          </c:yVal>
          <c:bubbleSize>
            <c:numRef>
              <c:f>Sheet1!$C$2:$C$8</c:f>
              <c:numCache>
                <c:formatCode>General</c:formatCode>
                <c:ptCount val="7"/>
                <c:pt idx="0">
                  <c:v>3233122</c:v>
                </c:pt>
                <c:pt idx="1">
                  <c:v>2298436</c:v>
                </c:pt>
                <c:pt idx="2">
                  <c:v>2130700</c:v>
                </c:pt>
                <c:pt idx="3">
                  <c:v>1540334</c:v>
                </c:pt>
                <c:pt idx="4">
                  <c:v>1026974</c:v>
                </c:pt>
                <c:pt idx="5">
                  <c:v>477794</c:v>
                </c:pt>
                <c:pt idx="6">
                  <c:v>162181</c:v>
                </c:pt>
              </c:numCache>
            </c:numRef>
          </c:bubbleSize>
          <c:bubble3D val="0"/>
          <c:extLst>
            <c:ext xmlns:c15="http://schemas.microsoft.com/office/drawing/2012/chart" uri="{02D57815-91ED-43cb-92C2-25804820EDAC}">
              <c15:datalabelsRange>
                <c15:f>Sheet1!$E$2:$E$10</c15:f>
                <c15:dlblRangeCache>
                  <c:ptCount val="9"/>
                  <c:pt idx="0">
                    <c:v>Mdd</c:v>
                  </c:pt>
                  <c:pt idx="1">
                    <c:v>Ballarin Jean Louis</c:v>
                  </c:pt>
                  <c:pt idx="2">
                    <c:v>Malesan</c:v>
                  </c:pt>
                  <c:pt idx="3">
                    <c:v>Jaillance</c:v>
                  </c:pt>
                  <c:pt idx="4">
                    <c:v>Sieur Gaillard</c:v>
                  </c:pt>
                  <c:pt idx="5">
                    <c:v>Les Cordeliers</c:v>
                  </c:pt>
                  <c:pt idx="6">
                    <c:v>Calve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E66E-4B23-B436-AFB28BCCF1FA}"/>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Extra Brut</c:v>
                  </c:pt>
                  <c:pt idx="10">
                    <c:v>Crus</c:v>
                  </c:pt>
                  <c:pt idx="12">
                    <c:v>Mousseux Italiens</c:v>
                  </c:pt>
                </c:lvl>
                <c:lvl>
                  <c:pt idx="0">
                    <c:v>Champagnes</c:v>
                  </c:pt>
                  <c:pt idx="12">
                    <c:v>Mousseux</c:v>
                  </c:pt>
                </c:lvl>
              </c:multiLvlStrCache>
            </c:multiLvlStrRef>
          </c:cat>
          <c:val>
            <c:numRef>
              <c:f>Sheet1!$D$2:$D$15</c:f>
              <c:numCache>
                <c:formatCode>General</c:formatCode>
                <c:ptCount val="14"/>
                <c:pt idx="0">
                  <c:v>3.3</c:v>
                </c:pt>
                <c:pt idx="1">
                  <c:v>0.3</c:v>
                </c:pt>
                <c:pt idx="2">
                  <c:v>1</c:v>
                </c:pt>
                <c:pt idx="3">
                  <c:v>0</c:v>
                </c:pt>
                <c:pt idx="4">
                  <c:v>0.4</c:v>
                </c:pt>
                <c:pt idx="5">
                  <c:v>0</c:v>
                </c:pt>
                <c:pt idx="6">
                  <c:v>0.3</c:v>
                </c:pt>
                <c:pt idx="7">
                  <c:v>0</c:v>
                </c:pt>
                <c:pt idx="8">
                  <c:v>0.2</c:v>
                </c:pt>
                <c:pt idx="9">
                  <c:v>0</c:v>
                </c:pt>
                <c:pt idx="10">
                  <c:v>0.2</c:v>
                </c:pt>
                <c:pt idx="11">
                  <c:v>0</c:v>
                </c:pt>
                <c:pt idx="12">
                  <c:v>0.1</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5.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9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E66E-4B23-B436-AFB28BCCF1FA}"/>
                </c:ext>
              </c:extLst>
            </c:dLbl>
            <c:dLbl>
              <c:idx val="5"/>
              <c:tx>
                <c:rich>
                  <a:bodyPr/>
                  <a:lstStyle/>
                  <a:p>
                    <a:r>
                      <a:t>38.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E66E-4B23-B436-AFB28BCCF1FA}"/>
                </c:ext>
              </c:extLst>
            </c:dLbl>
            <c:dLbl>
              <c:idx val="6"/>
              <c:tx>
                <c:rich>
                  <a:bodyPr/>
                  <a:lstStyle/>
                  <a:p>
                    <a:r>
                      <a:t>21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E66E-4B23-B436-AFB28BCCF1F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E66E-4B23-B436-AFB28BCCF1FA}"/>
                </c:ext>
              </c:extLst>
            </c:dLbl>
            <c:dLbl>
              <c:idx val="8"/>
              <c:tx>
                <c:rich>
                  <a:bodyPr/>
                  <a:lstStyle/>
                  <a:p>
                    <a:r>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E66E-4B23-B436-AFB28BCCF1F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E66E-4B23-B436-AFB28BCCF1FA}"/>
                </c:ext>
              </c:extLst>
            </c:dLbl>
            <c:dLbl>
              <c:idx val="10"/>
              <c:tx>
                <c:rich>
                  <a:bodyPr/>
                  <a:lstStyle/>
                  <a:p>
                    <a:r>
                      <a:t>40.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E66E-4B23-B436-AFB28BCCF1FA}"/>
                </c:ext>
              </c:extLst>
            </c:dLbl>
            <c:dLbl>
              <c:idx val="11"/>
              <c:tx>
                <c:rich>
                  <a:bodyPr/>
                  <a:lstStyle/>
                  <a:p>
                    <a:r>
                      <a:t>42.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E66E-4B23-B436-AFB28BCCF1FA}"/>
                </c:ext>
              </c:extLst>
            </c:dLbl>
            <c:dLbl>
              <c:idx val="12"/>
              <c:tx>
                <c:rich>
                  <a:bodyPr/>
                  <a:lstStyle/>
                  <a:p>
                    <a:r>
                      <a:t>1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E66E-4B23-B436-AFB28BCCF1FA}"/>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E66E-4B23-B436-AFB28BCCF1F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Extra Brut</c:v>
                  </c:pt>
                  <c:pt idx="10">
                    <c:v>Crus</c:v>
                  </c:pt>
                  <c:pt idx="12">
                    <c:v>Mousseux Italiens</c:v>
                  </c:pt>
                </c:lvl>
                <c:lvl>
                  <c:pt idx="0">
                    <c:v>Champagnes</c:v>
                  </c:pt>
                  <c:pt idx="12">
                    <c:v>Mousseux</c:v>
                  </c:pt>
                </c:lvl>
              </c:multiLvlStrCache>
            </c:multiLvlStrRef>
          </c:cat>
          <c:val>
            <c:numRef>
              <c:f>Sheet1!$E$2:$E$15</c:f>
              <c:numCache>
                <c:formatCode>General</c:formatCode>
                <c:ptCount val="14"/>
                <c:pt idx="0">
                  <c:v>55.952300000000001</c:v>
                </c:pt>
                <c:pt idx="1">
                  <c:v>29.520299999999999</c:v>
                </c:pt>
                <c:pt idx="2">
                  <c:v>111.7274</c:v>
                </c:pt>
                <c:pt idx="3">
                  <c:v>55.527999999999999</c:v>
                </c:pt>
                <c:pt idx="4">
                  <c:v>93.713300000000004</c:v>
                </c:pt>
                <c:pt idx="5">
                  <c:v>38.324199999999998</c:v>
                </c:pt>
                <c:pt idx="6">
                  <c:v>215.56800000000001</c:v>
                </c:pt>
                <c:pt idx="7">
                  <c:v>0</c:v>
                </c:pt>
                <c:pt idx="8">
                  <c:v>45.168300000000002</c:v>
                </c:pt>
                <c:pt idx="9">
                  <c:v>0</c:v>
                </c:pt>
                <c:pt idx="10">
                  <c:v>40.239899999999999</c:v>
                </c:pt>
                <c:pt idx="11">
                  <c:v>42.831899999999997</c:v>
                </c:pt>
                <c:pt idx="12">
                  <c:v>12.2026</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C4D5-453B-AE33-6B42826E91DD}"/>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Millesimes</c:v>
                  </c:pt>
                  <c:pt idx="8">
                    <c:v>Extra Brut</c:v>
                  </c:pt>
                  <c:pt idx="10">
                    <c:v>Crus</c:v>
                  </c:pt>
                  <c:pt idx="12">
                    <c:v>Mousseux Italiens</c:v>
                  </c:pt>
                  <c:pt idx="14">
                    <c:v>Mousseux Val De Loire</c:v>
                  </c:pt>
                  <c:pt idx="16">
                    <c:v>Mousseux Alsace</c:v>
                  </c:pt>
                </c:lvl>
                <c:lvl>
                  <c:pt idx="0">
                    <c:v>Champagnes</c:v>
                  </c:pt>
                  <c:pt idx="12">
                    <c:v>Mousseux</c:v>
                  </c:pt>
                </c:lvl>
              </c:multiLvlStrCache>
            </c:multiLvlStrRef>
          </c:cat>
          <c:val>
            <c:numRef>
              <c:f>Sheet1!$D$2:$D$19</c:f>
              <c:numCache>
                <c:formatCode>General</c:formatCode>
                <c:ptCount val="18"/>
                <c:pt idx="0">
                  <c:v>2</c:v>
                </c:pt>
                <c:pt idx="1">
                  <c:v>0.2</c:v>
                </c:pt>
                <c:pt idx="2">
                  <c:v>0.6</c:v>
                </c:pt>
                <c:pt idx="3">
                  <c:v>0</c:v>
                </c:pt>
                <c:pt idx="4">
                  <c:v>0.2</c:v>
                </c:pt>
                <c:pt idx="5">
                  <c:v>0</c:v>
                </c:pt>
                <c:pt idx="6">
                  <c:v>0.2</c:v>
                </c:pt>
                <c:pt idx="7">
                  <c:v>0</c:v>
                </c:pt>
                <c:pt idx="8">
                  <c:v>0.1</c:v>
                </c:pt>
                <c:pt idx="9">
                  <c:v>0</c:v>
                </c:pt>
                <c:pt idx="10">
                  <c:v>0.1</c:v>
                </c:pt>
                <c:pt idx="11">
                  <c:v>0</c:v>
                </c:pt>
                <c:pt idx="12">
                  <c:v>0.1</c:v>
                </c:pt>
                <c:pt idx="13">
                  <c:v>0</c:v>
                </c:pt>
                <c:pt idx="14">
                  <c:v>0</c:v>
                </c:pt>
                <c:pt idx="15">
                  <c:v>0</c:v>
                </c:pt>
                <c:pt idx="16">
                  <c:v>0</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6.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7.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C4D5-453B-AE33-6B42826E91DD}"/>
                </c:ext>
              </c:extLst>
            </c:dLbl>
            <c:dLbl>
              <c:idx val="5"/>
              <c:tx>
                <c:rich>
                  <a:bodyPr/>
                  <a:lstStyle/>
                  <a:p>
                    <a:r>
                      <a:t>3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C4D5-453B-AE33-6B42826E91DD}"/>
                </c:ext>
              </c:extLst>
            </c:dLbl>
            <c:dLbl>
              <c:idx val="6"/>
              <c:tx>
                <c:rich>
                  <a:bodyPr/>
                  <a:lstStyle/>
                  <a:p>
                    <a:r>
                      <a:t>184.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C4D5-453B-AE33-6B42826E91DD}"/>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C4D5-453B-AE33-6B42826E91DD}"/>
                </c:ext>
              </c:extLst>
            </c:dLbl>
            <c:dLbl>
              <c:idx val="8"/>
              <c:tx>
                <c:rich>
                  <a:bodyPr/>
                  <a:lstStyle/>
                  <a:p>
                    <a:r>
                      <a:t>44.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C4D5-453B-AE33-6B42826E91DD}"/>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C4D5-453B-AE33-6B42826E91DD}"/>
                </c:ext>
              </c:extLst>
            </c:dLbl>
            <c:dLbl>
              <c:idx val="10"/>
              <c:tx>
                <c:rich>
                  <a:bodyPr/>
                  <a:lstStyle/>
                  <a:p>
                    <a:r>
                      <a:t>39.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C4D5-453B-AE33-6B42826E91DD}"/>
                </c:ext>
              </c:extLst>
            </c:dLbl>
            <c:dLbl>
              <c:idx val="11"/>
              <c:tx>
                <c:rich>
                  <a:bodyPr/>
                  <a:lstStyle/>
                  <a:p>
                    <a:r>
                      <a:t>40.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C4D5-453B-AE33-6B42826E91DD}"/>
                </c:ext>
              </c:extLst>
            </c:dLbl>
            <c:dLbl>
              <c:idx val="12"/>
              <c:tx>
                <c:rich>
                  <a:bodyPr/>
                  <a:lstStyle/>
                  <a:p>
                    <a:r>
                      <a:t>1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C4D5-453B-AE33-6B42826E91DD}"/>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C4D5-453B-AE33-6B42826E91DD}"/>
                </c:ext>
              </c:extLst>
            </c:dLbl>
            <c:dLbl>
              <c:idx val="14"/>
              <c:tx>
                <c:rich>
                  <a:bodyPr/>
                  <a:lstStyle/>
                  <a:p>
                    <a:r>
                      <a:t>15.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C4D5-453B-AE33-6B42826E91DD}"/>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C4D5-453B-AE33-6B42826E91DD}"/>
                </c:ext>
              </c:extLst>
            </c:dLbl>
            <c:dLbl>
              <c:idx val="16"/>
              <c:tx>
                <c:rich>
                  <a:bodyPr/>
                  <a:lstStyle/>
                  <a:p>
                    <a:r>
                      <a:t>17.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C4D5-453B-AE33-6B42826E91DD}"/>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C4D5-453B-AE33-6B42826E91D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Millesimes</c:v>
                  </c:pt>
                  <c:pt idx="8">
                    <c:v>Extra Brut</c:v>
                  </c:pt>
                  <c:pt idx="10">
                    <c:v>Crus</c:v>
                  </c:pt>
                  <c:pt idx="12">
                    <c:v>Mousseux Italiens</c:v>
                  </c:pt>
                  <c:pt idx="14">
                    <c:v>Mousseux Val De Loire</c:v>
                  </c:pt>
                  <c:pt idx="16">
                    <c:v>Mousseux Alsace</c:v>
                  </c:pt>
                </c:lvl>
                <c:lvl>
                  <c:pt idx="0">
                    <c:v>Champagnes</c:v>
                  </c:pt>
                  <c:pt idx="12">
                    <c:v>Mousseux</c:v>
                  </c:pt>
                </c:lvl>
              </c:multiLvlStrCache>
            </c:multiLvlStrRef>
          </c:cat>
          <c:val>
            <c:numRef>
              <c:f>Sheet1!$E$2:$E$19</c:f>
              <c:numCache>
                <c:formatCode>General</c:formatCode>
                <c:ptCount val="18"/>
                <c:pt idx="0">
                  <c:v>54.516300000000001</c:v>
                </c:pt>
                <c:pt idx="1">
                  <c:v>29.320399999999999</c:v>
                </c:pt>
                <c:pt idx="2">
                  <c:v>106.9933</c:v>
                </c:pt>
                <c:pt idx="3">
                  <c:v>56.330599999999997</c:v>
                </c:pt>
                <c:pt idx="4">
                  <c:v>77.268100000000004</c:v>
                </c:pt>
                <c:pt idx="5">
                  <c:v>38.129199999999997</c:v>
                </c:pt>
                <c:pt idx="6">
                  <c:v>184.56649999999999</c:v>
                </c:pt>
                <c:pt idx="7">
                  <c:v>0</c:v>
                </c:pt>
                <c:pt idx="8">
                  <c:v>44.226100000000002</c:v>
                </c:pt>
                <c:pt idx="9">
                  <c:v>0</c:v>
                </c:pt>
                <c:pt idx="10">
                  <c:v>39.791200000000003</c:v>
                </c:pt>
                <c:pt idx="11">
                  <c:v>40.984099999999998</c:v>
                </c:pt>
                <c:pt idx="12">
                  <c:v>11.5238</c:v>
                </c:pt>
                <c:pt idx="13">
                  <c:v>0</c:v>
                </c:pt>
                <c:pt idx="14">
                  <c:v>15.2057</c:v>
                </c:pt>
                <c:pt idx="15">
                  <c:v>0</c:v>
                </c:pt>
                <c:pt idx="16">
                  <c:v>17.650500000000001</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4BE4-4B72-860F-2E5B1E75DEE6}"/>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29</c:v>
                </c:pt>
                <c:pt idx="1">
                  <c:v>3.1</c:v>
                </c:pt>
                <c:pt idx="2">
                  <c:v>5.5</c:v>
                </c:pt>
                <c:pt idx="3">
                  <c:v>0.4</c:v>
                </c:pt>
                <c:pt idx="4">
                  <c:v>3</c:v>
                </c:pt>
                <c:pt idx="5">
                  <c:v>0.3</c:v>
                </c:pt>
                <c:pt idx="6">
                  <c:v>2.1</c:v>
                </c:pt>
                <c:pt idx="7">
                  <c:v>0</c:v>
                </c:pt>
                <c:pt idx="8">
                  <c:v>1.7</c:v>
                </c:pt>
                <c:pt idx="9">
                  <c:v>0</c:v>
                </c:pt>
                <c:pt idx="10">
                  <c:v>1.7</c:v>
                </c:pt>
                <c:pt idx="11">
                  <c:v>0</c:v>
                </c:pt>
                <c:pt idx="12">
                  <c:v>1.2</c:v>
                </c:pt>
                <c:pt idx="13">
                  <c:v>0</c:v>
                </c:pt>
                <c:pt idx="14">
                  <c:v>0.7</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4BE4-4B72-860F-2E5B1E75DEE6}"/>
                </c:ext>
              </c:extLst>
            </c:dLbl>
            <c:dLbl>
              <c:idx val="5"/>
              <c:tx>
                <c:rich>
                  <a:bodyPr/>
                  <a:lstStyle/>
                  <a:p>
                    <a:r>
                      <a:t>3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4BE4-4B72-860F-2E5B1E75DEE6}"/>
                </c:ext>
              </c:extLst>
            </c:dLbl>
            <c:dLbl>
              <c:idx val="6"/>
              <c:tx>
                <c:rich>
                  <a:bodyPr/>
                  <a:lstStyle/>
                  <a:p>
                    <a:r>
                      <a:t>40.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4BE4-4B72-860F-2E5B1E75DEE6}"/>
                </c:ext>
              </c:extLst>
            </c:dLbl>
            <c:dLbl>
              <c:idx val="7"/>
              <c:tx>
                <c:rich>
                  <a:bodyPr/>
                  <a:lstStyle/>
                  <a:p>
                    <a:r>
                      <a:t>4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4BE4-4B72-860F-2E5B1E75DEE6}"/>
                </c:ext>
              </c:extLst>
            </c:dLbl>
            <c:dLbl>
              <c:idx val="8"/>
              <c:tx>
                <c:rich>
                  <a:bodyPr/>
                  <a:lstStyle/>
                  <a:p>
                    <a:r>
                      <a:t>4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4BE4-4B72-860F-2E5B1E75DEE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4BE4-4B72-860F-2E5B1E75DEE6}"/>
                </c:ext>
              </c:extLst>
            </c:dLbl>
            <c:dLbl>
              <c:idx val="10"/>
              <c:tx>
                <c:rich>
                  <a:bodyPr/>
                  <a:lstStyle/>
                  <a:p>
                    <a:r>
                      <a:t>178.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4BE4-4B72-860F-2E5B1E75DEE6}"/>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4BE4-4B72-860F-2E5B1E75DEE6}"/>
                </c:ext>
              </c:extLst>
            </c:dLbl>
            <c:dLbl>
              <c:idx val="12"/>
              <c:tx>
                <c:rich>
                  <a:bodyPr/>
                  <a:lstStyle/>
                  <a:p>
                    <a:r>
                      <a:t>1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4BE4-4B72-860F-2E5B1E75DEE6}"/>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4BE4-4B72-860F-2E5B1E75DEE6}"/>
                </c:ext>
              </c:extLst>
            </c:dLbl>
            <c:dLbl>
              <c:idx val="14"/>
              <c:tx>
                <c:rich>
                  <a:bodyPr/>
                  <a:lstStyle/>
                  <a:p>
                    <a:r>
                      <a:t>15.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4BE4-4B72-860F-2E5B1E75DEE6}"/>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4BE4-4B72-860F-2E5B1E75DEE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2.746600000000001</c:v>
                </c:pt>
                <c:pt idx="1">
                  <c:v>29.5703</c:v>
                </c:pt>
                <c:pt idx="2">
                  <c:v>99.004499999999993</c:v>
                </c:pt>
                <c:pt idx="3">
                  <c:v>54.210900000000002</c:v>
                </c:pt>
                <c:pt idx="4">
                  <c:v>76.944500000000005</c:v>
                </c:pt>
                <c:pt idx="5">
                  <c:v>38.406399999999998</c:v>
                </c:pt>
                <c:pt idx="6">
                  <c:v>40.0443</c:v>
                </c:pt>
                <c:pt idx="7">
                  <c:v>43.926900000000003</c:v>
                </c:pt>
                <c:pt idx="8">
                  <c:v>44.462200000000003</c:v>
                </c:pt>
                <c:pt idx="9">
                  <c:v>0</c:v>
                </c:pt>
                <c:pt idx="10">
                  <c:v>178.5181</c:v>
                </c:pt>
                <c:pt idx="11">
                  <c:v>0</c:v>
                </c:pt>
                <c:pt idx="12">
                  <c:v>12.059200000000001</c:v>
                </c:pt>
                <c:pt idx="13">
                  <c:v>0</c:v>
                </c:pt>
                <c:pt idx="14">
                  <c:v>15.8711</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5412-4A63-8F67-165A1E2CAB8B}"/>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D$2:$D$15</c:f>
              <c:numCache>
                <c:formatCode>General</c:formatCode>
                <c:ptCount val="14"/>
                <c:pt idx="0">
                  <c:v>4.0999999999999996</c:v>
                </c:pt>
                <c:pt idx="1">
                  <c:v>0.5</c:v>
                </c:pt>
                <c:pt idx="2">
                  <c:v>1</c:v>
                </c:pt>
                <c:pt idx="3">
                  <c:v>0.1</c:v>
                </c:pt>
                <c:pt idx="4">
                  <c:v>0.5</c:v>
                </c:pt>
                <c:pt idx="5">
                  <c:v>0</c:v>
                </c:pt>
                <c:pt idx="6">
                  <c:v>0.3</c:v>
                </c:pt>
                <c:pt idx="7">
                  <c:v>0</c:v>
                </c:pt>
                <c:pt idx="8">
                  <c:v>0.2</c:v>
                </c:pt>
                <c:pt idx="9">
                  <c:v>0</c:v>
                </c:pt>
                <c:pt idx="10">
                  <c:v>0.2</c:v>
                </c:pt>
                <c:pt idx="11">
                  <c:v>0</c:v>
                </c:pt>
                <c:pt idx="12">
                  <c:v>0.2</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5.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7.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5412-4A63-8F67-165A1E2CAB8B}"/>
                </c:ext>
              </c:extLst>
            </c:dLbl>
            <c:dLbl>
              <c:idx val="5"/>
              <c:tx>
                <c:rich>
                  <a:bodyPr/>
                  <a:lstStyle/>
                  <a:p>
                    <a:r>
                      <a:t>38.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5412-4A63-8F67-165A1E2CAB8B}"/>
                </c:ext>
              </c:extLst>
            </c:dLbl>
            <c:dLbl>
              <c:idx val="6"/>
              <c:tx>
                <c:rich>
                  <a:bodyPr/>
                  <a:lstStyle/>
                  <a:p>
                    <a:r>
                      <a:t>22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5412-4A63-8F67-165A1E2CAB8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5412-4A63-8F67-165A1E2CAB8B}"/>
                </c:ext>
              </c:extLst>
            </c:dLbl>
            <c:dLbl>
              <c:idx val="8"/>
              <c:tx>
                <c:rich>
                  <a:bodyPr/>
                  <a:lstStyle/>
                  <a:p>
                    <a:r>
                      <a:t>3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5412-4A63-8F67-165A1E2CAB8B}"/>
                </c:ext>
              </c:extLst>
            </c:dLbl>
            <c:dLbl>
              <c:idx val="9"/>
              <c:tx>
                <c:rich>
                  <a:bodyPr/>
                  <a:lstStyle/>
                  <a:p>
                    <a:r>
                      <a:t>43.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5412-4A63-8F67-165A1E2CAB8B}"/>
                </c:ext>
              </c:extLst>
            </c:dLbl>
            <c:dLbl>
              <c:idx val="10"/>
              <c:tx>
                <c:rich>
                  <a:bodyPr/>
                  <a:lstStyle/>
                  <a:p>
                    <a:r>
                      <a:t>4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5412-4A63-8F67-165A1E2CAB8B}"/>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5412-4A63-8F67-165A1E2CAB8B}"/>
                </c:ext>
              </c:extLst>
            </c:dLbl>
            <c:dLbl>
              <c:idx val="12"/>
              <c:tx>
                <c:rich>
                  <a:bodyPr/>
                  <a:lstStyle/>
                  <a:p>
                    <a:r>
                      <a:t>12.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5412-4A63-8F67-165A1E2CAB8B}"/>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5412-4A63-8F67-165A1E2CAB8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E$2:$E$15</c:f>
              <c:numCache>
                <c:formatCode>General</c:formatCode>
                <c:ptCount val="14"/>
                <c:pt idx="0">
                  <c:v>52.975099999999998</c:v>
                </c:pt>
                <c:pt idx="1">
                  <c:v>29.342099999999999</c:v>
                </c:pt>
                <c:pt idx="2">
                  <c:v>106.7418</c:v>
                </c:pt>
                <c:pt idx="3">
                  <c:v>55.7864</c:v>
                </c:pt>
                <c:pt idx="4">
                  <c:v>77.956299999999999</c:v>
                </c:pt>
                <c:pt idx="5">
                  <c:v>38.017800000000001</c:v>
                </c:pt>
                <c:pt idx="6">
                  <c:v>225.2834</c:v>
                </c:pt>
                <c:pt idx="7">
                  <c:v>0</c:v>
                </c:pt>
                <c:pt idx="8">
                  <c:v>39.923000000000002</c:v>
                </c:pt>
                <c:pt idx="9">
                  <c:v>43.031300000000002</c:v>
                </c:pt>
                <c:pt idx="10">
                  <c:v>44.665599999999998</c:v>
                </c:pt>
                <c:pt idx="11">
                  <c:v>0</c:v>
                </c:pt>
                <c:pt idx="12">
                  <c:v>12.029199999999999</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70DD-497D-A477-2221C5CD9506}"/>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D$2:$D$15</c:f>
              <c:numCache>
                <c:formatCode>General</c:formatCode>
                <c:ptCount val="14"/>
                <c:pt idx="0">
                  <c:v>2.4</c:v>
                </c:pt>
                <c:pt idx="1">
                  <c:v>0.2</c:v>
                </c:pt>
                <c:pt idx="2">
                  <c:v>0.4</c:v>
                </c:pt>
                <c:pt idx="3">
                  <c:v>0</c:v>
                </c:pt>
                <c:pt idx="4">
                  <c:v>0.2</c:v>
                </c:pt>
                <c:pt idx="5">
                  <c:v>0</c:v>
                </c:pt>
                <c:pt idx="6">
                  <c:v>0.2</c:v>
                </c:pt>
                <c:pt idx="7">
                  <c:v>0</c:v>
                </c:pt>
                <c:pt idx="8">
                  <c:v>0.1</c:v>
                </c:pt>
                <c:pt idx="9">
                  <c:v>0</c:v>
                </c:pt>
                <c:pt idx="10">
                  <c:v>0.1</c:v>
                </c:pt>
                <c:pt idx="11">
                  <c:v>0</c:v>
                </c:pt>
                <c:pt idx="12">
                  <c:v>0.1</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3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8.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0DD-497D-A477-2221C5CD9506}"/>
                </c:ext>
              </c:extLst>
            </c:dLbl>
            <c:dLbl>
              <c:idx val="5"/>
              <c:tx>
                <c:rich>
                  <a:bodyPr/>
                  <a:lstStyle/>
                  <a:p>
                    <a:r>
                      <a:t>38.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0DD-497D-A477-2221C5CD9506}"/>
                </c:ext>
              </c:extLst>
            </c:dLbl>
            <c:dLbl>
              <c:idx val="6"/>
              <c:tx>
                <c:rich>
                  <a:bodyPr/>
                  <a:lstStyle/>
                  <a:p>
                    <a:r>
                      <a:t>1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0DD-497D-A477-2221C5CD950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0DD-497D-A477-2221C5CD9506}"/>
                </c:ext>
              </c:extLst>
            </c:dLbl>
            <c:dLbl>
              <c:idx val="8"/>
              <c:tx>
                <c:rich>
                  <a:bodyPr/>
                  <a:lstStyle/>
                  <a:p>
                    <a:r>
                      <a:t>39.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0DD-497D-A477-2221C5CD9506}"/>
                </c:ext>
              </c:extLst>
            </c:dLbl>
            <c:dLbl>
              <c:idx val="9"/>
              <c:tx>
                <c:rich>
                  <a:bodyPr/>
                  <a:lstStyle/>
                  <a:p>
                    <a:r>
                      <a:t>44.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0DD-497D-A477-2221C5CD9506}"/>
                </c:ext>
              </c:extLst>
            </c:dLbl>
            <c:dLbl>
              <c:idx val="10"/>
              <c:tx>
                <c:rich>
                  <a:bodyPr/>
                  <a:lstStyle/>
                  <a:p>
                    <a:r>
                      <a:t>44.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0DD-497D-A477-2221C5CD9506}"/>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0DD-497D-A477-2221C5CD9506}"/>
                </c:ext>
              </c:extLst>
            </c:dLbl>
            <c:dLbl>
              <c:idx val="12"/>
              <c:tx>
                <c:rich>
                  <a:bodyPr/>
                  <a:lstStyle/>
                  <a:p>
                    <a:r>
                      <a:t>1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70DD-497D-A477-2221C5CD9506}"/>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0DD-497D-A477-2221C5CD950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Crus</c:v>
                  </c:pt>
                  <c:pt idx="10">
                    <c:v>Extra Brut</c:v>
                  </c:pt>
                  <c:pt idx="12">
                    <c:v>Mousseux Italiens</c:v>
                  </c:pt>
                </c:lvl>
                <c:lvl>
                  <c:pt idx="0">
                    <c:v>Champagnes</c:v>
                  </c:pt>
                  <c:pt idx="12">
                    <c:v>Mousseux</c:v>
                  </c:pt>
                </c:lvl>
              </c:multiLvlStrCache>
            </c:multiLvlStrRef>
          </c:cat>
          <c:val>
            <c:numRef>
              <c:f>Sheet1!$E$2:$E$15</c:f>
              <c:numCache>
                <c:formatCode>General</c:formatCode>
                <c:ptCount val="14"/>
                <c:pt idx="0">
                  <c:v>53.6935</c:v>
                </c:pt>
                <c:pt idx="1">
                  <c:v>30.215599999999998</c:v>
                </c:pt>
                <c:pt idx="2">
                  <c:v>98.810699999999997</c:v>
                </c:pt>
                <c:pt idx="3">
                  <c:v>58.055700000000002</c:v>
                </c:pt>
                <c:pt idx="4">
                  <c:v>73.642300000000006</c:v>
                </c:pt>
                <c:pt idx="5">
                  <c:v>38.415900000000001</c:v>
                </c:pt>
                <c:pt idx="6">
                  <c:v>187.09819999999999</c:v>
                </c:pt>
                <c:pt idx="7">
                  <c:v>0</c:v>
                </c:pt>
                <c:pt idx="8">
                  <c:v>39.974299999999999</c:v>
                </c:pt>
                <c:pt idx="9">
                  <c:v>44.848500000000001</c:v>
                </c:pt>
                <c:pt idx="10">
                  <c:v>44.310400000000001</c:v>
                </c:pt>
                <c:pt idx="11">
                  <c:v>0</c:v>
                </c:pt>
                <c:pt idx="12">
                  <c:v>11.4984</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C45F-4B70-8ADF-EA9CB1C59D1B}"/>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1.3</c:v>
                </c:pt>
                <c:pt idx="1">
                  <c:v>0.2</c:v>
                </c:pt>
                <c:pt idx="2">
                  <c:v>0.2</c:v>
                </c:pt>
                <c:pt idx="3">
                  <c:v>0</c:v>
                </c:pt>
                <c:pt idx="4">
                  <c:v>0.1</c:v>
                </c:pt>
                <c:pt idx="5">
                  <c:v>0</c:v>
                </c:pt>
                <c:pt idx="6">
                  <c:v>0.1</c:v>
                </c:pt>
                <c:pt idx="7">
                  <c:v>0</c:v>
                </c:pt>
                <c:pt idx="8">
                  <c:v>0.1</c:v>
                </c:pt>
                <c:pt idx="9">
                  <c:v>0</c:v>
                </c:pt>
                <c:pt idx="10">
                  <c:v>0</c:v>
                </c:pt>
                <c:pt idx="11">
                  <c:v>0</c:v>
                </c:pt>
                <c:pt idx="12">
                  <c:v>0</c:v>
                </c:pt>
                <c:pt idx="13">
                  <c:v>0</c:v>
                </c:pt>
                <c:pt idx="14">
                  <c:v>0</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9.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2.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9.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C45F-4B70-8ADF-EA9CB1C59D1B}"/>
                </c:ext>
              </c:extLst>
            </c:dLbl>
            <c:dLbl>
              <c:idx val="5"/>
              <c:tx>
                <c:rich>
                  <a:bodyPr/>
                  <a:lstStyle/>
                  <a:p>
                    <a:r>
                      <a:t>37.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C45F-4B70-8ADF-EA9CB1C59D1B}"/>
                </c:ext>
              </c:extLst>
            </c:dLbl>
            <c:dLbl>
              <c:idx val="6"/>
              <c:tx>
                <c:rich>
                  <a:bodyPr/>
                  <a:lstStyle/>
                  <a:p>
                    <a:r>
                      <a:t>40.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C45F-4B70-8ADF-EA9CB1C59D1B}"/>
                </c:ext>
              </c:extLst>
            </c:dLbl>
            <c:dLbl>
              <c:idx val="7"/>
              <c:tx>
                <c:rich>
                  <a:bodyPr/>
                  <a:lstStyle/>
                  <a:p>
                    <a:r>
                      <a:t>43.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C45F-4B70-8ADF-EA9CB1C59D1B}"/>
                </c:ext>
              </c:extLst>
            </c:dLbl>
            <c:dLbl>
              <c:idx val="8"/>
              <c:tx>
                <c:rich>
                  <a:bodyPr/>
                  <a:lstStyle/>
                  <a:p>
                    <a:r>
                      <a:t>189.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C45F-4B70-8ADF-EA9CB1C59D1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C45F-4B70-8ADF-EA9CB1C59D1B}"/>
                </c:ext>
              </c:extLst>
            </c:dLbl>
            <c:dLbl>
              <c:idx val="10"/>
              <c:tx>
                <c:rich>
                  <a:bodyPr/>
                  <a:lstStyle/>
                  <a:p>
                    <a:r>
                      <a:t>43.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C45F-4B70-8ADF-EA9CB1C59D1B}"/>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C45F-4B70-8ADF-EA9CB1C59D1B}"/>
                </c:ext>
              </c:extLst>
            </c:dLbl>
            <c:dLbl>
              <c:idx val="12"/>
              <c:tx>
                <c:rich>
                  <a:bodyPr/>
                  <a:lstStyle/>
                  <a:p>
                    <a:r>
                      <a:t>11.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C45F-4B70-8ADF-EA9CB1C59D1B}"/>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C45F-4B70-8ADF-EA9CB1C59D1B}"/>
                </c:ext>
              </c:extLst>
            </c:dLbl>
            <c:dLbl>
              <c:idx val="14"/>
              <c:tx>
                <c:rich>
                  <a:bodyPr/>
                  <a:lstStyle/>
                  <a:p>
                    <a:r>
                      <a:t>14.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C45F-4B70-8ADF-EA9CB1C59D1B}"/>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C45F-4B70-8ADF-EA9CB1C59D1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Millesime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49.7729</c:v>
                </c:pt>
                <c:pt idx="1">
                  <c:v>29.226299999999998</c:v>
                </c:pt>
                <c:pt idx="2">
                  <c:v>92.624799999999993</c:v>
                </c:pt>
                <c:pt idx="3">
                  <c:v>55.4955</c:v>
                </c:pt>
                <c:pt idx="4">
                  <c:v>69.882499999999993</c:v>
                </c:pt>
                <c:pt idx="5">
                  <c:v>37.238300000000002</c:v>
                </c:pt>
                <c:pt idx="6">
                  <c:v>40.115699999999997</c:v>
                </c:pt>
                <c:pt idx="7">
                  <c:v>43.537300000000002</c:v>
                </c:pt>
                <c:pt idx="8">
                  <c:v>189.125</c:v>
                </c:pt>
                <c:pt idx="9">
                  <c:v>0</c:v>
                </c:pt>
                <c:pt idx="10">
                  <c:v>43.936999999999998</c:v>
                </c:pt>
                <c:pt idx="11">
                  <c:v>0</c:v>
                </c:pt>
                <c:pt idx="12">
                  <c:v>11.468</c:v>
                </c:pt>
                <c:pt idx="13">
                  <c:v>0</c:v>
                </c:pt>
                <c:pt idx="14">
                  <c:v>14.828900000000001</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31CE-4FBD-BA58-16D63DA7B478}"/>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Crus</c:v>
                  </c:pt>
                  <c:pt idx="10">
                    <c:v>Extra Brut</c:v>
                  </c:pt>
                  <c:pt idx="12">
                    <c:v>Mousseux Alsace</c:v>
                  </c:pt>
                </c:lvl>
                <c:lvl>
                  <c:pt idx="0">
                    <c:v>Champagnes</c:v>
                  </c:pt>
                  <c:pt idx="12">
                    <c:v>Mousseux</c:v>
                  </c:pt>
                </c:lvl>
              </c:multiLvlStrCache>
            </c:multiLvlStrRef>
          </c:cat>
          <c:val>
            <c:numRef>
              <c:f>Sheet1!$D$2:$D$15</c:f>
              <c:numCache>
                <c:formatCode>General</c:formatCode>
                <c:ptCount val="14"/>
                <c:pt idx="0">
                  <c:v>1</c:v>
                </c:pt>
                <c:pt idx="1">
                  <c:v>0.1</c:v>
                </c:pt>
                <c:pt idx="2">
                  <c:v>0.2</c:v>
                </c:pt>
                <c:pt idx="3">
                  <c:v>0</c:v>
                </c:pt>
                <c:pt idx="4">
                  <c:v>0.1</c:v>
                </c:pt>
                <c:pt idx="5">
                  <c:v>0</c:v>
                </c:pt>
                <c:pt idx="6">
                  <c:v>0.1</c:v>
                </c:pt>
                <c:pt idx="7">
                  <c:v>0</c:v>
                </c:pt>
                <c:pt idx="8">
                  <c:v>0.1</c:v>
                </c:pt>
                <c:pt idx="9">
                  <c:v>0</c:v>
                </c:pt>
                <c:pt idx="10">
                  <c:v>0</c:v>
                </c:pt>
                <c:pt idx="11">
                  <c:v>0</c:v>
                </c:pt>
                <c:pt idx="12">
                  <c:v>0.2</c:v>
                </c:pt>
                <c:pt idx="1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64.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4.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31CE-4FBD-BA58-16D63DA7B478}"/>
                </c:ext>
              </c:extLst>
            </c:dLbl>
            <c:dLbl>
              <c:idx val="5"/>
              <c:tx>
                <c:rich>
                  <a:bodyPr/>
                  <a:lstStyle/>
                  <a:p>
                    <a:r>
                      <a:t>35.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31CE-4FBD-BA58-16D63DA7B478}"/>
                </c:ext>
              </c:extLst>
            </c:dLbl>
            <c:dLbl>
              <c:idx val="6"/>
              <c:tx>
                <c:rich>
                  <a:bodyPr/>
                  <a:lstStyle/>
                  <a:p>
                    <a:r>
                      <a:t>144.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31CE-4FBD-BA58-16D63DA7B47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31CE-4FBD-BA58-16D63DA7B478}"/>
                </c:ext>
              </c:extLst>
            </c:dLbl>
            <c:dLbl>
              <c:idx val="8"/>
              <c:tx>
                <c:rich>
                  <a:bodyPr/>
                  <a:lstStyle/>
                  <a:p>
                    <a:r>
                      <a:t>3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31CE-4FBD-BA58-16D63DA7B478}"/>
                </c:ext>
              </c:extLst>
            </c:dLbl>
            <c:dLbl>
              <c:idx val="9"/>
              <c:tx>
                <c:rich>
                  <a:bodyPr/>
                  <a:lstStyle/>
                  <a:p>
                    <a:r>
                      <a:t>43.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31CE-4FBD-BA58-16D63DA7B478}"/>
                </c:ext>
              </c:extLst>
            </c:dLbl>
            <c:dLbl>
              <c:idx val="10"/>
              <c:tx>
                <c:rich>
                  <a:bodyPr/>
                  <a:lstStyle/>
                  <a:p>
                    <a:r>
                      <a:t>43.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31CE-4FBD-BA58-16D63DA7B478}"/>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31CE-4FBD-BA58-16D63DA7B478}"/>
                </c:ext>
              </c:extLst>
            </c:dLbl>
            <c:dLbl>
              <c:idx val="12"/>
              <c:tx>
                <c:rich>
                  <a:bodyPr/>
                  <a:lstStyle/>
                  <a:p>
                    <a:r>
                      <a:t>1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31CE-4FBD-BA58-16D63DA7B478}"/>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31CE-4FBD-BA58-16D63DA7B47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lvl>
                <c:lvl>
                  <c:pt idx="0">
                    <c:v>Bruts</c:v>
                  </c:pt>
                  <c:pt idx="2">
                    <c:v>Blanc De Blancs</c:v>
                  </c:pt>
                  <c:pt idx="4">
                    <c:v>Rosés</c:v>
                  </c:pt>
                  <c:pt idx="6">
                    <c:v>Millesimes</c:v>
                  </c:pt>
                  <c:pt idx="8">
                    <c:v>Crus</c:v>
                  </c:pt>
                  <c:pt idx="10">
                    <c:v>Extra Brut</c:v>
                  </c:pt>
                  <c:pt idx="12">
                    <c:v>Mousseux Alsace</c:v>
                  </c:pt>
                </c:lvl>
                <c:lvl>
                  <c:pt idx="0">
                    <c:v>Champagnes</c:v>
                  </c:pt>
                  <c:pt idx="12">
                    <c:v>Mousseux</c:v>
                  </c:pt>
                </c:lvl>
              </c:multiLvlStrCache>
            </c:multiLvlStrRef>
          </c:cat>
          <c:val>
            <c:numRef>
              <c:f>Sheet1!$E$2:$E$15</c:f>
              <c:numCache>
                <c:formatCode>General</c:formatCode>
                <c:ptCount val="14"/>
                <c:pt idx="0">
                  <c:v>49.9983</c:v>
                </c:pt>
                <c:pt idx="1">
                  <c:v>28.638400000000001</c:v>
                </c:pt>
                <c:pt idx="2">
                  <c:v>64.121099999999998</c:v>
                </c:pt>
                <c:pt idx="3">
                  <c:v>57.200899999999997</c:v>
                </c:pt>
                <c:pt idx="4">
                  <c:v>64.334999999999994</c:v>
                </c:pt>
                <c:pt idx="5">
                  <c:v>35.692599999999999</c:v>
                </c:pt>
                <c:pt idx="6">
                  <c:v>144.41679999999999</c:v>
                </c:pt>
                <c:pt idx="7">
                  <c:v>0</c:v>
                </c:pt>
                <c:pt idx="8">
                  <c:v>39.542400000000001</c:v>
                </c:pt>
                <c:pt idx="9">
                  <c:v>43.166699999999999</c:v>
                </c:pt>
                <c:pt idx="10">
                  <c:v>43.752200000000002</c:v>
                </c:pt>
                <c:pt idx="11">
                  <c:v>0</c:v>
                </c:pt>
                <c:pt idx="12">
                  <c:v>16.241700000000002</c:v>
                </c:pt>
                <c:pt idx="1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6293-4274-9343-35E3A605C4DB}"/>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11.8</c:v>
                </c:pt>
                <c:pt idx="1">
                  <c:v>1.2</c:v>
                </c:pt>
                <c:pt idx="2">
                  <c:v>2.8</c:v>
                </c:pt>
                <c:pt idx="3">
                  <c:v>0.1</c:v>
                </c:pt>
                <c:pt idx="4">
                  <c:v>1.5</c:v>
                </c:pt>
                <c:pt idx="5">
                  <c:v>0.1</c:v>
                </c:pt>
                <c:pt idx="6">
                  <c:v>1</c:v>
                </c:pt>
                <c:pt idx="7">
                  <c:v>0</c:v>
                </c:pt>
                <c:pt idx="8">
                  <c:v>0.8</c:v>
                </c:pt>
                <c:pt idx="9">
                  <c:v>0</c:v>
                </c:pt>
                <c:pt idx="10">
                  <c:v>0.7</c:v>
                </c:pt>
                <c:pt idx="11">
                  <c:v>0</c:v>
                </c:pt>
                <c:pt idx="12">
                  <c:v>0.5</c:v>
                </c:pt>
                <c:pt idx="13">
                  <c:v>0</c:v>
                </c:pt>
                <c:pt idx="14">
                  <c:v>0.2</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6293-4274-9343-35E3A605C4DB}"/>
                </c:ext>
              </c:extLst>
            </c:dLbl>
            <c:dLbl>
              <c:idx val="5"/>
              <c:tx>
                <c:rich>
                  <a:bodyPr/>
                  <a:lstStyle/>
                  <a:p>
                    <a:r>
                      <a:t>37.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6293-4274-9343-35E3A605C4DB}"/>
                </c:ext>
              </c:extLst>
            </c:dLbl>
            <c:dLbl>
              <c:idx val="6"/>
              <c:tx>
                <c:rich>
                  <a:bodyPr/>
                  <a:lstStyle/>
                  <a:p>
                    <a:r>
                      <a:t>208.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6293-4274-9343-35E3A605C4D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6293-4274-9343-35E3A605C4DB}"/>
                </c:ext>
              </c:extLst>
            </c:dLbl>
            <c:dLbl>
              <c:idx val="8"/>
              <c:tx>
                <c:rich>
                  <a:bodyPr/>
                  <a:lstStyle/>
                  <a:p>
                    <a:r>
                      <a:t>3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6293-4274-9343-35E3A605C4DB}"/>
                </c:ext>
              </c:extLst>
            </c:dLbl>
            <c:dLbl>
              <c:idx val="9"/>
              <c:tx>
                <c:rich>
                  <a:bodyPr/>
                  <a:lstStyle/>
                  <a:p>
                    <a:r>
                      <a:t>43.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6293-4274-9343-35E3A605C4DB}"/>
                </c:ext>
              </c:extLst>
            </c:dLbl>
            <c:dLbl>
              <c:idx val="10"/>
              <c:tx>
                <c:rich>
                  <a:bodyPr/>
                  <a:lstStyle/>
                  <a:p>
                    <a:r>
                      <a:t>44.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6293-4274-9343-35E3A605C4DB}"/>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6293-4274-9343-35E3A605C4DB}"/>
                </c:ext>
              </c:extLst>
            </c:dLbl>
            <c:dLbl>
              <c:idx val="12"/>
              <c:tx>
                <c:rich>
                  <a:bodyPr/>
                  <a:lstStyle/>
                  <a:p>
                    <a:r>
                      <a:t>1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6293-4274-9343-35E3A605C4DB}"/>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6293-4274-9343-35E3A605C4DB}"/>
                </c:ext>
              </c:extLst>
            </c:dLbl>
            <c:dLbl>
              <c:idx val="14"/>
              <c:tx>
                <c:rich>
                  <a:bodyPr/>
                  <a:lstStyle/>
                  <a:p>
                    <a:r>
                      <a:t>15.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6293-4274-9343-35E3A605C4DB}"/>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6293-4274-9343-35E3A605C4D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Millesimes</c:v>
                  </c:pt>
                  <c:pt idx="8">
                    <c:v>Crus</c:v>
                  </c:pt>
                  <c:pt idx="10">
                    <c:v>Extra Brut</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3.777200000000001</c:v>
                </c:pt>
                <c:pt idx="1">
                  <c:v>29.4495</c:v>
                </c:pt>
                <c:pt idx="2">
                  <c:v>103.51739999999999</c:v>
                </c:pt>
                <c:pt idx="3">
                  <c:v>54.569200000000002</c:v>
                </c:pt>
                <c:pt idx="4">
                  <c:v>86.603999999999999</c:v>
                </c:pt>
                <c:pt idx="5">
                  <c:v>37.9148</c:v>
                </c:pt>
                <c:pt idx="6">
                  <c:v>208.25470000000001</c:v>
                </c:pt>
                <c:pt idx="7">
                  <c:v>0</c:v>
                </c:pt>
                <c:pt idx="8">
                  <c:v>39.921300000000002</c:v>
                </c:pt>
                <c:pt idx="9">
                  <c:v>43.948900000000002</c:v>
                </c:pt>
                <c:pt idx="10">
                  <c:v>44.706400000000002</c:v>
                </c:pt>
                <c:pt idx="11">
                  <c:v>0</c:v>
                </c:pt>
                <c:pt idx="12">
                  <c:v>12.002800000000001</c:v>
                </c:pt>
                <c:pt idx="13">
                  <c:v>0</c:v>
                </c:pt>
                <c:pt idx="14">
                  <c:v>15.8344</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2656-477B-BD06-BB230FDAFB7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D$2:$D$19</c:f>
              <c:numCache>
                <c:formatCode>General</c:formatCode>
                <c:ptCount val="18"/>
                <c:pt idx="0">
                  <c:v>6.2</c:v>
                </c:pt>
                <c:pt idx="1">
                  <c:v>0.7</c:v>
                </c:pt>
                <c:pt idx="2">
                  <c:v>1</c:v>
                </c:pt>
                <c:pt idx="3">
                  <c:v>0.1</c:v>
                </c:pt>
                <c:pt idx="4">
                  <c:v>0.6</c:v>
                </c:pt>
                <c:pt idx="5">
                  <c:v>0.1</c:v>
                </c:pt>
                <c:pt idx="6">
                  <c:v>0.4</c:v>
                </c:pt>
                <c:pt idx="7">
                  <c:v>0</c:v>
                </c:pt>
                <c:pt idx="8">
                  <c:v>0.3</c:v>
                </c:pt>
                <c:pt idx="9">
                  <c:v>0</c:v>
                </c:pt>
                <c:pt idx="10">
                  <c:v>0.3</c:v>
                </c:pt>
                <c:pt idx="11">
                  <c:v>0</c:v>
                </c:pt>
                <c:pt idx="12">
                  <c:v>0.2</c:v>
                </c:pt>
                <c:pt idx="13">
                  <c:v>0</c:v>
                </c:pt>
                <c:pt idx="14">
                  <c:v>0.2</c:v>
                </c:pt>
                <c:pt idx="15">
                  <c:v>0</c:v>
                </c:pt>
                <c:pt idx="16">
                  <c:v>0.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656-477B-BD06-BB230FDAFB7C}"/>
                </c:ext>
              </c:extLst>
            </c:dLbl>
            <c:dLbl>
              <c:idx val="5"/>
              <c:tx>
                <c:rich>
                  <a:bodyPr/>
                  <a:lstStyle/>
                  <a:p>
                    <a:r>
                      <a:t>38.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656-477B-BD06-BB230FDAFB7C}"/>
                </c:ext>
              </c:extLst>
            </c:dLbl>
            <c:dLbl>
              <c:idx val="6"/>
              <c:tx>
                <c:rich>
                  <a:bodyPr/>
                  <a:lstStyle/>
                  <a:p>
                    <a:r>
                      <a:t>4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656-477B-BD06-BB230FDAFB7C}"/>
                </c:ext>
              </c:extLst>
            </c:dLbl>
            <c:dLbl>
              <c:idx val="7"/>
              <c:tx>
                <c:rich>
                  <a:bodyPr/>
                  <a:lstStyle/>
                  <a:p>
                    <a:r>
                      <a:t>4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656-477B-BD06-BB230FDAFB7C}"/>
                </c:ext>
              </c:extLst>
            </c:dLbl>
            <c:dLbl>
              <c:idx val="8"/>
              <c:tx>
                <c:rich>
                  <a:bodyPr/>
                  <a:lstStyle/>
                  <a:p>
                    <a:r>
                      <a:t>4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656-477B-BD06-BB230FDAFB7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656-477B-BD06-BB230FDAFB7C}"/>
                </c:ext>
              </c:extLst>
            </c:dLbl>
            <c:dLbl>
              <c:idx val="10"/>
              <c:tx>
                <c:rich>
                  <a:bodyPr/>
                  <a:lstStyle/>
                  <a:p>
                    <a:r>
                      <a:t>17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656-477B-BD06-BB230FDAFB7C}"/>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656-477B-BD06-BB230FDAFB7C}"/>
                </c:ext>
              </c:extLst>
            </c:dLbl>
            <c:dLbl>
              <c:idx val="12"/>
              <c:tx>
                <c:rich>
                  <a:bodyPr/>
                  <a:lstStyle/>
                  <a:p>
                    <a:r>
                      <a:t>1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656-477B-BD06-BB230FDAFB7C}"/>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656-477B-BD06-BB230FDAFB7C}"/>
                </c:ext>
              </c:extLst>
            </c:dLbl>
            <c:dLbl>
              <c:idx val="14"/>
              <c:tx>
                <c:rich>
                  <a:bodyPr/>
                  <a:lstStyle/>
                  <a:p>
                    <a:r>
                      <a:t>15.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656-477B-BD06-BB230FDAFB7C}"/>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656-477B-BD06-BB230FDAFB7C}"/>
                </c:ext>
              </c:extLst>
            </c:dLbl>
            <c:dLbl>
              <c:idx val="16"/>
              <c:tx>
                <c:rich>
                  <a:bodyPr/>
                  <a:lstStyle/>
                  <a:p>
                    <a:r>
                      <a:t>19.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2656-477B-BD06-BB230FDAFB7C}"/>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2656-477B-BD06-BB230FDAFB7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E$2:$E$19</c:f>
              <c:numCache>
                <c:formatCode>General</c:formatCode>
                <c:ptCount val="18"/>
                <c:pt idx="0">
                  <c:v>52.288400000000003</c:v>
                </c:pt>
                <c:pt idx="1">
                  <c:v>29.443300000000001</c:v>
                </c:pt>
                <c:pt idx="2">
                  <c:v>96.4328</c:v>
                </c:pt>
                <c:pt idx="3">
                  <c:v>54.148600000000002</c:v>
                </c:pt>
                <c:pt idx="4">
                  <c:v>71.403099999999995</c:v>
                </c:pt>
                <c:pt idx="5">
                  <c:v>38.486699999999999</c:v>
                </c:pt>
                <c:pt idx="6">
                  <c:v>40.002000000000002</c:v>
                </c:pt>
                <c:pt idx="7">
                  <c:v>43.6907</c:v>
                </c:pt>
                <c:pt idx="8">
                  <c:v>44.6783</c:v>
                </c:pt>
                <c:pt idx="9">
                  <c:v>0</c:v>
                </c:pt>
                <c:pt idx="10">
                  <c:v>172.92179999999999</c:v>
                </c:pt>
                <c:pt idx="11">
                  <c:v>0</c:v>
                </c:pt>
                <c:pt idx="12">
                  <c:v>11.8932</c:v>
                </c:pt>
                <c:pt idx="13">
                  <c:v>0</c:v>
                </c:pt>
                <c:pt idx="14">
                  <c:v>15.3527</c:v>
                </c:pt>
                <c:pt idx="15">
                  <c:v>0</c:v>
                </c:pt>
                <c:pt idx="16">
                  <c:v>19.110700000000001</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C377-479E-80DE-467527B924AF}"/>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D$2:$D$17</c:f>
              <c:numCache>
                <c:formatCode>General</c:formatCode>
                <c:ptCount val="16"/>
                <c:pt idx="0">
                  <c:v>9.4</c:v>
                </c:pt>
                <c:pt idx="1">
                  <c:v>1.1000000000000001</c:v>
                </c:pt>
                <c:pt idx="2">
                  <c:v>1.7</c:v>
                </c:pt>
                <c:pt idx="3">
                  <c:v>0.1</c:v>
                </c:pt>
                <c:pt idx="4">
                  <c:v>0.9</c:v>
                </c:pt>
                <c:pt idx="5">
                  <c:v>0.1</c:v>
                </c:pt>
                <c:pt idx="6">
                  <c:v>0.6</c:v>
                </c:pt>
                <c:pt idx="7">
                  <c:v>0</c:v>
                </c:pt>
                <c:pt idx="8">
                  <c:v>0.5</c:v>
                </c:pt>
                <c:pt idx="9">
                  <c:v>0</c:v>
                </c:pt>
                <c:pt idx="10">
                  <c:v>0.5</c:v>
                </c:pt>
                <c:pt idx="11">
                  <c:v>0</c:v>
                </c:pt>
                <c:pt idx="12">
                  <c:v>0.4</c:v>
                </c:pt>
                <c:pt idx="13">
                  <c:v>0</c:v>
                </c:pt>
                <c:pt idx="14">
                  <c:v>0.3</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5.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C377-479E-80DE-467527B924AF}"/>
                </c:ext>
              </c:extLst>
            </c:dLbl>
            <c:dLbl>
              <c:idx val="5"/>
              <c:tx>
                <c:rich>
                  <a:bodyPr/>
                  <a:lstStyle/>
                  <a:p>
                    <a:r>
                      <a:t>3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C377-479E-80DE-467527B924AF}"/>
                </c:ext>
              </c:extLst>
            </c:dLbl>
            <c:dLbl>
              <c:idx val="6"/>
              <c:tx>
                <c:rich>
                  <a:bodyPr/>
                  <a:lstStyle/>
                  <a:p>
                    <a:r>
                      <a:t>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C377-479E-80DE-467527B924AF}"/>
                </c:ext>
              </c:extLst>
            </c:dLbl>
            <c:dLbl>
              <c:idx val="7"/>
              <c:tx>
                <c:rich>
                  <a:bodyPr/>
                  <a:lstStyle/>
                  <a:p>
                    <a:r>
                      <a:t>4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C377-479E-80DE-467527B924AF}"/>
                </c:ext>
              </c:extLst>
            </c:dLbl>
            <c:dLbl>
              <c:idx val="8"/>
              <c:tx>
                <c:rich>
                  <a:bodyPr/>
                  <a:lstStyle/>
                  <a:p>
                    <a:r>
                      <a:t>4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C377-479E-80DE-467527B924A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C377-479E-80DE-467527B924AF}"/>
                </c:ext>
              </c:extLst>
            </c:dLbl>
            <c:dLbl>
              <c:idx val="10"/>
              <c:tx>
                <c:rich>
                  <a:bodyPr/>
                  <a:lstStyle/>
                  <a:p>
                    <a:r>
                      <a:t>181.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C377-479E-80DE-467527B924AF}"/>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C377-479E-80DE-467527B924AF}"/>
                </c:ext>
              </c:extLst>
            </c:dLbl>
            <c:dLbl>
              <c:idx val="1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C377-479E-80DE-467527B924AF}"/>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C377-479E-80DE-467527B924AF}"/>
                </c:ext>
              </c:extLst>
            </c:dLbl>
            <c:dLbl>
              <c:idx val="14"/>
              <c:tx>
                <c:rich>
                  <a:bodyPr/>
                  <a:lstStyle/>
                  <a:p>
                    <a:r>
                      <a:t>1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C377-479E-80DE-467527B924AF}"/>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C377-479E-80DE-467527B924A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lvl>
                <c:lvl>
                  <c:pt idx="0">
                    <c:v>Bruts</c:v>
                  </c:pt>
                  <c:pt idx="2">
                    <c:v>Blanc De Blancs</c:v>
                  </c:pt>
                  <c:pt idx="4">
                    <c:v>Rosés</c:v>
                  </c:pt>
                  <c:pt idx="6">
                    <c:v>Crus</c:v>
                  </c:pt>
                  <c:pt idx="8">
                    <c:v>Extra Brut</c:v>
                  </c:pt>
                  <c:pt idx="10">
                    <c:v>Millesimes</c:v>
                  </c:pt>
                  <c:pt idx="12">
                    <c:v>Mousseux Italiens</c:v>
                  </c:pt>
                  <c:pt idx="14">
                    <c:v>Mousseux Val De Loire</c:v>
                  </c:pt>
                </c:lvl>
                <c:lvl>
                  <c:pt idx="0">
                    <c:v>Champagnes</c:v>
                  </c:pt>
                  <c:pt idx="12">
                    <c:v>Mousseux</c:v>
                  </c:pt>
                </c:lvl>
              </c:multiLvlStrCache>
            </c:multiLvlStrRef>
          </c:cat>
          <c:val>
            <c:numRef>
              <c:f>Sheet1!$E$2:$E$17</c:f>
              <c:numCache>
                <c:formatCode>General</c:formatCode>
                <c:ptCount val="16"/>
                <c:pt idx="0">
                  <c:v>51.913600000000002</c:v>
                </c:pt>
                <c:pt idx="1">
                  <c:v>29.5412</c:v>
                </c:pt>
                <c:pt idx="2">
                  <c:v>95.071700000000007</c:v>
                </c:pt>
                <c:pt idx="3">
                  <c:v>55.407800000000002</c:v>
                </c:pt>
                <c:pt idx="4">
                  <c:v>71.443700000000007</c:v>
                </c:pt>
                <c:pt idx="5">
                  <c:v>38.719799999999999</c:v>
                </c:pt>
                <c:pt idx="6">
                  <c:v>39.950000000000003</c:v>
                </c:pt>
                <c:pt idx="7">
                  <c:v>43.762900000000002</c:v>
                </c:pt>
                <c:pt idx="8">
                  <c:v>44.064500000000002</c:v>
                </c:pt>
                <c:pt idx="9">
                  <c:v>0</c:v>
                </c:pt>
                <c:pt idx="10">
                  <c:v>181.48410000000001</c:v>
                </c:pt>
                <c:pt idx="11">
                  <c:v>0</c:v>
                </c:pt>
                <c:pt idx="12">
                  <c:v>12.017200000000001</c:v>
                </c:pt>
                <c:pt idx="13">
                  <c:v>0</c:v>
                </c:pt>
                <c:pt idx="14">
                  <c:v>15.5825</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4C47EF-07ED-4562-81E3-C1D65BF059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E663AC-6B69-4D87-8387-3F7D47D0A8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D4C38D-E54F-49C7-832D-E8484FB7B4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F254F0-D16F-49F5-A1EC-62EBC1CC2E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4F7210-EA4C-4D24-BFC6-2760796691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D3AAB9-8303-4AC3-AD13-78E315AAF7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A93FEE-C53C-4B82-B8CE-A0C1C338E9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4BC604-DD1A-46F6-B402-20FF5BC8AD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8.226200000000006</c:v>
                </c:pt>
                <c:pt idx="1">
                  <c:v>39.809199999999997</c:v>
                </c:pt>
                <c:pt idx="2">
                  <c:v>35.308900000000001</c:v>
                </c:pt>
                <c:pt idx="3">
                  <c:v>59.295900000000003</c:v>
                </c:pt>
                <c:pt idx="4">
                  <c:v>46.989800000000002</c:v>
                </c:pt>
                <c:pt idx="5">
                  <c:v>53.581299999999999</c:v>
                </c:pt>
                <c:pt idx="6">
                  <c:v>37.996200000000002</c:v>
                </c:pt>
                <c:pt idx="7">
                  <c:v>76.687899999999999</c:v>
                </c:pt>
              </c:numCache>
            </c:numRef>
          </c:xVal>
          <c:yVal>
            <c:numRef>
              <c:f>Sheet1!$B$2:$B$9</c:f>
              <c:numCache>
                <c:formatCode>General</c:formatCode>
                <c:ptCount val="8"/>
                <c:pt idx="0">
                  <c:v>1.3380000000000001</c:v>
                </c:pt>
                <c:pt idx="1">
                  <c:v>0.56200000000000006</c:v>
                </c:pt>
                <c:pt idx="2">
                  <c:v>0.48299999999999998</c:v>
                </c:pt>
                <c:pt idx="3">
                  <c:v>0.84799999999999998</c:v>
                </c:pt>
                <c:pt idx="4">
                  <c:v>0.63400000000000001</c:v>
                </c:pt>
                <c:pt idx="5">
                  <c:v>0.71599999999999997</c:v>
                </c:pt>
                <c:pt idx="6">
                  <c:v>0.51500000000000001</c:v>
                </c:pt>
                <c:pt idx="7">
                  <c:v>1.0169999999999999</c:v>
                </c:pt>
              </c:numCache>
            </c:numRef>
          </c:yVal>
          <c:bubbleSize>
            <c:numRef>
              <c:f>Sheet1!$C$2:$C$9</c:f>
              <c:numCache>
                <c:formatCode>General</c:formatCode>
                <c:ptCount val="8"/>
                <c:pt idx="0">
                  <c:v>5308144</c:v>
                </c:pt>
                <c:pt idx="1">
                  <c:v>534199</c:v>
                </c:pt>
                <c:pt idx="2">
                  <c:v>450506</c:v>
                </c:pt>
                <c:pt idx="3">
                  <c:v>311422</c:v>
                </c:pt>
                <c:pt idx="4">
                  <c:v>267278</c:v>
                </c:pt>
                <c:pt idx="5">
                  <c:v>198465</c:v>
                </c:pt>
                <c:pt idx="6">
                  <c:v>181508</c:v>
                </c:pt>
                <c:pt idx="7">
                  <c:v>16119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Malard</c:v>
                  </c:pt>
                  <c:pt idx="3">
                    <c:v>Besserat De Bellefon</c:v>
                  </c:pt>
                  <c:pt idx="4">
                    <c:v>Henriot</c:v>
                  </c:pt>
                  <c:pt idx="5">
                    <c:v>Delamotte</c:v>
                  </c:pt>
                  <c:pt idx="6">
                    <c:v>De Bligny</c:v>
                  </c:pt>
                  <c:pt idx="7">
                    <c:v>Aya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
          <c:min val="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713E-438D-9CAA-4B2D0F4CF430}"/>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Bourgogne</c:v>
                  </c:pt>
                </c:lvl>
                <c:lvl>
                  <c:pt idx="0">
                    <c:v>Champagnes</c:v>
                  </c:pt>
                  <c:pt idx="12">
                    <c:v>Mousseux</c:v>
                  </c:pt>
                </c:lvl>
              </c:multiLvlStrCache>
            </c:multiLvlStrRef>
          </c:cat>
          <c:val>
            <c:numRef>
              <c:f>Sheet1!$D$2:$D$19</c:f>
              <c:numCache>
                <c:formatCode>General</c:formatCode>
                <c:ptCount val="18"/>
                <c:pt idx="0">
                  <c:v>7.6</c:v>
                </c:pt>
                <c:pt idx="1">
                  <c:v>0.8</c:v>
                </c:pt>
                <c:pt idx="2">
                  <c:v>1.4</c:v>
                </c:pt>
                <c:pt idx="3">
                  <c:v>0.1</c:v>
                </c:pt>
                <c:pt idx="4">
                  <c:v>0.7</c:v>
                </c:pt>
                <c:pt idx="5">
                  <c:v>0.1</c:v>
                </c:pt>
                <c:pt idx="6">
                  <c:v>0.6</c:v>
                </c:pt>
                <c:pt idx="7">
                  <c:v>0</c:v>
                </c:pt>
                <c:pt idx="8">
                  <c:v>0.4</c:v>
                </c:pt>
                <c:pt idx="9">
                  <c:v>0</c:v>
                </c:pt>
                <c:pt idx="10">
                  <c:v>0.4</c:v>
                </c:pt>
                <c:pt idx="11">
                  <c:v>0</c:v>
                </c:pt>
                <c:pt idx="12">
                  <c:v>0.3</c:v>
                </c:pt>
                <c:pt idx="13">
                  <c:v>0</c:v>
                </c:pt>
                <c:pt idx="14">
                  <c:v>0.2</c:v>
                </c:pt>
                <c:pt idx="15">
                  <c:v>0</c:v>
                </c:pt>
                <c:pt idx="16">
                  <c:v>0.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70.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13E-438D-9CAA-4B2D0F4CF430}"/>
                </c:ext>
              </c:extLst>
            </c:dLbl>
            <c:dLbl>
              <c:idx val="5"/>
              <c:tx>
                <c:rich>
                  <a:bodyPr/>
                  <a:lstStyle/>
                  <a:p>
                    <a:r>
                      <a:t>3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13E-438D-9CAA-4B2D0F4CF430}"/>
                </c:ext>
              </c:extLst>
            </c:dLbl>
            <c:dLbl>
              <c:idx val="6"/>
              <c:tx>
                <c:rich>
                  <a:bodyPr/>
                  <a:lstStyle/>
                  <a:p>
                    <a:r>
                      <a:t>40.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13E-438D-9CAA-4B2D0F4CF430}"/>
                </c:ext>
              </c:extLst>
            </c:dLbl>
            <c:dLbl>
              <c:idx val="7"/>
              <c:tx>
                <c:rich>
                  <a:bodyPr/>
                  <a:lstStyle/>
                  <a:p>
                    <a:r>
                      <a:t>4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13E-438D-9CAA-4B2D0F4CF430}"/>
                </c:ext>
              </c:extLst>
            </c:dLbl>
            <c:dLbl>
              <c:idx val="8"/>
              <c:tx>
                <c:rich>
                  <a:bodyPr/>
                  <a:lstStyle/>
                  <a:p>
                    <a:r>
                      <a:t>4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13E-438D-9CAA-4B2D0F4CF43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13E-438D-9CAA-4B2D0F4CF430}"/>
                </c:ext>
              </c:extLst>
            </c:dLbl>
            <c:dLbl>
              <c:idx val="10"/>
              <c:tx>
                <c:rich>
                  <a:bodyPr/>
                  <a:lstStyle/>
                  <a:p>
                    <a:r>
                      <a:t>16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13E-438D-9CAA-4B2D0F4CF430}"/>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13E-438D-9CAA-4B2D0F4CF430}"/>
                </c:ext>
              </c:extLst>
            </c:dLbl>
            <c:dLbl>
              <c:idx val="12"/>
              <c:tx>
                <c:rich>
                  <a:bodyPr/>
                  <a:lstStyle/>
                  <a:p>
                    <a:r>
                      <a:t>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713E-438D-9CAA-4B2D0F4CF430}"/>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13E-438D-9CAA-4B2D0F4CF430}"/>
                </c:ext>
              </c:extLst>
            </c:dLbl>
            <c:dLbl>
              <c:idx val="14"/>
              <c:tx>
                <c:rich>
                  <a:bodyPr/>
                  <a:lstStyle/>
                  <a:p>
                    <a:r>
                      <a:t>15.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13E-438D-9CAA-4B2D0F4CF430}"/>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13E-438D-9CAA-4B2D0F4CF430}"/>
                </c:ext>
              </c:extLst>
            </c:dLbl>
            <c:dLbl>
              <c:idx val="16"/>
              <c:tx>
                <c:rich>
                  <a:bodyPr/>
                  <a:lstStyle/>
                  <a:p>
                    <a:r>
                      <a:t>17.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13E-438D-9CAA-4B2D0F4CF430}"/>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13E-438D-9CAA-4B2D0F4CF43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Bourgogne</c:v>
                  </c:pt>
                </c:lvl>
                <c:lvl>
                  <c:pt idx="0">
                    <c:v>Champagnes</c:v>
                  </c:pt>
                  <c:pt idx="12">
                    <c:v>Mousseux</c:v>
                  </c:pt>
                </c:lvl>
              </c:multiLvlStrCache>
            </c:multiLvlStrRef>
          </c:cat>
          <c:val>
            <c:numRef>
              <c:f>Sheet1!$E$2:$E$19</c:f>
              <c:numCache>
                <c:formatCode>General</c:formatCode>
                <c:ptCount val="18"/>
                <c:pt idx="0">
                  <c:v>52.087000000000003</c:v>
                </c:pt>
                <c:pt idx="1">
                  <c:v>29.7624</c:v>
                </c:pt>
                <c:pt idx="2">
                  <c:v>96.240099999999998</c:v>
                </c:pt>
                <c:pt idx="3">
                  <c:v>54.806699999999999</c:v>
                </c:pt>
                <c:pt idx="4">
                  <c:v>70.820599999999999</c:v>
                </c:pt>
                <c:pt idx="5">
                  <c:v>38.188899999999997</c:v>
                </c:pt>
                <c:pt idx="6">
                  <c:v>40.056399999999996</c:v>
                </c:pt>
                <c:pt idx="7">
                  <c:v>42.754899999999999</c:v>
                </c:pt>
                <c:pt idx="8">
                  <c:v>44.022100000000002</c:v>
                </c:pt>
                <c:pt idx="9">
                  <c:v>0</c:v>
                </c:pt>
                <c:pt idx="10">
                  <c:v>169.0966</c:v>
                </c:pt>
                <c:pt idx="11">
                  <c:v>0</c:v>
                </c:pt>
                <c:pt idx="12">
                  <c:v>11.9002</c:v>
                </c:pt>
                <c:pt idx="13">
                  <c:v>0</c:v>
                </c:pt>
                <c:pt idx="14">
                  <c:v>15.480499999999999</c:v>
                </c:pt>
                <c:pt idx="15">
                  <c:v>0</c:v>
                </c:pt>
                <c:pt idx="16">
                  <c:v>17.416399999999999</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AEABAB"/>
              </a:solidFill>
              <a:ln>
                <a:noFill/>
              </a:ln>
              <a:effectLst/>
            </c:spPr>
            <c:extLst>
              <c:ext xmlns:c16="http://schemas.microsoft.com/office/drawing/2014/chart" uri="{C3380CC4-5D6E-409C-BE32-E72D297353CC}">
                <c16:uniqueId val="{00000029-F91E-46F1-BB7C-5F255362F1A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D$2:$D$19</c:f>
              <c:numCache>
                <c:formatCode>General</c:formatCode>
                <c:ptCount val="18"/>
                <c:pt idx="0">
                  <c:v>6.9</c:v>
                </c:pt>
                <c:pt idx="1">
                  <c:v>0.8</c:v>
                </c:pt>
                <c:pt idx="2">
                  <c:v>1.3</c:v>
                </c:pt>
                <c:pt idx="3">
                  <c:v>0.1</c:v>
                </c:pt>
                <c:pt idx="4">
                  <c:v>0.6</c:v>
                </c:pt>
                <c:pt idx="5">
                  <c:v>0.1</c:v>
                </c:pt>
                <c:pt idx="6">
                  <c:v>0.5</c:v>
                </c:pt>
                <c:pt idx="7">
                  <c:v>0</c:v>
                </c:pt>
                <c:pt idx="8">
                  <c:v>0.3</c:v>
                </c:pt>
                <c:pt idx="9">
                  <c:v>0</c:v>
                </c:pt>
                <c:pt idx="10">
                  <c:v>0.3</c:v>
                </c:pt>
                <c:pt idx="11">
                  <c:v>0</c:v>
                </c:pt>
                <c:pt idx="12">
                  <c:v>0.3</c:v>
                </c:pt>
                <c:pt idx="13">
                  <c:v>0</c:v>
                </c:pt>
                <c:pt idx="14">
                  <c:v>0.2</c:v>
                </c:pt>
                <c:pt idx="15">
                  <c:v>0</c:v>
                </c:pt>
                <c:pt idx="16">
                  <c:v>0.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9.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9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6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F91E-46F1-BB7C-5F255362F1AC}"/>
                </c:ext>
              </c:extLst>
            </c:dLbl>
            <c:dLbl>
              <c:idx val="5"/>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F91E-46F1-BB7C-5F255362F1AC}"/>
                </c:ext>
              </c:extLst>
            </c:dLbl>
            <c:dLbl>
              <c:idx val="6"/>
              <c:tx>
                <c:rich>
                  <a:bodyPr/>
                  <a:lstStyle/>
                  <a:p>
                    <a:r>
                      <a:t>4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F91E-46F1-BB7C-5F255362F1AC}"/>
                </c:ext>
              </c:extLst>
            </c:dLbl>
            <c:dLbl>
              <c:idx val="7"/>
              <c:tx>
                <c:rich>
                  <a:bodyPr/>
                  <a:lstStyle/>
                  <a:p>
                    <a:r>
                      <a:t>4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F91E-46F1-BB7C-5F255362F1AC}"/>
                </c:ext>
              </c:extLst>
            </c:dLbl>
            <c:dLbl>
              <c:idx val="8"/>
              <c:tx>
                <c:rich>
                  <a:bodyPr/>
                  <a:lstStyle/>
                  <a:p>
                    <a:r>
                      <a:t>44.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F91E-46F1-BB7C-5F255362F1A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F91E-46F1-BB7C-5F255362F1AC}"/>
                </c:ext>
              </c:extLst>
            </c:dLbl>
            <c:dLbl>
              <c:idx val="10"/>
              <c:tx>
                <c:rich>
                  <a:bodyPr/>
                  <a:lstStyle/>
                  <a:p>
                    <a:r>
                      <a:t>139.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F91E-46F1-BB7C-5F255362F1AC}"/>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F91E-46F1-BB7C-5F255362F1AC}"/>
                </c:ext>
              </c:extLst>
            </c:dLbl>
            <c:dLbl>
              <c:idx val="12"/>
              <c:tx>
                <c:rich>
                  <a:bodyPr/>
                  <a:lstStyle/>
                  <a:p>
                    <a:r>
                      <a:t>1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F91E-46F1-BB7C-5F255362F1AC}"/>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F91E-46F1-BB7C-5F255362F1AC}"/>
                </c:ext>
              </c:extLst>
            </c:dLbl>
            <c:dLbl>
              <c:idx val="1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F91E-46F1-BB7C-5F255362F1AC}"/>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F91E-46F1-BB7C-5F255362F1AC}"/>
                </c:ext>
              </c:extLst>
            </c:dLbl>
            <c:dLbl>
              <c:idx val="16"/>
              <c:tx>
                <c:rich>
                  <a:bodyPr/>
                  <a:lstStyle/>
                  <a:p>
                    <a:r>
                      <a:t>19.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F91E-46F1-BB7C-5F255362F1AC}"/>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F91E-46F1-BB7C-5F255362F1A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Nicolas</c:v>
                  </c:pt>
                  <c:pt idx="2">
                    <c:v>Total</c:v>
                  </c:pt>
                  <c:pt idx="3">
                    <c:v>Nicolas</c:v>
                  </c:pt>
                  <c:pt idx="4">
                    <c:v>Total</c:v>
                  </c:pt>
                  <c:pt idx="5">
                    <c:v>Nicolas</c:v>
                  </c:pt>
                  <c:pt idx="6">
                    <c:v>Total</c:v>
                  </c:pt>
                  <c:pt idx="7">
                    <c:v>Nicolas</c:v>
                  </c:pt>
                  <c:pt idx="8">
                    <c:v>Total</c:v>
                  </c:pt>
                  <c:pt idx="9">
                    <c:v>Nicolas</c:v>
                  </c:pt>
                  <c:pt idx="10">
                    <c:v>Total</c:v>
                  </c:pt>
                  <c:pt idx="11">
                    <c:v>Nicolas</c:v>
                  </c:pt>
                  <c:pt idx="12">
                    <c:v>Total</c:v>
                  </c:pt>
                  <c:pt idx="13">
                    <c:v>Nicolas</c:v>
                  </c:pt>
                  <c:pt idx="14">
                    <c:v>Total</c:v>
                  </c:pt>
                  <c:pt idx="15">
                    <c:v>Nicolas</c:v>
                  </c:pt>
                  <c:pt idx="16">
                    <c:v>Total</c:v>
                  </c:pt>
                  <c:pt idx="17">
                    <c:v>Nicolas</c:v>
                  </c:pt>
                </c:lvl>
                <c:lvl>
                  <c:pt idx="0">
                    <c:v>Bruts</c:v>
                  </c:pt>
                  <c:pt idx="2">
                    <c:v>Blanc De Blancs</c:v>
                  </c:pt>
                  <c:pt idx="4">
                    <c:v>Rosés</c:v>
                  </c:pt>
                  <c:pt idx="6">
                    <c:v>Crus</c:v>
                  </c:pt>
                  <c:pt idx="8">
                    <c:v>Extra Brut</c:v>
                  </c:pt>
                  <c:pt idx="10">
                    <c:v>Millesimes</c:v>
                  </c:pt>
                  <c:pt idx="12">
                    <c:v>Mousseux Italiens</c:v>
                  </c:pt>
                  <c:pt idx="14">
                    <c:v>Mousseux Val De Loire</c:v>
                  </c:pt>
                  <c:pt idx="16">
                    <c:v>Mousseux Alsace</c:v>
                  </c:pt>
                </c:lvl>
                <c:lvl>
                  <c:pt idx="0">
                    <c:v>Champagnes</c:v>
                  </c:pt>
                  <c:pt idx="12">
                    <c:v>Mousseux</c:v>
                  </c:pt>
                </c:lvl>
              </c:multiLvlStrCache>
            </c:multiLvlStrRef>
          </c:cat>
          <c:val>
            <c:numRef>
              <c:f>Sheet1!$E$2:$E$19</c:f>
              <c:numCache>
                <c:formatCode>General</c:formatCode>
                <c:ptCount val="18"/>
                <c:pt idx="0">
                  <c:v>51.553199999999997</c:v>
                </c:pt>
                <c:pt idx="1">
                  <c:v>29.5824</c:v>
                </c:pt>
                <c:pt idx="2">
                  <c:v>91.7941</c:v>
                </c:pt>
                <c:pt idx="3">
                  <c:v>54.840200000000003</c:v>
                </c:pt>
                <c:pt idx="4">
                  <c:v>69.801000000000002</c:v>
                </c:pt>
                <c:pt idx="5">
                  <c:v>37.558</c:v>
                </c:pt>
                <c:pt idx="6">
                  <c:v>40.034799999999997</c:v>
                </c:pt>
                <c:pt idx="7">
                  <c:v>42.422400000000003</c:v>
                </c:pt>
                <c:pt idx="8">
                  <c:v>44.418100000000003</c:v>
                </c:pt>
                <c:pt idx="9">
                  <c:v>0</c:v>
                </c:pt>
                <c:pt idx="10">
                  <c:v>139.68</c:v>
                </c:pt>
                <c:pt idx="11">
                  <c:v>0</c:v>
                </c:pt>
                <c:pt idx="12">
                  <c:v>11.7942</c:v>
                </c:pt>
                <c:pt idx="13">
                  <c:v>0</c:v>
                </c:pt>
                <c:pt idx="14">
                  <c:v>15.0991</c:v>
                </c:pt>
                <c:pt idx="15">
                  <c:v>0</c:v>
                </c:pt>
                <c:pt idx="16">
                  <c:v>19.282299999999999</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3E97-4E2C-A662-FE184997CBC4}"/>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Mousseux</c:v>
                  </c:pt>
                  <c:pt idx="2">
                    <c:v>Champagnes</c:v>
                  </c:pt>
                  <c:pt idx="4">
                    <c:v>Effervescents Sans Alcool</c:v>
                  </c:pt>
                </c:lvl>
              </c:multiLvlStrCache>
            </c:multiLvlStrRef>
          </c:cat>
          <c:val>
            <c:numRef>
              <c:f>Sheet1!$C$2:$C$7</c:f>
              <c:numCache>
                <c:formatCode>General</c:formatCode>
                <c:ptCount val="6"/>
                <c:pt idx="0">
                  <c:v>574.1</c:v>
                </c:pt>
                <c:pt idx="1">
                  <c:v>0</c:v>
                </c:pt>
                <c:pt idx="2">
                  <c:v>567.1</c:v>
                </c:pt>
                <c:pt idx="3">
                  <c:v>5.7</c:v>
                </c:pt>
                <c:pt idx="4">
                  <c:v>23.8</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3E97-4E2C-A662-FE184997CBC4}"/>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3E97-4E2C-A662-FE184997CBC4}"/>
                </c:ext>
              </c:extLst>
            </c:dLbl>
            <c:dLbl>
              <c:idx val="2"/>
              <c:tx>
                <c:rich>
                  <a:bodyPr/>
                  <a:lstStyle/>
                  <a:p>
                    <a:r>
                      <a:t>28.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E97-4E2C-A662-FE184997CBC4}"/>
                </c:ext>
              </c:extLst>
            </c:dLbl>
            <c:dLbl>
              <c:idx val="3"/>
              <c:tx>
                <c:rich>
                  <a:bodyPr/>
                  <a:lstStyle/>
                  <a:p>
                    <a:r>
                      <a:t>3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E97-4E2C-A662-FE184997CBC4}"/>
                </c:ext>
              </c:extLst>
            </c:dLbl>
            <c:dLbl>
              <c:idx val="4"/>
              <c:tx>
                <c:rich>
                  <a:bodyPr/>
                  <a:lstStyle/>
                  <a:p>
                    <a:r>
                      <a:t>5.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E97-4E2C-A662-FE184997CBC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E97-4E2C-A662-FE184997CBC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Mousseux</c:v>
                  </c:pt>
                  <c:pt idx="2">
                    <c:v>Champagnes</c:v>
                  </c:pt>
                  <c:pt idx="4">
                    <c:v>Effervescents Sans Alcool</c:v>
                  </c:pt>
                </c:lvl>
              </c:multiLvlStrCache>
            </c:multiLvlStrRef>
          </c:cat>
          <c:val>
            <c:numRef>
              <c:f>Sheet1!$D$2:$D$7</c:f>
              <c:numCache>
                <c:formatCode>General</c:formatCode>
                <c:ptCount val="6"/>
                <c:pt idx="0">
                  <c:v>5.1007999999999996</c:v>
                </c:pt>
                <c:pt idx="1">
                  <c:v>0</c:v>
                </c:pt>
                <c:pt idx="2">
                  <c:v>28.0685</c:v>
                </c:pt>
                <c:pt idx="3">
                  <c:v>31.603300000000001</c:v>
                </c:pt>
                <c:pt idx="4">
                  <c:v>5.1375000000000002</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D028-41E9-A76F-720597AF94A4}"/>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62.9</c:v>
                </c:pt>
                <c:pt idx="1">
                  <c:v>5.7</c:v>
                </c:pt>
                <c:pt idx="2">
                  <c:v>4.3</c:v>
                </c:pt>
                <c:pt idx="3">
                  <c:v>0</c:v>
                </c:pt>
                <c:pt idx="4">
                  <c:v>0.7</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7.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028-41E9-A76F-720597AF94A4}"/>
                </c:ext>
              </c:extLst>
            </c:dLbl>
            <c:dLbl>
              <c:idx val="1"/>
              <c:tx>
                <c:rich>
                  <a:bodyPr/>
                  <a:lstStyle/>
                  <a:p>
                    <a:r>
                      <a:t>3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028-41E9-A76F-720597AF94A4}"/>
                </c:ext>
              </c:extLst>
            </c:dLbl>
            <c:dLbl>
              <c:idx val="2"/>
              <c:tx>
                <c:rich>
                  <a:bodyPr/>
                  <a:lstStyle/>
                  <a:p>
                    <a:r>
                      <a:t>14.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028-41E9-A76F-720597AF94A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028-41E9-A76F-720597AF94A4}"/>
                </c:ext>
              </c:extLst>
            </c:dLbl>
            <c:dLbl>
              <c:idx val="4"/>
              <c:tx>
                <c:rich>
                  <a:bodyPr/>
                  <a:lstStyle/>
                  <a:p>
                    <a:r>
                      <a:t>2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028-41E9-A76F-720597AF94A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028-41E9-A76F-720597AF94A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7.546900000000001</c:v>
                </c:pt>
                <c:pt idx="1">
                  <c:v>31.633600000000001</c:v>
                </c:pt>
                <c:pt idx="2">
                  <c:v>14.0893</c:v>
                </c:pt>
                <c:pt idx="3">
                  <c:v>0</c:v>
                </c:pt>
                <c:pt idx="4">
                  <c:v>23.07989999999999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6E2-465B-AF21-3E54172320F9}"/>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27.1</c:v>
                </c:pt>
                <c:pt idx="1">
                  <c:v>2.5</c:v>
                </c:pt>
                <c:pt idx="2">
                  <c:v>2.1</c:v>
                </c:pt>
                <c:pt idx="3">
                  <c:v>0</c:v>
                </c:pt>
                <c:pt idx="4">
                  <c:v>0.3</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6E2-465B-AF21-3E54172320F9}"/>
                </c:ext>
              </c:extLst>
            </c:dLbl>
            <c:dLbl>
              <c:idx val="1"/>
              <c:tx>
                <c:rich>
                  <a:bodyPr/>
                  <a:lstStyle/>
                  <a:p>
                    <a:r>
                      <a:t>31.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6E2-465B-AF21-3E54172320F9}"/>
                </c:ext>
              </c:extLst>
            </c:dLbl>
            <c:dLbl>
              <c:idx val="2"/>
              <c:tx>
                <c:rich>
                  <a:bodyPr/>
                  <a:lstStyle/>
                  <a:p>
                    <a:r>
                      <a:t>1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6E2-465B-AF21-3E54172320F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6E2-465B-AF21-3E54172320F9}"/>
                </c:ext>
              </c:extLst>
            </c:dLbl>
            <c:dLbl>
              <c:idx val="4"/>
              <c:tx>
                <c:rich>
                  <a:bodyPr/>
                  <a:lstStyle/>
                  <a:p>
                    <a:r>
                      <a:t>23.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6E2-465B-AF21-3E54172320F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6E2-465B-AF21-3E54172320F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5.727899999999998</c:v>
                </c:pt>
                <c:pt idx="1">
                  <c:v>31.6877</c:v>
                </c:pt>
                <c:pt idx="2">
                  <c:v>14.055899999999999</c:v>
                </c:pt>
                <c:pt idx="3">
                  <c:v>0</c:v>
                </c:pt>
                <c:pt idx="4">
                  <c:v>23.02489999999999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12.2</c:v>
                </c:pt>
                <c:pt idx="1">
                  <c:v>1.3</c:v>
                </c:pt>
                <c:pt idx="2">
                  <c:v>0.8</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349-4B72-8B22-66D7C4480B04}"/>
                </c:ext>
              </c:extLst>
            </c:dLbl>
            <c:dLbl>
              <c:idx val="1"/>
              <c:tx>
                <c:rich>
                  <a:bodyPr/>
                  <a:lstStyle/>
                  <a:p>
                    <a:r>
                      <a:t>31.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349-4B72-8B22-66D7C4480B04}"/>
                </c:ext>
              </c:extLst>
            </c:dLbl>
            <c:dLbl>
              <c:idx val="2"/>
              <c:tx>
                <c:rich>
                  <a:bodyPr/>
                  <a:lstStyle/>
                  <a:p>
                    <a:r>
                      <a:t>14.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349-4B72-8B22-66D7C4480B0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349-4B72-8B22-66D7C4480B0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55.716000000000001</c:v>
                </c:pt>
                <c:pt idx="1">
                  <c:v>31.645600000000002</c:v>
                </c:pt>
                <c:pt idx="2">
                  <c:v>14.08200000000000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7.6</c:v>
                </c:pt>
                <c:pt idx="1">
                  <c:v>0.6</c:v>
                </c:pt>
                <c:pt idx="2">
                  <c:v>0.5</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BF09-4C7E-8F70-7792C40EF53E}"/>
                </c:ext>
              </c:extLst>
            </c:dLbl>
            <c:dLbl>
              <c:idx val="1"/>
              <c:tx>
                <c:rich>
                  <a:bodyPr/>
                  <a:lstStyle/>
                  <a:p>
                    <a:r>
                      <a:t>31.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F09-4C7E-8F70-7792C40EF53E}"/>
                </c:ext>
              </c:extLst>
            </c:dLbl>
            <c:dLbl>
              <c:idx val="2"/>
              <c:tx>
                <c:rich>
                  <a:bodyPr/>
                  <a:lstStyle/>
                  <a:p>
                    <a:r>
                      <a:t>14.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BF09-4C7E-8F70-7792C40EF53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F09-4C7E-8F70-7792C40EF53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59.992100000000001</c:v>
                </c:pt>
                <c:pt idx="1">
                  <c:v>31.608499999999999</c:v>
                </c:pt>
                <c:pt idx="2">
                  <c:v>14.4686</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5.4</c:v>
                </c:pt>
                <c:pt idx="1">
                  <c:v>0.3</c:v>
                </c:pt>
                <c:pt idx="2">
                  <c:v>0.2</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4.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5836-46C9-8FBE-018478131361}"/>
                </c:ext>
              </c:extLst>
            </c:dLbl>
            <c:dLbl>
              <c:idx val="1"/>
              <c:tx>
                <c:rich>
                  <a:bodyPr/>
                  <a:lstStyle/>
                  <a:p>
                    <a:r>
                      <a:t>3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5836-46C9-8FBE-018478131361}"/>
                </c:ext>
              </c:extLst>
            </c:dLbl>
            <c:dLbl>
              <c:idx val="2"/>
              <c:tx>
                <c:rich>
                  <a:bodyPr/>
                  <a:lstStyle/>
                  <a:p>
                    <a:r>
                      <a:t>1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836-46C9-8FBE-018478131361}"/>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836-46C9-8FBE-01847813136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64.910399999999996</c:v>
                </c:pt>
                <c:pt idx="1">
                  <c:v>31.7425</c:v>
                </c:pt>
                <c:pt idx="2">
                  <c:v>14.25580000000000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3.2</c:v>
                </c:pt>
                <c:pt idx="1">
                  <c:v>0.2</c:v>
                </c:pt>
                <c:pt idx="2">
                  <c:v>0.2</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DD06-4A88-A066-80C162EC35A3}"/>
                </c:ext>
              </c:extLst>
            </c:dLbl>
            <c:dLbl>
              <c:idx val="1"/>
              <c:tx>
                <c:rich>
                  <a:bodyPr/>
                  <a:lstStyle/>
                  <a:p>
                    <a:r>
                      <a:t>31.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DD06-4A88-A066-80C162EC35A3}"/>
                </c:ext>
              </c:extLst>
            </c:dLbl>
            <c:dLbl>
              <c:idx val="2"/>
              <c:tx>
                <c:rich>
                  <a:bodyPr/>
                  <a:lstStyle/>
                  <a:p>
                    <a:r>
                      <a:t>13.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D06-4A88-A066-80C162EC35A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D06-4A88-A066-80C162EC35A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62.505899999999997</c:v>
                </c:pt>
                <c:pt idx="1">
                  <c:v>31.761099999999999</c:v>
                </c:pt>
                <c:pt idx="2">
                  <c:v>13.75050000000000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6BA-4F54-A742-EBF16683C547}"/>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43.7</c:v>
                </c:pt>
                <c:pt idx="1">
                  <c:v>3.8</c:v>
                </c:pt>
                <c:pt idx="2">
                  <c:v>2.7</c:v>
                </c:pt>
                <c:pt idx="3">
                  <c:v>0</c:v>
                </c:pt>
                <c:pt idx="4">
                  <c:v>0.5</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7.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6BA-4F54-A742-EBF16683C547}"/>
                </c:ext>
              </c:extLst>
            </c:dLbl>
            <c:dLbl>
              <c:idx val="1"/>
              <c:tx>
                <c:rich>
                  <a:bodyPr/>
                  <a:lstStyle/>
                  <a:p>
                    <a:r>
                      <a:t>31.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6BA-4F54-A742-EBF16683C547}"/>
                </c:ext>
              </c:extLst>
            </c:dLbl>
            <c:dLbl>
              <c:idx val="2"/>
              <c:tx>
                <c:rich>
                  <a:bodyPr/>
                  <a:lstStyle/>
                  <a:p>
                    <a:r>
                      <a:t>1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6BA-4F54-A742-EBF16683C54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6BA-4F54-A742-EBF16683C547}"/>
                </c:ext>
              </c:extLst>
            </c:dLbl>
            <c:dLbl>
              <c:idx val="4"/>
              <c:tx>
                <c:rich>
                  <a:bodyPr/>
                  <a:lstStyle/>
                  <a:p>
                    <a:r>
                      <a:t>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6BA-4F54-A742-EBF16683C54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6BA-4F54-A742-EBF16683C54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7.671999999999997</c:v>
                </c:pt>
                <c:pt idx="1">
                  <c:v>31.663</c:v>
                </c:pt>
                <c:pt idx="2">
                  <c:v>14.1342</c:v>
                </c:pt>
                <c:pt idx="3">
                  <c:v>0</c:v>
                </c:pt>
                <c:pt idx="4">
                  <c:v>23.398599999999998</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447C2BF-EDEB-4E15-BF79-10B7F42BCE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2948854-BA08-4B4C-BFCA-F8091C3BF1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27BC034-3970-4345-B6E6-1BDA5F875E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883D857-47E4-4FDB-B68F-7F6F1E11A6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AE7D641-6088-4469-9F56-8D3297E9EB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EB990BD-F579-47AE-AE44-7E5CB8864F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E16248A-8CF4-4426-9138-42103A7DF0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809925F-556B-450C-BB77-BC41FBF04B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5593</c:v>
                </c:pt>
                <c:pt idx="1">
                  <c:v>22.207599999999999</c:v>
                </c:pt>
                <c:pt idx="2">
                  <c:v>48.483199999999997</c:v>
                </c:pt>
                <c:pt idx="3">
                  <c:v>49.057299999999998</c:v>
                </c:pt>
                <c:pt idx="4">
                  <c:v>29.282399999999999</c:v>
                </c:pt>
                <c:pt idx="5">
                  <c:v>37.173099999999998</c:v>
                </c:pt>
                <c:pt idx="6">
                  <c:v>30.305599999999998</c:v>
                </c:pt>
                <c:pt idx="7">
                  <c:v>52.314700000000002</c:v>
                </c:pt>
              </c:numCache>
            </c:numRef>
          </c:xVal>
          <c:yVal>
            <c:numRef>
              <c:f>Sheet1!$B$2:$B$9</c:f>
              <c:numCache>
                <c:formatCode>General</c:formatCode>
                <c:ptCount val="8"/>
                <c:pt idx="0">
                  <c:v>1.4390000000000001</c:v>
                </c:pt>
                <c:pt idx="1">
                  <c:v>0.56299999999999994</c:v>
                </c:pt>
                <c:pt idx="2">
                  <c:v>1.1859999999999999</c:v>
                </c:pt>
                <c:pt idx="3">
                  <c:v>1.0980000000000001</c:v>
                </c:pt>
                <c:pt idx="4">
                  <c:v>0.74399999999999999</c:v>
                </c:pt>
                <c:pt idx="5">
                  <c:v>0.94499999999999995</c:v>
                </c:pt>
                <c:pt idx="6">
                  <c:v>0.79200000000000004</c:v>
                </c:pt>
                <c:pt idx="7">
                  <c:v>1.1599999999999999</c:v>
                </c:pt>
              </c:numCache>
            </c:numRef>
          </c:yVal>
          <c:bubbleSize>
            <c:numRef>
              <c:f>Sheet1!$C$2:$C$9</c:f>
              <c:numCache>
                <c:formatCode>General</c:formatCode>
                <c:ptCount val="8"/>
                <c:pt idx="0">
                  <c:v>8876227</c:v>
                </c:pt>
                <c:pt idx="1">
                  <c:v>4648693</c:v>
                </c:pt>
                <c:pt idx="2">
                  <c:v>4269285</c:v>
                </c:pt>
                <c:pt idx="3">
                  <c:v>2622261</c:v>
                </c:pt>
                <c:pt idx="4">
                  <c:v>2092464</c:v>
                </c:pt>
                <c:pt idx="5">
                  <c:v>1761075</c:v>
                </c:pt>
                <c:pt idx="6">
                  <c:v>1729845</c:v>
                </c:pt>
                <c:pt idx="7">
                  <c:v>1639753</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Heidsieck &amp; Co Monopole</c:v>
                  </c:pt>
                  <c:pt idx="5">
                    <c:v>Ayala</c:v>
                  </c:pt>
                  <c:pt idx="6">
                    <c:v>Canard Duchêne</c:v>
                  </c:pt>
                  <c:pt idx="7">
                    <c:v>Taitting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6.3</c:v>
                </c:pt>
                <c:pt idx="1">
                  <c:v>0.6</c:v>
                </c:pt>
                <c:pt idx="2">
                  <c:v>0.3</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FE1-4C32-9851-47D9D9B5D2CF}"/>
                </c:ext>
              </c:extLst>
            </c:dLbl>
            <c:dLbl>
              <c:idx val="1"/>
              <c:tx>
                <c:rich>
                  <a:bodyPr/>
                  <a:lstStyle/>
                  <a:p>
                    <a:r>
                      <a:t>31.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FE1-4C32-9851-47D9D9B5D2CF}"/>
                </c:ext>
              </c:extLst>
            </c:dLbl>
            <c:dLbl>
              <c:idx val="2"/>
              <c:tx>
                <c:rich>
                  <a:bodyPr/>
                  <a:lstStyle/>
                  <a:p>
                    <a:r>
                      <a:t>13.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FE1-4C32-9851-47D9D9B5D2C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FE1-4C32-9851-47D9D9B5D2C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60.7303</c:v>
                </c:pt>
                <c:pt idx="1">
                  <c:v>31.423500000000001</c:v>
                </c:pt>
                <c:pt idx="2">
                  <c:v>13.621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D24-4EA4-A575-8010E0383CA4}"/>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3.5</c:v>
                </c:pt>
                <c:pt idx="1">
                  <c:v>0.3</c:v>
                </c:pt>
                <c:pt idx="2">
                  <c:v>0.3</c:v>
                </c:pt>
                <c:pt idx="3">
                  <c:v>0</c:v>
                </c:pt>
                <c:pt idx="4">
                  <c:v>0</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8.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2D24-4EA4-A575-8010E0383CA4}"/>
                </c:ext>
              </c:extLst>
            </c:dLbl>
            <c:dLbl>
              <c:idx val="1"/>
              <c:tx>
                <c:rich>
                  <a:bodyPr/>
                  <a:lstStyle/>
                  <a:p>
                    <a:r>
                      <a:t>3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2D24-4EA4-A575-8010E0383CA4}"/>
                </c:ext>
              </c:extLst>
            </c:dLbl>
            <c:dLbl>
              <c:idx val="2"/>
              <c:tx>
                <c:rich>
                  <a:bodyPr/>
                  <a:lstStyle/>
                  <a:p>
                    <a:r>
                      <a:t>1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D24-4EA4-A575-8010E0383CA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D24-4EA4-A575-8010E0383CA4}"/>
                </c:ext>
              </c:extLst>
            </c:dLbl>
            <c:dLbl>
              <c:idx val="4"/>
              <c:tx>
                <c:rich>
                  <a:bodyPr/>
                  <a:lstStyle/>
                  <a:p>
                    <a:r>
                      <a:t>2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D24-4EA4-A575-8010E0383CA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D24-4EA4-A575-8010E0383CA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8.762300000000003</c:v>
                </c:pt>
                <c:pt idx="1">
                  <c:v>32.7014</c:v>
                </c:pt>
                <c:pt idx="2">
                  <c:v>13.6953</c:v>
                </c:pt>
                <c:pt idx="3">
                  <c:v>0</c:v>
                </c:pt>
                <c:pt idx="4">
                  <c:v>23.30239999999999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4CD-4906-BA92-B8DCC9D53194}"/>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1.8</c:v>
                </c:pt>
                <c:pt idx="1">
                  <c:v>0.2</c:v>
                </c:pt>
                <c:pt idx="2">
                  <c:v>0.1</c:v>
                </c:pt>
                <c:pt idx="3">
                  <c:v>0</c:v>
                </c:pt>
                <c:pt idx="4">
                  <c:v>0</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44CD-4906-BA92-B8DCC9D53194}"/>
                </c:ext>
              </c:extLst>
            </c:dLbl>
            <c:dLbl>
              <c:idx val="1"/>
              <c:tx>
                <c:rich>
                  <a:bodyPr/>
                  <a:lstStyle/>
                  <a:p>
                    <a:r>
                      <a:t>30.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44CD-4906-BA92-B8DCC9D53194}"/>
                </c:ext>
              </c:extLst>
            </c:dLbl>
            <c:dLbl>
              <c:idx val="2"/>
              <c:tx>
                <c:rich>
                  <a:bodyPr/>
                  <a:lstStyle/>
                  <a:p>
                    <a:r>
                      <a:t>13.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4CD-4906-BA92-B8DCC9D5319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4CD-4906-BA92-B8DCC9D53194}"/>
                </c:ext>
              </c:extLst>
            </c:dLbl>
            <c:dLbl>
              <c:idx val="4"/>
              <c:tx>
                <c:rich>
                  <a:bodyPr/>
                  <a:lstStyle/>
                  <a:p>
                    <a:r>
                      <a:t>21.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4CD-4906-BA92-B8DCC9D5319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4CD-4906-BA92-B8DCC9D5319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4.082299999999996</c:v>
                </c:pt>
                <c:pt idx="1">
                  <c:v>30.671199999999999</c:v>
                </c:pt>
                <c:pt idx="2">
                  <c:v>13.433999999999999</c:v>
                </c:pt>
                <c:pt idx="3">
                  <c:v>0</c:v>
                </c:pt>
                <c:pt idx="4">
                  <c:v>21.65759999999999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1.6</c:v>
                </c:pt>
                <c:pt idx="1">
                  <c:v>0.2</c:v>
                </c:pt>
                <c:pt idx="2">
                  <c:v>0.2</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42F-4792-9499-CF5B64765A64}"/>
                </c:ext>
              </c:extLst>
            </c:dLbl>
            <c:dLbl>
              <c:idx val="1"/>
              <c:tx>
                <c:rich>
                  <a:bodyPr/>
                  <a:lstStyle/>
                  <a:p>
                    <a:r>
                      <a:t>3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42F-4792-9499-CF5B64765A64}"/>
                </c:ext>
              </c:extLst>
            </c:dLbl>
            <c:dLbl>
              <c:idx val="2"/>
              <c:tx>
                <c:rich>
                  <a:bodyPr/>
                  <a:lstStyle/>
                  <a:p>
                    <a:r>
                      <a:t>15.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42F-4792-9499-CF5B64765A6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42F-4792-9499-CF5B64765A6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53.488700000000001</c:v>
                </c:pt>
                <c:pt idx="1">
                  <c:v>30.996300000000002</c:v>
                </c:pt>
                <c:pt idx="2">
                  <c:v>15.4397</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297-49A7-ABDE-C439D1C912F1}"/>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18.8</c:v>
                </c:pt>
                <c:pt idx="1">
                  <c:v>1.5</c:v>
                </c:pt>
                <c:pt idx="2">
                  <c:v>1</c:v>
                </c:pt>
                <c:pt idx="3">
                  <c:v>0</c:v>
                </c:pt>
                <c:pt idx="4">
                  <c:v>0.2</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297-49A7-ABDE-C439D1C912F1}"/>
                </c:ext>
              </c:extLst>
            </c:dLbl>
            <c:dLbl>
              <c:idx val="1"/>
              <c:tx>
                <c:rich>
                  <a:bodyPr/>
                  <a:lstStyle/>
                  <a:p>
                    <a:r>
                      <a:t>31.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297-49A7-ABDE-C439D1C912F1}"/>
                </c:ext>
              </c:extLst>
            </c:dLbl>
            <c:dLbl>
              <c:idx val="2"/>
              <c:tx>
                <c:rich>
                  <a:bodyPr/>
                  <a:lstStyle/>
                  <a:p>
                    <a:r>
                      <a:t>1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297-49A7-ABDE-C439D1C912F1}"/>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297-49A7-ABDE-C439D1C912F1}"/>
                </c:ext>
              </c:extLst>
            </c:dLbl>
            <c:dLbl>
              <c:idx val="4"/>
              <c:tx>
                <c:rich>
                  <a:bodyPr/>
                  <a:lstStyle/>
                  <a:p>
                    <a:r>
                      <a:t>24.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297-49A7-ABDE-C439D1C912F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297-49A7-ABDE-C439D1C912F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61.190300000000001</c:v>
                </c:pt>
                <c:pt idx="1">
                  <c:v>31.593699999999998</c:v>
                </c:pt>
                <c:pt idx="2">
                  <c:v>13.916499999999999</c:v>
                </c:pt>
                <c:pt idx="3">
                  <c:v>0</c:v>
                </c:pt>
                <c:pt idx="4">
                  <c:v>24.48199999999999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CA7C-45CB-BABA-3DC12291C1A9}"/>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9</c:v>
                </c:pt>
                <c:pt idx="1">
                  <c:v>0.8</c:v>
                </c:pt>
                <c:pt idx="2">
                  <c:v>0.7</c:v>
                </c:pt>
                <c:pt idx="3">
                  <c:v>0</c:v>
                </c:pt>
                <c:pt idx="4">
                  <c:v>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6.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CA7C-45CB-BABA-3DC12291C1A9}"/>
                </c:ext>
              </c:extLst>
            </c:dLbl>
            <c:dLbl>
              <c:idx val="1"/>
              <c:tx>
                <c:rich>
                  <a:bodyPr/>
                  <a:lstStyle/>
                  <a:p>
                    <a:r>
                      <a:t>31.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A7C-45CB-BABA-3DC12291C1A9}"/>
                </c:ext>
              </c:extLst>
            </c:dLbl>
            <c:dLbl>
              <c:idx val="2"/>
              <c:tx>
                <c:rich>
                  <a:bodyPr/>
                  <a:lstStyle/>
                  <a:p>
                    <a:r>
                      <a:t>1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A7C-45CB-BABA-3DC12291C1A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A7C-45CB-BABA-3DC12291C1A9}"/>
                </c:ext>
              </c:extLst>
            </c:dLbl>
            <c:dLbl>
              <c:idx val="4"/>
              <c:tx>
                <c:rich>
                  <a:bodyPr/>
                  <a:lstStyle/>
                  <a:p>
                    <a:r>
                      <a:t>2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A7C-45CB-BABA-3DC12291C1A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A7C-45CB-BABA-3DC12291C1A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6.344200000000001</c:v>
                </c:pt>
                <c:pt idx="1">
                  <c:v>31.387</c:v>
                </c:pt>
                <c:pt idx="2">
                  <c:v>14.055400000000001</c:v>
                </c:pt>
                <c:pt idx="3">
                  <c:v>0</c:v>
                </c:pt>
                <c:pt idx="4">
                  <c:v>23.1082</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76E-4303-95E6-BFAE9D08EB84}"/>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C$2:$C$7</c:f>
              <c:numCache>
                <c:formatCode>General</c:formatCode>
                <c:ptCount val="6"/>
                <c:pt idx="0">
                  <c:v>13.9</c:v>
                </c:pt>
                <c:pt idx="1">
                  <c:v>1.3</c:v>
                </c:pt>
                <c:pt idx="2">
                  <c:v>1</c:v>
                </c:pt>
                <c:pt idx="3">
                  <c:v>0</c:v>
                </c:pt>
                <c:pt idx="4">
                  <c:v>0.2</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76E-4303-95E6-BFAE9D08EB84}"/>
                </c:ext>
              </c:extLst>
            </c:dLbl>
            <c:dLbl>
              <c:idx val="1"/>
              <c:tx>
                <c:rich>
                  <a:bodyPr/>
                  <a:lstStyle/>
                  <a:p>
                    <a:r>
                      <a:t>31.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76E-4303-95E6-BFAE9D08EB84}"/>
                </c:ext>
              </c:extLst>
            </c:dLbl>
            <c:dLbl>
              <c:idx val="2"/>
              <c:tx>
                <c:rich>
                  <a:bodyPr/>
                  <a:lstStyle/>
                  <a:p>
                    <a:r>
                      <a:t>1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76E-4303-95E6-BFAE9D08EB8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76E-4303-95E6-BFAE9D08EB84}"/>
                </c:ext>
              </c:extLst>
            </c:dLbl>
            <c:dLbl>
              <c:idx val="4"/>
              <c:tx>
                <c:rich>
                  <a:bodyPr/>
                  <a:lstStyle/>
                  <a:p>
                    <a:r>
                      <a:t>2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76E-4303-95E6-BFAE9D08EB8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76E-4303-95E6-BFAE9D08EB8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Nicolas</c:v>
                  </c:pt>
                  <c:pt idx="2">
                    <c:v>Total</c:v>
                  </c:pt>
                  <c:pt idx="3">
                    <c:v>Nicolas</c:v>
                  </c:pt>
                  <c:pt idx="4">
                    <c:v>Total</c:v>
                  </c:pt>
                  <c:pt idx="5">
                    <c:v>Nicolas</c:v>
                  </c:pt>
                </c:lvl>
                <c:lvl>
                  <c:pt idx="0">
                    <c:v>Champagnes</c:v>
                  </c:pt>
                  <c:pt idx="2">
                    <c:v>Mousseux</c:v>
                  </c:pt>
                  <c:pt idx="4">
                    <c:v>Effervescents Sans Alcool</c:v>
                  </c:pt>
                </c:lvl>
              </c:multiLvlStrCache>
            </c:multiLvlStrRef>
          </c:cat>
          <c:val>
            <c:numRef>
              <c:f>Sheet1!$D$2:$D$7</c:f>
              <c:numCache>
                <c:formatCode>General</c:formatCode>
                <c:ptCount val="6"/>
                <c:pt idx="0">
                  <c:v>56.410800000000002</c:v>
                </c:pt>
                <c:pt idx="1">
                  <c:v>31.6081</c:v>
                </c:pt>
                <c:pt idx="2">
                  <c:v>14.0586</c:v>
                </c:pt>
                <c:pt idx="3">
                  <c:v>0</c:v>
                </c:pt>
                <c:pt idx="4">
                  <c:v>23.25349999999999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11.1</c:v>
                </c:pt>
                <c:pt idx="1">
                  <c:v>1</c:v>
                </c:pt>
                <c:pt idx="2">
                  <c:v>0.8</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EE3F-42A4-917D-33D0A474F2D6}"/>
                </c:ext>
              </c:extLst>
            </c:dLbl>
            <c:dLbl>
              <c:idx val="1"/>
              <c:tx>
                <c:rich>
                  <a:bodyPr/>
                  <a:lstStyle/>
                  <a:p>
                    <a:r>
                      <a:t>3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EE3F-42A4-917D-33D0A474F2D6}"/>
                </c:ext>
              </c:extLst>
            </c:dLbl>
            <c:dLbl>
              <c:idx val="2"/>
              <c:tx>
                <c:rich>
                  <a:bodyPr/>
                  <a:lstStyle/>
                  <a:p>
                    <a:r>
                      <a:t>14.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EE3F-42A4-917D-33D0A474F2D6}"/>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E3F-42A4-917D-33D0A474F2D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56.203899999999997</c:v>
                </c:pt>
                <c:pt idx="1">
                  <c:v>31.770299999999999</c:v>
                </c:pt>
                <c:pt idx="2">
                  <c:v>14.33510000000000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C$2:$C$5</c:f>
              <c:numCache>
                <c:formatCode>General</c:formatCode>
                <c:ptCount val="4"/>
                <c:pt idx="0">
                  <c:v>10.1</c:v>
                </c:pt>
                <c:pt idx="1">
                  <c:v>1.1000000000000001</c:v>
                </c:pt>
                <c:pt idx="2">
                  <c:v>0.8</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8A2B-425E-A5A3-9F2D286C4B03}"/>
                </c:ext>
              </c:extLst>
            </c:dLbl>
            <c:dLbl>
              <c:idx val="1"/>
              <c:tx>
                <c:rich>
                  <a:bodyPr/>
                  <a:lstStyle/>
                  <a:p>
                    <a:r>
                      <a:t>31.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A2B-425E-A5A3-9F2D286C4B03}"/>
                </c:ext>
              </c:extLst>
            </c:dLbl>
            <c:dLbl>
              <c:idx val="2"/>
              <c:tx>
                <c:rich>
                  <a:bodyPr/>
                  <a:lstStyle/>
                  <a:p>
                    <a:r>
                      <a:t>1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A2B-425E-A5A3-9F2D286C4B0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A2B-425E-A5A3-9F2D286C4B0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Nicolas</c:v>
                  </c:pt>
                  <c:pt idx="2">
                    <c:v>Total</c:v>
                  </c:pt>
                  <c:pt idx="3">
                    <c:v>Nicolas</c:v>
                  </c:pt>
                </c:lvl>
                <c:lvl>
                  <c:pt idx="0">
                    <c:v>Champagnes</c:v>
                  </c:pt>
                  <c:pt idx="2">
                    <c:v>Mousseux</c:v>
                  </c:pt>
                </c:lvl>
              </c:multiLvlStrCache>
            </c:multiLvlStrRef>
          </c:cat>
          <c:val>
            <c:numRef>
              <c:f>Sheet1!$D$2:$D$5</c:f>
              <c:numCache>
                <c:formatCode>General</c:formatCode>
                <c:ptCount val="4"/>
                <c:pt idx="0">
                  <c:v>55.447299999999998</c:v>
                </c:pt>
                <c:pt idx="1">
                  <c:v>31.8188</c:v>
                </c:pt>
                <c:pt idx="2">
                  <c:v>14.1297</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B1B-4ECE-9A37-3F2F5B68475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4B1B-4ECE-9A37-3F2F5B68475B}"/>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Mousseux Autres</c:v>
                  </c:pt>
                  <c:pt idx="4">
                    <c:v>Mousseux Italiens</c:v>
                  </c:pt>
                  <c:pt idx="6">
                    <c:v>Mousseux Alsace</c:v>
                  </c:pt>
                  <c:pt idx="8">
                    <c:v>Mousseux Val De Loire</c:v>
                  </c:pt>
                </c:lvl>
              </c:multiLvlStrCache>
            </c:multiLvlStrRef>
          </c:cat>
          <c:val>
            <c:numRef>
              <c:f>Sheet1!$C$2:$C$11</c:f>
              <c:numCache>
                <c:formatCode>General</c:formatCode>
                <c:ptCount val="10"/>
                <c:pt idx="0">
                  <c:v>475.5</c:v>
                </c:pt>
                <c:pt idx="1">
                  <c:v>4.5999999999999996</c:v>
                </c:pt>
                <c:pt idx="2">
                  <c:v>175.7</c:v>
                </c:pt>
                <c:pt idx="3">
                  <c:v>0</c:v>
                </c:pt>
                <c:pt idx="4">
                  <c:v>131.1</c:v>
                </c:pt>
                <c:pt idx="5">
                  <c:v>0</c:v>
                </c:pt>
                <c:pt idx="6">
                  <c:v>103.8</c:v>
                </c:pt>
                <c:pt idx="7">
                  <c:v>0</c:v>
                </c:pt>
                <c:pt idx="8">
                  <c:v>70.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B1B-4ECE-9A37-3F2F5B68475B}"/>
                </c:ext>
              </c:extLst>
            </c:dLbl>
            <c:dLbl>
              <c:idx val="1"/>
              <c:tx>
                <c:rich>
                  <a:bodyPr/>
                  <a:lstStyle/>
                  <a:p>
                    <a:r>
                      <a:t>29.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B1B-4ECE-9A37-3F2F5B68475B}"/>
                </c:ext>
              </c:extLst>
            </c:dLbl>
            <c:dLbl>
              <c:idx val="2"/>
              <c:tx>
                <c:rich>
                  <a:bodyPr/>
                  <a:lstStyle/>
                  <a:p>
                    <a:r>
                      <a:t>2.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B1B-4ECE-9A37-3F2F5B68475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B1B-4ECE-9A37-3F2F5B68475B}"/>
                </c:ext>
              </c:extLst>
            </c:dLbl>
            <c:dLbl>
              <c:idx val="4"/>
              <c:tx>
                <c:rich>
                  <a:bodyPr/>
                  <a:lstStyle/>
                  <a:p>
                    <a:r>
                      <a:t>8.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B1B-4ECE-9A37-3F2F5B68475B}"/>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B1B-4ECE-9A37-3F2F5B68475B}"/>
                </c:ext>
              </c:extLst>
            </c:dLbl>
            <c:dLbl>
              <c:idx val="6"/>
              <c:tx>
                <c:rich>
                  <a:bodyPr/>
                  <a:lstStyle/>
                  <a:p>
                    <a:r>
                      <a:t>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B1B-4ECE-9A37-3F2F5B68475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B1B-4ECE-9A37-3F2F5B68475B}"/>
                </c:ext>
              </c:extLst>
            </c:dLbl>
            <c:dLbl>
              <c:idx val="8"/>
              <c:tx>
                <c:rich>
                  <a:bodyPr/>
                  <a:lstStyle/>
                  <a:p>
                    <a:r>
                      <a:t>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B1B-4ECE-9A37-3F2F5B68475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B1B-4ECE-9A37-3F2F5B68475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Mousseux Autres</c:v>
                  </c:pt>
                  <c:pt idx="4">
                    <c:v>Mousseux Italiens</c:v>
                  </c:pt>
                  <c:pt idx="6">
                    <c:v>Mousseux Alsace</c:v>
                  </c:pt>
                  <c:pt idx="8">
                    <c:v>Mousseux Val De Loire</c:v>
                  </c:pt>
                </c:lvl>
              </c:multiLvlStrCache>
            </c:multiLvlStrRef>
          </c:cat>
          <c:val>
            <c:numRef>
              <c:f>Sheet1!$D$2:$D$11</c:f>
              <c:numCache>
                <c:formatCode>General</c:formatCode>
                <c:ptCount val="10"/>
                <c:pt idx="0">
                  <c:v>26.361699999999999</c:v>
                </c:pt>
                <c:pt idx="1">
                  <c:v>29.526199999999999</c:v>
                </c:pt>
                <c:pt idx="2">
                  <c:v>2.94</c:v>
                </c:pt>
                <c:pt idx="3">
                  <c:v>0</c:v>
                </c:pt>
                <c:pt idx="4">
                  <c:v>8.2279999999999998</c:v>
                </c:pt>
                <c:pt idx="5">
                  <c:v>0</c:v>
                </c:pt>
                <c:pt idx="6">
                  <c:v>6.9306000000000001</c:v>
                </c:pt>
                <c:pt idx="7">
                  <c:v>0</c:v>
                </c:pt>
                <c:pt idx="8">
                  <c:v>7.1753</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7401860-4FE1-4626-84DE-CB01BF7724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354A063-2F2D-4C2C-BFF0-AE0190F6DC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ED3638B-F5A5-499E-BB07-54D87B4BF2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897F291-67D2-4F59-A02A-B8CE4994D7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A2A922A-27D1-4156-A534-BF462A8A23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655DD47-5269-4C55-A497-2D291574A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5CCF9FD-510C-4353-80DB-6FBBCFF2B2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8E8749E-9A2A-4540-8923-3FAEC11D16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9.6005</c:v>
                </c:pt>
                <c:pt idx="1">
                  <c:v>30.4802</c:v>
                </c:pt>
                <c:pt idx="2">
                  <c:v>31.5137</c:v>
                </c:pt>
                <c:pt idx="3">
                  <c:v>35.524299999999997</c:v>
                </c:pt>
              </c:numCache>
            </c:numRef>
          </c:xVal>
          <c:yVal>
            <c:numRef>
              <c:f>Sheet1!$B$2:$B$5</c:f>
              <c:numCache>
                <c:formatCode>General</c:formatCode>
                <c:ptCount val="4"/>
                <c:pt idx="0">
                  <c:v>0.98699999999999999</c:v>
                </c:pt>
                <c:pt idx="1">
                  <c:v>1.0149999999999999</c:v>
                </c:pt>
                <c:pt idx="2">
                  <c:v>1.0469999999999999</c:v>
                </c:pt>
                <c:pt idx="3">
                  <c:v>1.077</c:v>
                </c:pt>
              </c:numCache>
            </c:numRef>
          </c:yVal>
          <c:bubbleSize>
            <c:numRef>
              <c:f>Sheet1!$C$2:$C$5</c:f>
              <c:numCache>
                <c:formatCode>General</c:formatCode>
                <c:ptCount val="4"/>
                <c:pt idx="0">
                  <c:v>2007386</c:v>
                </c:pt>
                <c:pt idx="1">
                  <c:v>530203</c:v>
                </c:pt>
                <c:pt idx="2">
                  <c:v>279022</c:v>
                </c:pt>
                <c:pt idx="3">
                  <c:v>70054</c:v>
                </c:pt>
              </c:numCache>
            </c:numRef>
          </c:bubbleSize>
          <c:bubble3D val="0"/>
          <c:extLst>
            <c:ext xmlns:c15="http://schemas.microsoft.com/office/drawing/2012/chart" uri="{02D57815-91ED-43cb-92C2-25804820EDAC}">
              <c15:datalabelsRange>
                <c15:f>Sheet1!$E$2:$E$10</c15:f>
                <c15:dlblRangeCache>
                  <c:ptCount val="9"/>
                  <c:pt idx="0">
                    <c:v>Malard</c:v>
                  </c:pt>
                  <c:pt idx="1">
                    <c:v>Vesselle</c:v>
                  </c:pt>
                  <c:pt idx="2">
                    <c:v>Louis Martin</c:v>
                  </c:pt>
                  <c:pt idx="3">
                    <c:v>Nicolas</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3"/>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511-477D-B17C-E6AAB997E22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4511-477D-B17C-E6AAB997E227}"/>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Millesimes</c:v>
                  </c:pt>
                </c:lvl>
              </c:multiLvlStrCache>
            </c:multiLvlStrRef>
          </c:cat>
          <c:val>
            <c:numRef>
              <c:f>Sheet1!$C$2:$C$11</c:f>
              <c:numCache>
                <c:formatCode>General</c:formatCode>
                <c:ptCount val="10"/>
                <c:pt idx="0">
                  <c:v>42</c:v>
                </c:pt>
                <c:pt idx="1">
                  <c:v>4.5999999999999996</c:v>
                </c:pt>
                <c:pt idx="2">
                  <c:v>8.1</c:v>
                </c:pt>
                <c:pt idx="3">
                  <c:v>0.5</c:v>
                </c:pt>
                <c:pt idx="4">
                  <c:v>4.3</c:v>
                </c:pt>
                <c:pt idx="5">
                  <c:v>0.4</c:v>
                </c:pt>
                <c:pt idx="6">
                  <c:v>2.9</c:v>
                </c:pt>
                <c:pt idx="7">
                  <c:v>0.1</c:v>
                </c:pt>
                <c:pt idx="8">
                  <c:v>2.5</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511-477D-B17C-E6AAB997E227}"/>
                </c:ext>
              </c:extLst>
            </c:dLbl>
            <c:dLbl>
              <c:idx val="1"/>
              <c:tx>
                <c:rich>
                  <a:bodyPr/>
                  <a:lstStyle/>
                  <a:p>
                    <a:r>
                      <a:t>2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511-477D-B17C-E6AAB997E227}"/>
                </c:ext>
              </c:extLst>
            </c:dLbl>
            <c:dLbl>
              <c:idx val="2"/>
              <c:tx>
                <c:rich>
                  <a:bodyPr/>
                  <a:lstStyle/>
                  <a:p>
                    <a:r>
                      <a:t>97.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511-477D-B17C-E6AAB997E227}"/>
                </c:ext>
              </c:extLst>
            </c:dLbl>
            <c:dLbl>
              <c:idx val="3"/>
              <c:tx>
                <c:rich>
                  <a:bodyPr/>
                  <a:lstStyle/>
                  <a:p>
                    <a:r>
                      <a:t>54.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511-477D-B17C-E6AAB997E227}"/>
                </c:ext>
              </c:extLst>
            </c:dLbl>
            <c:dLbl>
              <c:idx val="4"/>
              <c:tx>
                <c:rich>
                  <a:bodyPr/>
                  <a:lstStyle/>
                  <a:p>
                    <a:r>
                      <a:t>7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511-477D-B17C-E6AAB997E227}"/>
                </c:ext>
              </c:extLst>
            </c:dLbl>
            <c:dLbl>
              <c:idx val="5"/>
              <c:tx>
                <c:rich>
                  <a:bodyPr/>
                  <a:lstStyle/>
                  <a:p>
                    <a:r>
                      <a:t>3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511-477D-B17C-E6AAB997E227}"/>
                </c:ext>
              </c:extLst>
            </c:dLbl>
            <c:dLbl>
              <c:idx val="6"/>
              <c:tx>
                <c:rich>
                  <a:bodyPr/>
                  <a:lstStyle/>
                  <a:p>
                    <a:r>
                      <a:t>3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511-477D-B17C-E6AAB997E227}"/>
                </c:ext>
              </c:extLst>
            </c:dLbl>
            <c:dLbl>
              <c:idx val="7"/>
              <c:tx>
                <c:rich>
                  <a:bodyPr/>
                  <a:lstStyle/>
                  <a:p>
                    <a:r>
                      <a:t>4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511-477D-B17C-E6AAB997E227}"/>
                </c:ext>
              </c:extLst>
            </c:dLbl>
            <c:dLbl>
              <c:idx val="8"/>
              <c:tx>
                <c:rich>
                  <a:bodyPr/>
                  <a:lstStyle/>
                  <a:p>
                    <a:r>
                      <a:t>180.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511-477D-B17C-E6AAB997E22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511-477D-B17C-E6AAB997E22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Millesimes</c:v>
                  </c:pt>
                </c:lvl>
              </c:multiLvlStrCache>
            </c:multiLvlStrRef>
          </c:cat>
          <c:val>
            <c:numRef>
              <c:f>Sheet1!$D$2:$D$11</c:f>
              <c:numCache>
                <c:formatCode>General</c:formatCode>
                <c:ptCount val="10"/>
                <c:pt idx="0">
                  <c:v>52.466700000000003</c:v>
                </c:pt>
                <c:pt idx="1">
                  <c:v>29.543600000000001</c:v>
                </c:pt>
                <c:pt idx="2">
                  <c:v>97.591700000000003</c:v>
                </c:pt>
                <c:pt idx="3">
                  <c:v>54.874099999999999</c:v>
                </c:pt>
                <c:pt idx="4">
                  <c:v>75.725800000000007</c:v>
                </c:pt>
                <c:pt idx="5">
                  <c:v>38.1937</c:v>
                </c:pt>
                <c:pt idx="6">
                  <c:v>39.992199999999997</c:v>
                </c:pt>
                <c:pt idx="7">
                  <c:v>43.083599999999997</c:v>
                </c:pt>
                <c:pt idx="8">
                  <c:v>180.0427</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7233-45EC-90CF-D7B19983314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7233-45EC-90CF-D7B199833142}"/>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C$2:$C$11</c:f>
              <c:numCache>
                <c:formatCode>General</c:formatCode>
                <c:ptCount val="10"/>
                <c:pt idx="0">
                  <c:v>18.8</c:v>
                </c:pt>
                <c:pt idx="1">
                  <c:v>2.1</c:v>
                </c:pt>
                <c:pt idx="2">
                  <c:v>2.8</c:v>
                </c:pt>
                <c:pt idx="3">
                  <c:v>0.2</c:v>
                </c:pt>
                <c:pt idx="4">
                  <c:v>1.8</c:v>
                </c:pt>
                <c:pt idx="5">
                  <c:v>0.2</c:v>
                </c:pt>
                <c:pt idx="6">
                  <c:v>1.4</c:v>
                </c:pt>
                <c:pt idx="7">
                  <c:v>0</c:v>
                </c:pt>
                <c:pt idx="8">
                  <c:v>1.10000000000000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233-45EC-90CF-D7B199833142}"/>
                </c:ext>
              </c:extLst>
            </c:dLbl>
            <c:dLbl>
              <c:idx val="1"/>
              <c:tx>
                <c:rich>
                  <a:bodyPr/>
                  <a:lstStyle/>
                  <a:p>
                    <a:r>
                      <a:t>2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233-45EC-90CF-D7B199833142}"/>
                </c:ext>
              </c:extLst>
            </c:dLbl>
            <c:dLbl>
              <c:idx val="2"/>
              <c:tx>
                <c:rich>
                  <a:bodyPr/>
                  <a:lstStyle/>
                  <a:p>
                    <a:r>
                      <a:t>93.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233-45EC-90CF-D7B199833142}"/>
                </c:ext>
              </c:extLst>
            </c:dLbl>
            <c:dLbl>
              <c:idx val="3"/>
              <c:tx>
                <c:rich>
                  <a:bodyPr/>
                  <a:lstStyle/>
                  <a:p>
                    <a:r>
                      <a:t>5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233-45EC-90CF-D7B199833142}"/>
                </c:ext>
              </c:extLst>
            </c:dLbl>
            <c:dLbl>
              <c:idx val="4"/>
              <c:tx>
                <c:rich>
                  <a:bodyPr/>
                  <a:lstStyle/>
                  <a:p>
                    <a:r>
                      <a:t>7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233-45EC-90CF-D7B199833142}"/>
                </c:ext>
              </c:extLst>
            </c:dLbl>
            <c:dLbl>
              <c:idx val="5"/>
              <c:tx>
                <c:rich>
                  <a:bodyPr/>
                  <a:lstStyle/>
                  <a:p>
                    <a:r>
                      <a:t>38.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233-45EC-90CF-D7B199833142}"/>
                </c:ext>
              </c:extLst>
            </c:dLbl>
            <c:dLbl>
              <c:idx val="6"/>
              <c:tx>
                <c:rich>
                  <a:bodyPr/>
                  <a:lstStyle/>
                  <a:p>
                    <a:r>
                      <a:t>4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233-45EC-90CF-D7B199833142}"/>
                </c:ext>
              </c:extLst>
            </c:dLbl>
            <c:dLbl>
              <c:idx val="7"/>
              <c:tx>
                <c:rich>
                  <a:bodyPr/>
                  <a:lstStyle/>
                  <a:p>
                    <a:r>
                      <a:t>4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233-45EC-90CF-D7B199833142}"/>
                </c:ext>
              </c:extLst>
            </c:dLbl>
            <c:dLbl>
              <c:idx val="8"/>
              <c:tx>
                <c:rich>
                  <a:bodyPr/>
                  <a:lstStyle/>
                  <a:p>
                    <a:r>
                      <a:t>4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233-45EC-90CF-D7B19983314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233-45EC-90CF-D7B19983314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D$2:$D$11</c:f>
              <c:numCache>
                <c:formatCode>General</c:formatCode>
                <c:ptCount val="10"/>
                <c:pt idx="0">
                  <c:v>52.0747</c:v>
                </c:pt>
                <c:pt idx="1">
                  <c:v>29.639299999999999</c:v>
                </c:pt>
                <c:pt idx="2">
                  <c:v>93.406300000000002</c:v>
                </c:pt>
                <c:pt idx="3">
                  <c:v>54.441699999999997</c:v>
                </c:pt>
                <c:pt idx="4">
                  <c:v>74.968500000000006</c:v>
                </c:pt>
                <c:pt idx="5">
                  <c:v>38.447499999999998</c:v>
                </c:pt>
                <c:pt idx="6">
                  <c:v>40.025500000000001</c:v>
                </c:pt>
                <c:pt idx="7">
                  <c:v>43.528599999999997</c:v>
                </c:pt>
                <c:pt idx="8">
                  <c:v>44.255899999999997</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2C6-477C-9BAD-F701CF7CDC2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2C6-477C-9BAD-F701CF7CDC24}"/>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Millesimes</c:v>
                  </c:pt>
                </c:lvl>
              </c:multiLvlStrCache>
            </c:multiLvlStrRef>
          </c:cat>
          <c:val>
            <c:numRef>
              <c:f>Sheet1!$C$2:$C$11</c:f>
              <c:numCache>
                <c:formatCode>General</c:formatCode>
                <c:ptCount val="10"/>
                <c:pt idx="0">
                  <c:v>8</c:v>
                </c:pt>
                <c:pt idx="1">
                  <c:v>1</c:v>
                </c:pt>
                <c:pt idx="2">
                  <c:v>1.8</c:v>
                </c:pt>
                <c:pt idx="3">
                  <c:v>0.1</c:v>
                </c:pt>
                <c:pt idx="4">
                  <c:v>0.8</c:v>
                </c:pt>
                <c:pt idx="5">
                  <c:v>0.1</c:v>
                </c:pt>
                <c:pt idx="6">
                  <c:v>0.6</c:v>
                </c:pt>
                <c:pt idx="7">
                  <c:v>0</c:v>
                </c:pt>
                <c:pt idx="8">
                  <c:v>0.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2C6-477C-9BAD-F701CF7CDC24}"/>
                </c:ext>
              </c:extLst>
            </c:dLbl>
            <c:dLbl>
              <c:idx val="1"/>
              <c:tx>
                <c:rich>
                  <a:bodyPr/>
                  <a:lstStyle/>
                  <a:p>
                    <a:r>
                      <a:t>2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2C6-477C-9BAD-F701CF7CDC24}"/>
                </c:ext>
              </c:extLst>
            </c:dLbl>
            <c:dLbl>
              <c:idx val="2"/>
              <c:tx>
                <c:rich>
                  <a:bodyPr/>
                  <a:lstStyle/>
                  <a:p>
                    <a:r>
                      <a:t>8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2C6-477C-9BAD-F701CF7CDC24}"/>
                </c:ext>
              </c:extLst>
            </c:dLbl>
            <c:dLbl>
              <c:idx val="3"/>
              <c:tx>
                <c:rich>
                  <a:bodyPr/>
                  <a:lstStyle/>
                  <a:p>
                    <a:r>
                      <a:t>54.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2C6-477C-9BAD-F701CF7CDC24}"/>
                </c:ext>
              </c:extLst>
            </c:dLbl>
            <c:dLbl>
              <c:idx val="4"/>
              <c:tx>
                <c:rich>
                  <a:bodyPr/>
                  <a:lstStyle/>
                  <a:p>
                    <a:r>
                      <a:t>6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2C6-477C-9BAD-F701CF7CDC24}"/>
                </c:ext>
              </c:extLst>
            </c:dLbl>
            <c:dLbl>
              <c:idx val="5"/>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2C6-477C-9BAD-F701CF7CDC24}"/>
                </c:ext>
              </c:extLst>
            </c:dLbl>
            <c:dLbl>
              <c:idx val="6"/>
              <c:tx>
                <c:rich>
                  <a:bodyPr/>
                  <a:lstStyle/>
                  <a:p>
                    <a:r>
                      <a:t>39.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2C6-477C-9BAD-F701CF7CDC24}"/>
                </c:ext>
              </c:extLst>
            </c:dLbl>
            <c:dLbl>
              <c:idx val="7"/>
              <c:tx>
                <c:rich>
                  <a:bodyPr/>
                  <a:lstStyle/>
                  <a:p>
                    <a:r>
                      <a:t>4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2C6-477C-9BAD-F701CF7CDC24}"/>
                </c:ext>
              </c:extLst>
            </c:dLbl>
            <c:dLbl>
              <c:idx val="8"/>
              <c:tx>
                <c:rich>
                  <a:bodyPr/>
                  <a:lstStyle/>
                  <a:p>
                    <a:r>
                      <a:t>16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2C6-477C-9BAD-F701CF7CDC24}"/>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2C6-477C-9BAD-F701CF7CDC2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Millesimes</c:v>
                  </c:pt>
                </c:lvl>
              </c:multiLvlStrCache>
            </c:multiLvlStrRef>
          </c:cat>
          <c:val>
            <c:numRef>
              <c:f>Sheet1!$D$2:$D$11</c:f>
              <c:numCache>
                <c:formatCode>General</c:formatCode>
                <c:ptCount val="10"/>
                <c:pt idx="0">
                  <c:v>50.809600000000003</c:v>
                </c:pt>
                <c:pt idx="1">
                  <c:v>29.407</c:v>
                </c:pt>
                <c:pt idx="2">
                  <c:v>89.915599999999998</c:v>
                </c:pt>
                <c:pt idx="3">
                  <c:v>54.375500000000002</c:v>
                </c:pt>
                <c:pt idx="4">
                  <c:v>69.418400000000005</c:v>
                </c:pt>
                <c:pt idx="5">
                  <c:v>37.555500000000002</c:v>
                </c:pt>
                <c:pt idx="6">
                  <c:v>39.741700000000002</c:v>
                </c:pt>
                <c:pt idx="7">
                  <c:v>42.764400000000002</c:v>
                </c:pt>
                <c:pt idx="8">
                  <c:v>165.104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F2ED-40B1-B122-6D2B0F52054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F2ED-40B1-B122-6D2B0F52054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Crus</c:v>
                  </c:pt>
                </c:lvl>
              </c:multiLvlStrCache>
            </c:multiLvlStrRef>
          </c:cat>
          <c:val>
            <c:numRef>
              <c:f>Sheet1!$C$2:$C$11</c:f>
              <c:numCache>
                <c:formatCode>General</c:formatCode>
                <c:ptCount val="10"/>
                <c:pt idx="0">
                  <c:v>5</c:v>
                </c:pt>
                <c:pt idx="1">
                  <c:v>0.5</c:v>
                </c:pt>
                <c:pt idx="2">
                  <c:v>1</c:v>
                </c:pt>
                <c:pt idx="3">
                  <c:v>0</c:v>
                </c:pt>
                <c:pt idx="4">
                  <c:v>0.5</c:v>
                </c:pt>
                <c:pt idx="5">
                  <c:v>0</c:v>
                </c:pt>
                <c:pt idx="6">
                  <c:v>0.4</c:v>
                </c:pt>
                <c:pt idx="7">
                  <c:v>0</c:v>
                </c:pt>
                <c:pt idx="8">
                  <c:v>0.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2ED-40B1-B122-6D2B0F520549}"/>
                </c:ext>
              </c:extLst>
            </c:dLbl>
            <c:dLbl>
              <c:idx val="1"/>
              <c:tx>
                <c:rich>
                  <a:bodyPr/>
                  <a:lstStyle/>
                  <a:p>
                    <a:r>
                      <a:t>29.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2ED-40B1-B122-6D2B0F520549}"/>
                </c:ext>
              </c:extLst>
            </c:dLbl>
            <c:dLbl>
              <c:idx val="2"/>
              <c:tx>
                <c:rich>
                  <a:bodyPr/>
                  <a:lstStyle/>
                  <a:p>
                    <a:r>
                      <a:t>10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2ED-40B1-B122-6D2B0F520549}"/>
                </c:ext>
              </c:extLst>
            </c:dLbl>
            <c:dLbl>
              <c:idx val="3"/>
              <c:tx>
                <c:rich>
                  <a:bodyPr/>
                  <a:lstStyle/>
                  <a:p>
                    <a:r>
                      <a:t>55.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2ED-40B1-B122-6D2B0F520549}"/>
                </c:ext>
              </c:extLst>
            </c:dLbl>
            <c:dLbl>
              <c:idx val="4"/>
              <c:tx>
                <c:rich>
                  <a:bodyPr/>
                  <a:lstStyle/>
                  <a:p>
                    <a:r>
                      <a:t>77.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2ED-40B1-B122-6D2B0F520549}"/>
                </c:ext>
              </c:extLst>
            </c:dLbl>
            <c:dLbl>
              <c:idx val="5"/>
              <c:tx>
                <c:rich>
                  <a:bodyPr/>
                  <a:lstStyle/>
                  <a:p>
                    <a:r>
                      <a:t>3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2ED-40B1-B122-6D2B0F520549}"/>
                </c:ext>
              </c:extLst>
            </c:dLbl>
            <c:dLbl>
              <c:idx val="6"/>
              <c:tx>
                <c:rich>
                  <a:bodyPr/>
                  <a:lstStyle/>
                  <a:p>
                    <a:r>
                      <a:t>1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2ED-40B1-B122-6D2B0F52054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2ED-40B1-B122-6D2B0F520549}"/>
                </c:ext>
              </c:extLst>
            </c:dLbl>
            <c:dLbl>
              <c:idx val="8"/>
              <c:tx>
                <c:rich>
                  <a:bodyPr/>
                  <a:lstStyle/>
                  <a:p>
                    <a:r>
                      <a:t>4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2ED-40B1-B122-6D2B0F520549}"/>
                </c:ext>
              </c:extLst>
            </c:dLbl>
            <c:dLbl>
              <c:idx val="9"/>
              <c:tx>
                <c:rich>
                  <a:bodyPr/>
                  <a:lstStyle/>
                  <a:p>
                    <a:r>
                      <a:t>4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2ED-40B1-B122-6D2B0F52054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Crus</c:v>
                  </c:pt>
                </c:lvl>
              </c:multiLvlStrCache>
            </c:multiLvlStrRef>
          </c:cat>
          <c:val>
            <c:numRef>
              <c:f>Sheet1!$D$2:$D$11</c:f>
              <c:numCache>
                <c:formatCode>General</c:formatCode>
                <c:ptCount val="10"/>
                <c:pt idx="0">
                  <c:v>54.107599999999998</c:v>
                </c:pt>
                <c:pt idx="1">
                  <c:v>29.730899999999998</c:v>
                </c:pt>
                <c:pt idx="2">
                  <c:v>105.47490000000001</c:v>
                </c:pt>
                <c:pt idx="3">
                  <c:v>55.932699999999997</c:v>
                </c:pt>
                <c:pt idx="4">
                  <c:v>77.8583</c:v>
                </c:pt>
                <c:pt idx="5">
                  <c:v>39.375799999999998</c:v>
                </c:pt>
                <c:pt idx="6">
                  <c:v>199.89930000000001</c:v>
                </c:pt>
                <c:pt idx="7">
                  <c:v>0</c:v>
                </c:pt>
                <c:pt idx="8">
                  <c:v>40.273899999999998</c:v>
                </c:pt>
                <c:pt idx="9">
                  <c:v>43.1537999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133-4FD4-A26C-49D5EF1715C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4133-4FD4-A26C-49D5EF1715CB}"/>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Extra Brut</c:v>
                  </c:pt>
                </c:lvl>
              </c:multiLvlStrCache>
            </c:multiLvlStrRef>
          </c:cat>
          <c:val>
            <c:numRef>
              <c:f>Sheet1!$C$2:$C$11</c:f>
              <c:numCache>
                <c:formatCode>General</c:formatCode>
                <c:ptCount val="10"/>
                <c:pt idx="0">
                  <c:v>3.3</c:v>
                </c:pt>
                <c:pt idx="1">
                  <c:v>0.3</c:v>
                </c:pt>
                <c:pt idx="2">
                  <c:v>1</c:v>
                </c:pt>
                <c:pt idx="3">
                  <c:v>0</c:v>
                </c:pt>
                <c:pt idx="4">
                  <c:v>0.4</c:v>
                </c:pt>
                <c:pt idx="5">
                  <c:v>0</c:v>
                </c:pt>
                <c:pt idx="6">
                  <c:v>0.3</c:v>
                </c:pt>
                <c:pt idx="7">
                  <c:v>0</c:v>
                </c:pt>
                <c:pt idx="8">
                  <c:v>0.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5.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133-4FD4-A26C-49D5EF1715CB}"/>
                </c:ext>
              </c:extLst>
            </c:dLbl>
            <c:dLbl>
              <c:idx val="1"/>
              <c:tx>
                <c:rich>
                  <a:bodyPr/>
                  <a:lstStyle/>
                  <a:p>
                    <a:r>
                      <a:t>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133-4FD4-A26C-49D5EF1715CB}"/>
                </c:ext>
              </c:extLst>
            </c:dLbl>
            <c:dLbl>
              <c:idx val="2"/>
              <c:tx>
                <c:rich>
                  <a:bodyPr/>
                  <a:lstStyle/>
                  <a:p>
                    <a:r>
                      <a:t>111.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133-4FD4-A26C-49D5EF1715CB}"/>
                </c:ext>
              </c:extLst>
            </c:dLbl>
            <c:dLbl>
              <c:idx val="3"/>
              <c:tx>
                <c:rich>
                  <a:bodyPr/>
                  <a:lstStyle/>
                  <a:p>
                    <a:r>
                      <a:t>5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133-4FD4-A26C-49D5EF1715CB}"/>
                </c:ext>
              </c:extLst>
            </c:dLbl>
            <c:dLbl>
              <c:idx val="4"/>
              <c:tx>
                <c:rich>
                  <a:bodyPr/>
                  <a:lstStyle/>
                  <a:p>
                    <a:r>
                      <a:t>9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133-4FD4-A26C-49D5EF1715CB}"/>
                </c:ext>
              </c:extLst>
            </c:dLbl>
            <c:dLbl>
              <c:idx val="5"/>
              <c:tx>
                <c:rich>
                  <a:bodyPr/>
                  <a:lstStyle/>
                  <a:p>
                    <a:r>
                      <a:t>38.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133-4FD4-A26C-49D5EF1715CB}"/>
                </c:ext>
              </c:extLst>
            </c:dLbl>
            <c:dLbl>
              <c:idx val="6"/>
              <c:tx>
                <c:rich>
                  <a:bodyPr/>
                  <a:lstStyle/>
                  <a:p>
                    <a:r>
                      <a:t>21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133-4FD4-A26C-49D5EF1715C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133-4FD4-A26C-49D5EF1715CB}"/>
                </c:ext>
              </c:extLst>
            </c:dLbl>
            <c:dLbl>
              <c:idx val="8"/>
              <c:tx>
                <c:rich>
                  <a:bodyPr/>
                  <a:lstStyle/>
                  <a:p>
                    <a:r>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133-4FD4-A26C-49D5EF1715C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133-4FD4-A26C-49D5EF1715C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Extra Brut</c:v>
                  </c:pt>
                </c:lvl>
              </c:multiLvlStrCache>
            </c:multiLvlStrRef>
          </c:cat>
          <c:val>
            <c:numRef>
              <c:f>Sheet1!$D$2:$D$11</c:f>
              <c:numCache>
                <c:formatCode>General</c:formatCode>
                <c:ptCount val="10"/>
                <c:pt idx="0">
                  <c:v>55.952300000000001</c:v>
                </c:pt>
                <c:pt idx="1">
                  <c:v>29.520299999999999</c:v>
                </c:pt>
                <c:pt idx="2">
                  <c:v>111.7274</c:v>
                </c:pt>
                <c:pt idx="3">
                  <c:v>55.527999999999999</c:v>
                </c:pt>
                <c:pt idx="4">
                  <c:v>93.713300000000004</c:v>
                </c:pt>
                <c:pt idx="5">
                  <c:v>38.324199999999998</c:v>
                </c:pt>
                <c:pt idx="6">
                  <c:v>215.56800000000001</c:v>
                </c:pt>
                <c:pt idx="7">
                  <c:v>0</c:v>
                </c:pt>
                <c:pt idx="8">
                  <c:v>45.168300000000002</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96E-4116-8EE9-0F9CF6C2E6A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96E-4116-8EE9-0F9CF6C2E6A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Extra Brut</c:v>
                  </c:pt>
                </c:lvl>
              </c:multiLvlStrCache>
            </c:multiLvlStrRef>
          </c:cat>
          <c:val>
            <c:numRef>
              <c:f>Sheet1!$C$2:$C$11</c:f>
              <c:numCache>
                <c:formatCode>General</c:formatCode>
                <c:ptCount val="10"/>
                <c:pt idx="0">
                  <c:v>2</c:v>
                </c:pt>
                <c:pt idx="1">
                  <c:v>0.2</c:v>
                </c:pt>
                <c:pt idx="2">
                  <c:v>0.6</c:v>
                </c:pt>
                <c:pt idx="3">
                  <c:v>0</c:v>
                </c:pt>
                <c:pt idx="4">
                  <c:v>0.2</c:v>
                </c:pt>
                <c:pt idx="5">
                  <c:v>0</c:v>
                </c:pt>
                <c:pt idx="6">
                  <c:v>0.2</c:v>
                </c:pt>
                <c:pt idx="7">
                  <c:v>0</c:v>
                </c:pt>
                <c:pt idx="8">
                  <c:v>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4.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96E-4116-8EE9-0F9CF6C2E6A0}"/>
                </c:ext>
              </c:extLst>
            </c:dLbl>
            <c:dLbl>
              <c:idx val="1"/>
              <c:tx>
                <c:rich>
                  <a:bodyPr/>
                  <a:lstStyle/>
                  <a:p>
                    <a:r>
                      <a:t>29.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96E-4116-8EE9-0F9CF6C2E6A0}"/>
                </c:ext>
              </c:extLst>
            </c:dLbl>
            <c:dLbl>
              <c:idx val="2"/>
              <c:tx>
                <c:rich>
                  <a:bodyPr/>
                  <a:lstStyle/>
                  <a:p>
                    <a:r>
                      <a:t>10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96E-4116-8EE9-0F9CF6C2E6A0}"/>
                </c:ext>
              </c:extLst>
            </c:dLbl>
            <c:dLbl>
              <c:idx val="3"/>
              <c:tx>
                <c:rich>
                  <a:bodyPr/>
                  <a:lstStyle/>
                  <a:p>
                    <a:r>
                      <a:t>56.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96E-4116-8EE9-0F9CF6C2E6A0}"/>
                </c:ext>
              </c:extLst>
            </c:dLbl>
            <c:dLbl>
              <c:idx val="4"/>
              <c:tx>
                <c:rich>
                  <a:bodyPr/>
                  <a:lstStyle/>
                  <a:p>
                    <a:r>
                      <a:t>77.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96E-4116-8EE9-0F9CF6C2E6A0}"/>
                </c:ext>
              </c:extLst>
            </c:dLbl>
            <c:dLbl>
              <c:idx val="5"/>
              <c:tx>
                <c:rich>
                  <a:bodyPr/>
                  <a:lstStyle/>
                  <a:p>
                    <a:r>
                      <a:t>3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96E-4116-8EE9-0F9CF6C2E6A0}"/>
                </c:ext>
              </c:extLst>
            </c:dLbl>
            <c:dLbl>
              <c:idx val="6"/>
              <c:tx>
                <c:rich>
                  <a:bodyPr/>
                  <a:lstStyle/>
                  <a:p>
                    <a:r>
                      <a:t>184.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96E-4116-8EE9-0F9CF6C2E6A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96E-4116-8EE9-0F9CF6C2E6A0}"/>
                </c:ext>
              </c:extLst>
            </c:dLbl>
            <c:dLbl>
              <c:idx val="8"/>
              <c:tx>
                <c:rich>
                  <a:bodyPr/>
                  <a:lstStyle/>
                  <a:p>
                    <a:r>
                      <a:t>44.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96E-4116-8EE9-0F9CF6C2E6A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96E-4116-8EE9-0F9CF6C2E6A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Extra Brut</c:v>
                  </c:pt>
                </c:lvl>
              </c:multiLvlStrCache>
            </c:multiLvlStrRef>
          </c:cat>
          <c:val>
            <c:numRef>
              <c:f>Sheet1!$D$2:$D$11</c:f>
              <c:numCache>
                <c:formatCode>General</c:formatCode>
                <c:ptCount val="10"/>
                <c:pt idx="0">
                  <c:v>54.516300000000001</c:v>
                </c:pt>
                <c:pt idx="1">
                  <c:v>29.320399999999999</c:v>
                </c:pt>
                <c:pt idx="2">
                  <c:v>106.9933</c:v>
                </c:pt>
                <c:pt idx="3">
                  <c:v>56.330599999999997</c:v>
                </c:pt>
                <c:pt idx="4">
                  <c:v>77.268100000000004</c:v>
                </c:pt>
                <c:pt idx="5">
                  <c:v>38.129199999999997</c:v>
                </c:pt>
                <c:pt idx="6">
                  <c:v>184.56649999999999</c:v>
                </c:pt>
                <c:pt idx="7">
                  <c:v>0</c:v>
                </c:pt>
                <c:pt idx="8">
                  <c:v>44.226100000000002</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CAED-4FF2-9992-DE15D5B7EB9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CAED-4FF2-9992-DE15D5B7EB92}"/>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C$2:$C$11</c:f>
              <c:numCache>
                <c:formatCode>General</c:formatCode>
                <c:ptCount val="10"/>
                <c:pt idx="0">
                  <c:v>29</c:v>
                </c:pt>
                <c:pt idx="1">
                  <c:v>3.1</c:v>
                </c:pt>
                <c:pt idx="2">
                  <c:v>5.5</c:v>
                </c:pt>
                <c:pt idx="3">
                  <c:v>0.4</c:v>
                </c:pt>
                <c:pt idx="4">
                  <c:v>3</c:v>
                </c:pt>
                <c:pt idx="5">
                  <c:v>0.3</c:v>
                </c:pt>
                <c:pt idx="6">
                  <c:v>2.1</c:v>
                </c:pt>
                <c:pt idx="7">
                  <c:v>0</c:v>
                </c:pt>
                <c:pt idx="8">
                  <c:v>1.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AED-4FF2-9992-DE15D5B7EB92}"/>
                </c:ext>
              </c:extLst>
            </c:dLbl>
            <c:dLbl>
              <c:idx val="1"/>
              <c:tx>
                <c:rich>
                  <a:bodyPr/>
                  <a:lstStyle/>
                  <a:p>
                    <a:r>
                      <a:t>29.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AED-4FF2-9992-DE15D5B7EB92}"/>
                </c:ext>
              </c:extLst>
            </c:dLbl>
            <c:dLbl>
              <c:idx val="2"/>
              <c:tx>
                <c:rich>
                  <a:bodyPr/>
                  <a:lstStyle/>
                  <a:p>
                    <a:r>
                      <a:t>9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AED-4FF2-9992-DE15D5B7EB92}"/>
                </c:ext>
              </c:extLst>
            </c:dLbl>
            <c:dLbl>
              <c:idx val="3"/>
              <c:tx>
                <c:rich>
                  <a:bodyPr/>
                  <a:lstStyle/>
                  <a:p>
                    <a:r>
                      <a:t>5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AED-4FF2-9992-DE15D5B7EB92}"/>
                </c:ext>
              </c:extLst>
            </c:dLbl>
            <c:dLbl>
              <c:idx val="4"/>
              <c:tx>
                <c:rich>
                  <a:bodyPr/>
                  <a:lstStyle/>
                  <a:p>
                    <a:r>
                      <a:t>7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AED-4FF2-9992-DE15D5B7EB92}"/>
                </c:ext>
              </c:extLst>
            </c:dLbl>
            <c:dLbl>
              <c:idx val="5"/>
              <c:tx>
                <c:rich>
                  <a:bodyPr/>
                  <a:lstStyle/>
                  <a:p>
                    <a:r>
                      <a:t>3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AED-4FF2-9992-DE15D5B7EB92}"/>
                </c:ext>
              </c:extLst>
            </c:dLbl>
            <c:dLbl>
              <c:idx val="6"/>
              <c:tx>
                <c:rich>
                  <a:bodyPr/>
                  <a:lstStyle/>
                  <a:p>
                    <a:r>
                      <a:t>40.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AED-4FF2-9992-DE15D5B7EB92}"/>
                </c:ext>
              </c:extLst>
            </c:dLbl>
            <c:dLbl>
              <c:idx val="7"/>
              <c:tx>
                <c:rich>
                  <a:bodyPr/>
                  <a:lstStyle/>
                  <a:p>
                    <a:r>
                      <a:t>4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AED-4FF2-9992-DE15D5B7EB92}"/>
                </c:ext>
              </c:extLst>
            </c:dLbl>
            <c:dLbl>
              <c:idx val="8"/>
              <c:tx>
                <c:rich>
                  <a:bodyPr/>
                  <a:lstStyle/>
                  <a:p>
                    <a:r>
                      <a:t>4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AED-4FF2-9992-DE15D5B7EB9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AED-4FF2-9992-DE15D5B7EB9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D$2:$D$11</c:f>
              <c:numCache>
                <c:formatCode>General</c:formatCode>
                <c:ptCount val="10"/>
                <c:pt idx="0">
                  <c:v>52.746600000000001</c:v>
                </c:pt>
                <c:pt idx="1">
                  <c:v>29.5703</c:v>
                </c:pt>
                <c:pt idx="2">
                  <c:v>99.004499999999993</c:v>
                </c:pt>
                <c:pt idx="3">
                  <c:v>54.210900000000002</c:v>
                </c:pt>
                <c:pt idx="4">
                  <c:v>76.944500000000005</c:v>
                </c:pt>
                <c:pt idx="5">
                  <c:v>38.406399999999998</c:v>
                </c:pt>
                <c:pt idx="6">
                  <c:v>40.0443</c:v>
                </c:pt>
                <c:pt idx="7">
                  <c:v>43.926900000000003</c:v>
                </c:pt>
                <c:pt idx="8">
                  <c:v>44.462200000000003</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EB7-42C6-9F8D-B8552DF35E3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EB7-42C6-9F8D-B8552DF35E35}"/>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Mousseux Italiens</c:v>
                  </c:pt>
                </c:lvl>
              </c:multiLvlStrCache>
            </c:multiLvlStrRef>
          </c:cat>
          <c:val>
            <c:numRef>
              <c:f>Sheet1!$C$2:$C$11</c:f>
              <c:numCache>
                <c:formatCode>General</c:formatCode>
                <c:ptCount val="10"/>
                <c:pt idx="0">
                  <c:v>4.0999999999999996</c:v>
                </c:pt>
                <c:pt idx="1">
                  <c:v>0.5</c:v>
                </c:pt>
                <c:pt idx="2">
                  <c:v>1</c:v>
                </c:pt>
                <c:pt idx="3">
                  <c:v>0.1</c:v>
                </c:pt>
                <c:pt idx="4">
                  <c:v>0.5</c:v>
                </c:pt>
                <c:pt idx="5">
                  <c:v>0</c:v>
                </c:pt>
                <c:pt idx="6">
                  <c:v>0.3</c:v>
                </c:pt>
                <c:pt idx="7">
                  <c:v>0</c:v>
                </c:pt>
                <c:pt idx="8">
                  <c:v>0.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EB7-42C6-9F8D-B8552DF35E35}"/>
                </c:ext>
              </c:extLst>
            </c:dLbl>
            <c:dLbl>
              <c:idx val="1"/>
              <c:tx>
                <c:rich>
                  <a:bodyPr/>
                  <a:lstStyle/>
                  <a:p>
                    <a:r>
                      <a:t>29.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EB7-42C6-9F8D-B8552DF35E35}"/>
                </c:ext>
              </c:extLst>
            </c:dLbl>
            <c:dLbl>
              <c:idx val="2"/>
              <c:tx>
                <c:rich>
                  <a:bodyPr/>
                  <a:lstStyle/>
                  <a:p>
                    <a:r>
                      <a:t>106.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EB7-42C6-9F8D-B8552DF35E35}"/>
                </c:ext>
              </c:extLst>
            </c:dLbl>
            <c:dLbl>
              <c:idx val="3"/>
              <c:tx>
                <c:rich>
                  <a:bodyPr/>
                  <a:lstStyle/>
                  <a:p>
                    <a:r>
                      <a:t>55.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EB7-42C6-9F8D-B8552DF35E35}"/>
                </c:ext>
              </c:extLst>
            </c:dLbl>
            <c:dLbl>
              <c:idx val="4"/>
              <c:tx>
                <c:rich>
                  <a:bodyPr/>
                  <a:lstStyle/>
                  <a:p>
                    <a:r>
                      <a:t>77.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EB7-42C6-9F8D-B8552DF35E35}"/>
                </c:ext>
              </c:extLst>
            </c:dLbl>
            <c:dLbl>
              <c:idx val="5"/>
              <c:tx>
                <c:rich>
                  <a:bodyPr/>
                  <a:lstStyle/>
                  <a:p>
                    <a:r>
                      <a:t>38.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EB7-42C6-9F8D-B8552DF35E35}"/>
                </c:ext>
              </c:extLst>
            </c:dLbl>
            <c:dLbl>
              <c:idx val="6"/>
              <c:tx>
                <c:rich>
                  <a:bodyPr/>
                  <a:lstStyle/>
                  <a:p>
                    <a:r>
                      <a:t>22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EB7-42C6-9F8D-B8552DF35E35}"/>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EB7-42C6-9F8D-B8552DF35E35}"/>
                </c:ext>
              </c:extLst>
            </c:dLbl>
            <c:dLbl>
              <c:idx val="8"/>
              <c:tx>
                <c:rich>
                  <a:bodyPr/>
                  <a:lstStyle/>
                  <a:p>
                    <a:r>
                      <a:t>12.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EB7-42C6-9F8D-B8552DF35E35}"/>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EB7-42C6-9F8D-B8552DF35E3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Mousseux Italiens</c:v>
                  </c:pt>
                </c:lvl>
              </c:multiLvlStrCache>
            </c:multiLvlStrRef>
          </c:cat>
          <c:val>
            <c:numRef>
              <c:f>Sheet1!$D$2:$D$11</c:f>
              <c:numCache>
                <c:formatCode>General</c:formatCode>
                <c:ptCount val="10"/>
                <c:pt idx="0">
                  <c:v>52.975099999999998</c:v>
                </c:pt>
                <c:pt idx="1">
                  <c:v>29.342099999999999</c:v>
                </c:pt>
                <c:pt idx="2">
                  <c:v>106.7418</c:v>
                </c:pt>
                <c:pt idx="3">
                  <c:v>55.7864</c:v>
                </c:pt>
                <c:pt idx="4">
                  <c:v>77.956299999999999</c:v>
                </c:pt>
                <c:pt idx="5">
                  <c:v>38.017800000000001</c:v>
                </c:pt>
                <c:pt idx="6">
                  <c:v>225.2834</c:v>
                </c:pt>
                <c:pt idx="7">
                  <c:v>0</c:v>
                </c:pt>
                <c:pt idx="8">
                  <c:v>12.029199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DAD-403F-AC53-984DA636E5E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ADAD-403F-AC53-984DA636E5E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Crus</c:v>
                  </c:pt>
                </c:lvl>
              </c:multiLvlStrCache>
            </c:multiLvlStrRef>
          </c:cat>
          <c:val>
            <c:numRef>
              <c:f>Sheet1!$C$2:$C$11</c:f>
              <c:numCache>
                <c:formatCode>General</c:formatCode>
                <c:ptCount val="10"/>
                <c:pt idx="0">
                  <c:v>2.4</c:v>
                </c:pt>
                <c:pt idx="1">
                  <c:v>0.2</c:v>
                </c:pt>
                <c:pt idx="2">
                  <c:v>0.4</c:v>
                </c:pt>
                <c:pt idx="3">
                  <c:v>0</c:v>
                </c:pt>
                <c:pt idx="4">
                  <c:v>0.2</c:v>
                </c:pt>
                <c:pt idx="5">
                  <c:v>0</c:v>
                </c:pt>
                <c:pt idx="6">
                  <c:v>0.2</c:v>
                </c:pt>
                <c:pt idx="7">
                  <c:v>0</c:v>
                </c:pt>
                <c:pt idx="8">
                  <c:v>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DAD-403F-AC53-984DA636E5E0}"/>
                </c:ext>
              </c:extLst>
            </c:dLbl>
            <c:dLbl>
              <c:idx val="1"/>
              <c:tx>
                <c:rich>
                  <a:bodyPr/>
                  <a:lstStyle/>
                  <a:p>
                    <a:r>
                      <a:t>3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DAD-403F-AC53-984DA636E5E0}"/>
                </c:ext>
              </c:extLst>
            </c:dLbl>
            <c:dLbl>
              <c:idx val="2"/>
              <c:tx>
                <c:rich>
                  <a:bodyPr/>
                  <a:lstStyle/>
                  <a:p>
                    <a:r>
                      <a:t>9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DAD-403F-AC53-984DA636E5E0}"/>
                </c:ext>
              </c:extLst>
            </c:dLbl>
            <c:dLbl>
              <c:idx val="3"/>
              <c:tx>
                <c:rich>
                  <a:bodyPr/>
                  <a:lstStyle/>
                  <a:p>
                    <a:r>
                      <a:t>58.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DAD-403F-AC53-984DA636E5E0}"/>
                </c:ext>
              </c:extLst>
            </c:dLbl>
            <c:dLbl>
              <c:idx val="4"/>
              <c:tx>
                <c:rich>
                  <a:bodyPr/>
                  <a:lstStyle/>
                  <a:p>
                    <a:r>
                      <a:t>7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DAD-403F-AC53-984DA636E5E0}"/>
                </c:ext>
              </c:extLst>
            </c:dLbl>
            <c:dLbl>
              <c:idx val="5"/>
              <c:tx>
                <c:rich>
                  <a:bodyPr/>
                  <a:lstStyle/>
                  <a:p>
                    <a:r>
                      <a:t>38.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DAD-403F-AC53-984DA636E5E0}"/>
                </c:ext>
              </c:extLst>
            </c:dLbl>
            <c:dLbl>
              <c:idx val="6"/>
              <c:tx>
                <c:rich>
                  <a:bodyPr/>
                  <a:lstStyle/>
                  <a:p>
                    <a:r>
                      <a:t>1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DAD-403F-AC53-984DA636E5E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DAD-403F-AC53-984DA636E5E0}"/>
                </c:ext>
              </c:extLst>
            </c:dLbl>
            <c:dLbl>
              <c:idx val="8"/>
              <c:tx>
                <c:rich>
                  <a:bodyPr/>
                  <a:lstStyle/>
                  <a:p>
                    <a:r>
                      <a:t>39.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DAD-403F-AC53-984DA636E5E0}"/>
                </c:ext>
              </c:extLst>
            </c:dLbl>
            <c:dLbl>
              <c:idx val="9"/>
              <c:tx>
                <c:rich>
                  <a:bodyPr/>
                  <a:lstStyle/>
                  <a:p>
                    <a:r>
                      <a:t>44.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DAD-403F-AC53-984DA636E5E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Crus</c:v>
                  </c:pt>
                </c:lvl>
              </c:multiLvlStrCache>
            </c:multiLvlStrRef>
          </c:cat>
          <c:val>
            <c:numRef>
              <c:f>Sheet1!$D$2:$D$11</c:f>
              <c:numCache>
                <c:formatCode>General</c:formatCode>
                <c:ptCount val="10"/>
                <c:pt idx="0">
                  <c:v>53.6935</c:v>
                </c:pt>
                <c:pt idx="1">
                  <c:v>30.215599999999998</c:v>
                </c:pt>
                <c:pt idx="2">
                  <c:v>98.810699999999997</c:v>
                </c:pt>
                <c:pt idx="3">
                  <c:v>58.055700000000002</c:v>
                </c:pt>
                <c:pt idx="4">
                  <c:v>73.642300000000006</c:v>
                </c:pt>
                <c:pt idx="5">
                  <c:v>38.415900000000001</c:v>
                </c:pt>
                <c:pt idx="6">
                  <c:v>187.09819999999999</c:v>
                </c:pt>
                <c:pt idx="7">
                  <c:v>0</c:v>
                </c:pt>
                <c:pt idx="8">
                  <c:v>39.974299999999999</c:v>
                </c:pt>
                <c:pt idx="9">
                  <c:v>44.8485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E8C-4291-A57D-00F5D63061A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0E8C-4291-A57D-00F5D63061A4}"/>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Millesimes</c:v>
                  </c:pt>
                </c:lvl>
              </c:multiLvlStrCache>
            </c:multiLvlStrRef>
          </c:cat>
          <c:val>
            <c:numRef>
              <c:f>Sheet1!$C$2:$C$11</c:f>
              <c:numCache>
                <c:formatCode>General</c:formatCode>
                <c:ptCount val="10"/>
                <c:pt idx="0">
                  <c:v>1.3</c:v>
                </c:pt>
                <c:pt idx="1">
                  <c:v>0.2</c:v>
                </c:pt>
                <c:pt idx="2">
                  <c:v>0.2</c:v>
                </c:pt>
                <c:pt idx="3">
                  <c:v>0</c:v>
                </c:pt>
                <c:pt idx="4">
                  <c:v>0.1</c:v>
                </c:pt>
                <c:pt idx="5">
                  <c:v>0</c:v>
                </c:pt>
                <c:pt idx="6">
                  <c:v>0.1</c:v>
                </c:pt>
                <c:pt idx="7">
                  <c:v>0</c:v>
                </c:pt>
                <c:pt idx="8">
                  <c:v>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9.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E8C-4291-A57D-00F5D63061A4}"/>
                </c:ext>
              </c:extLst>
            </c:dLbl>
            <c:dLbl>
              <c:idx val="1"/>
              <c:tx>
                <c:rich>
                  <a:bodyPr/>
                  <a:lstStyle/>
                  <a:p>
                    <a:r>
                      <a:t>29.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E8C-4291-A57D-00F5D63061A4}"/>
                </c:ext>
              </c:extLst>
            </c:dLbl>
            <c:dLbl>
              <c:idx val="2"/>
              <c:tx>
                <c:rich>
                  <a:bodyPr/>
                  <a:lstStyle/>
                  <a:p>
                    <a:r>
                      <a:t>92.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E8C-4291-A57D-00F5D63061A4}"/>
                </c:ext>
              </c:extLst>
            </c:dLbl>
            <c:dLbl>
              <c:idx val="3"/>
              <c:tx>
                <c:rich>
                  <a:bodyPr/>
                  <a:lstStyle/>
                  <a:p>
                    <a:r>
                      <a:t>5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E8C-4291-A57D-00F5D63061A4}"/>
                </c:ext>
              </c:extLst>
            </c:dLbl>
            <c:dLbl>
              <c:idx val="4"/>
              <c:tx>
                <c:rich>
                  <a:bodyPr/>
                  <a:lstStyle/>
                  <a:p>
                    <a:r>
                      <a:t>69.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E8C-4291-A57D-00F5D63061A4}"/>
                </c:ext>
              </c:extLst>
            </c:dLbl>
            <c:dLbl>
              <c:idx val="5"/>
              <c:tx>
                <c:rich>
                  <a:bodyPr/>
                  <a:lstStyle/>
                  <a:p>
                    <a:r>
                      <a:t>37.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E8C-4291-A57D-00F5D63061A4}"/>
                </c:ext>
              </c:extLst>
            </c:dLbl>
            <c:dLbl>
              <c:idx val="6"/>
              <c:tx>
                <c:rich>
                  <a:bodyPr/>
                  <a:lstStyle/>
                  <a:p>
                    <a:r>
                      <a:t>40.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E8C-4291-A57D-00F5D63061A4}"/>
                </c:ext>
              </c:extLst>
            </c:dLbl>
            <c:dLbl>
              <c:idx val="7"/>
              <c:tx>
                <c:rich>
                  <a:bodyPr/>
                  <a:lstStyle/>
                  <a:p>
                    <a:r>
                      <a:t>43.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E8C-4291-A57D-00F5D63061A4}"/>
                </c:ext>
              </c:extLst>
            </c:dLbl>
            <c:dLbl>
              <c:idx val="8"/>
              <c:tx>
                <c:rich>
                  <a:bodyPr/>
                  <a:lstStyle/>
                  <a:p>
                    <a:r>
                      <a:t>189.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E8C-4291-A57D-00F5D63061A4}"/>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E8C-4291-A57D-00F5D63061A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Millesimes</c:v>
                  </c:pt>
                </c:lvl>
              </c:multiLvlStrCache>
            </c:multiLvlStrRef>
          </c:cat>
          <c:val>
            <c:numRef>
              <c:f>Sheet1!$D$2:$D$11</c:f>
              <c:numCache>
                <c:formatCode>General</c:formatCode>
                <c:ptCount val="10"/>
                <c:pt idx="0">
                  <c:v>49.7729</c:v>
                </c:pt>
                <c:pt idx="1">
                  <c:v>29.226299999999998</c:v>
                </c:pt>
                <c:pt idx="2">
                  <c:v>92.624799999999993</c:v>
                </c:pt>
                <c:pt idx="3">
                  <c:v>55.4955</c:v>
                </c:pt>
                <c:pt idx="4">
                  <c:v>69.882499999999993</c:v>
                </c:pt>
                <c:pt idx="5">
                  <c:v>37.238300000000002</c:v>
                </c:pt>
                <c:pt idx="6">
                  <c:v>40.115699999999997</c:v>
                </c:pt>
                <c:pt idx="7">
                  <c:v>43.537300000000002</c:v>
                </c:pt>
                <c:pt idx="8">
                  <c:v>189.12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A0D3F325-2600-46CB-AEF5-361964E6BD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6EEEEAD-BAC0-471D-A7BB-5286C7223D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4544BA09-05A2-4D1F-83A5-16CC29C145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9ADBB94A-3646-4ADF-BAD4-5E9D77F3D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6076E117-8E68-4B58-974E-FAA3D8B3D3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480CF159-7958-49D9-B71F-BB1CD7EF22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533C8B81-0085-47FE-B047-F1EBDEDADE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BFD3344-41F4-403C-B5CF-F02709E767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1.206</c:v>
                </c:pt>
                <c:pt idx="1">
                  <c:v>43.504300000000001</c:v>
                </c:pt>
                <c:pt idx="2">
                  <c:v>39.130899999999997</c:v>
                </c:pt>
              </c:numCache>
            </c:numRef>
          </c:xVal>
          <c:yVal>
            <c:numRef>
              <c:f>Sheet1!$B$2:$B$4</c:f>
              <c:numCache>
                <c:formatCode>General</c:formatCode>
                <c:ptCount val="3"/>
                <c:pt idx="0">
                  <c:v>0.93700000000000006</c:v>
                </c:pt>
                <c:pt idx="1">
                  <c:v>1.3069999999999999</c:v>
                </c:pt>
                <c:pt idx="2">
                  <c:v>1.1140000000000001</c:v>
                </c:pt>
              </c:numCache>
            </c:numRef>
          </c:yVal>
          <c:bubbleSize>
            <c:numRef>
              <c:f>Sheet1!$C$2:$C$4</c:f>
              <c:numCache>
                <c:formatCode>General</c:formatCode>
                <c:ptCount val="3"/>
                <c:pt idx="0">
                  <c:v>1767506</c:v>
                </c:pt>
                <c:pt idx="1">
                  <c:v>484768</c:v>
                </c:pt>
                <c:pt idx="2">
                  <c:v>30796</c:v>
                </c:pt>
              </c:numCache>
            </c:numRef>
          </c:bubbleSize>
          <c:bubble3D val="0"/>
          <c:extLst>
            <c:ext xmlns:c15="http://schemas.microsoft.com/office/drawing/2012/chart" uri="{02D57815-91ED-43cb-92C2-25804820EDAC}">
              <c15:datalabelsRange>
                <c15:f>Sheet1!$E$2:$E$10</c15:f>
                <c15:dlblRangeCache>
                  <c:ptCount val="9"/>
                  <c:pt idx="0">
                    <c:v>Nicolas Feuillatte</c:v>
                  </c:pt>
                  <c:pt idx="1">
                    <c:v>Moët &amp; Chandon</c:v>
                  </c:pt>
                  <c:pt idx="2">
                    <c:v>Canard Duchê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2"/>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6E9-4AEB-8972-364E34CBF85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06E9-4AEB-8972-364E34CBF857}"/>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Mousseux Alsace</c:v>
                  </c:pt>
                  <c:pt idx="6">
                    <c:v>Rosés</c:v>
                  </c:pt>
                  <c:pt idx="8">
                    <c:v>Millesimes</c:v>
                  </c:pt>
                </c:lvl>
              </c:multiLvlStrCache>
            </c:multiLvlStrRef>
          </c:cat>
          <c:val>
            <c:numRef>
              <c:f>Sheet1!$C$2:$C$11</c:f>
              <c:numCache>
                <c:formatCode>General</c:formatCode>
                <c:ptCount val="10"/>
                <c:pt idx="0">
                  <c:v>1</c:v>
                </c:pt>
                <c:pt idx="1">
                  <c:v>0.1</c:v>
                </c:pt>
                <c:pt idx="2">
                  <c:v>0.2</c:v>
                </c:pt>
                <c:pt idx="3">
                  <c:v>0</c:v>
                </c:pt>
                <c:pt idx="4">
                  <c:v>0.2</c:v>
                </c:pt>
                <c:pt idx="5">
                  <c:v>0</c:v>
                </c:pt>
                <c:pt idx="6">
                  <c:v>0.1</c:v>
                </c:pt>
                <c:pt idx="7">
                  <c:v>0</c:v>
                </c:pt>
                <c:pt idx="8">
                  <c:v>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6E9-4AEB-8972-364E34CBF857}"/>
                </c:ext>
              </c:extLst>
            </c:dLbl>
            <c:dLbl>
              <c:idx val="1"/>
              <c:tx>
                <c:rich>
                  <a:bodyPr/>
                  <a:lstStyle/>
                  <a:p>
                    <a:r>
                      <a:t>2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6E9-4AEB-8972-364E34CBF857}"/>
                </c:ext>
              </c:extLst>
            </c:dLbl>
            <c:dLbl>
              <c:idx val="2"/>
              <c:tx>
                <c:rich>
                  <a:bodyPr/>
                  <a:lstStyle/>
                  <a:p>
                    <a:r>
                      <a:t>64.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6E9-4AEB-8972-364E34CBF857}"/>
                </c:ext>
              </c:extLst>
            </c:dLbl>
            <c:dLbl>
              <c:idx val="3"/>
              <c:tx>
                <c:rich>
                  <a:bodyPr/>
                  <a:lstStyle/>
                  <a:p>
                    <a:r>
                      <a:t>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6E9-4AEB-8972-364E34CBF857}"/>
                </c:ext>
              </c:extLst>
            </c:dLbl>
            <c:dLbl>
              <c:idx val="4"/>
              <c:tx>
                <c:rich>
                  <a:bodyPr/>
                  <a:lstStyle/>
                  <a:p>
                    <a:r>
                      <a:t>1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6E9-4AEB-8972-364E34CBF85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6E9-4AEB-8972-364E34CBF857}"/>
                </c:ext>
              </c:extLst>
            </c:dLbl>
            <c:dLbl>
              <c:idx val="6"/>
              <c:tx>
                <c:rich>
                  <a:bodyPr/>
                  <a:lstStyle/>
                  <a:p>
                    <a:r>
                      <a:t>64.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6E9-4AEB-8972-364E34CBF857}"/>
                </c:ext>
              </c:extLst>
            </c:dLbl>
            <c:dLbl>
              <c:idx val="7"/>
              <c:tx>
                <c:rich>
                  <a:bodyPr/>
                  <a:lstStyle/>
                  <a:p>
                    <a:r>
                      <a:t>35.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6E9-4AEB-8972-364E34CBF857}"/>
                </c:ext>
              </c:extLst>
            </c:dLbl>
            <c:dLbl>
              <c:idx val="8"/>
              <c:tx>
                <c:rich>
                  <a:bodyPr/>
                  <a:lstStyle/>
                  <a:p>
                    <a:r>
                      <a:t>144.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6E9-4AEB-8972-364E34CBF85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6E9-4AEB-8972-364E34CBF85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Mousseux Alsace</c:v>
                  </c:pt>
                  <c:pt idx="6">
                    <c:v>Rosés</c:v>
                  </c:pt>
                  <c:pt idx="8">
                    <c:v>Millesimes</c:v>
                  </c:pt>
                </c:lvl>
              </c:multiLvlStrCache>
            </c:multiLvlStrRef>
          </c:cat>
          <c:val>
            <c:numRef>
              <c:f>Sheet1!$D$2:$D$11</c:f>
              <c:numCache>
                <c:formatCode>General</c:formatCode>
                <c:ptCount val="10"/>
                <c:pt idx="0">
                  <c:v>49.9983</c:v>
                </c:pt>
                <c:pt idx="1">
                  <c:v>28.638400000000001</c:v>
                </c:pt>
                <c:pt idx="2">
                  <c:v>64.121099999999998</c:v>
                </c:pt>
                <c:pt idx="3">
                  <c:v>57.200899999999997</c:v>
                </c:pt>
                <c:pt idx="4">
                  <c:v>16.241700000000002</c:v>
                </c:pt>
                <c:pt idx="5">
                  <c:v>0</c:v>
                </c:pt>
                <c:pt idx="6">
                  <c:v>64.334999999999994</c:v>
                </c:pt>
                <c:pt idx="7">
                  <c:v>35.692599999999999</c:v>
                </c:pt>
                <c:pt idx="8">
                  <c:v>144.41679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264-4C5A-827B-A358F331349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A264-4C5A-827B-A358F3313495}"/>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Crus</c:v>
                  </c:pt>
                </c:lvl>
              </c:multiLvlStrCache>
            </c:multiLvlStrRef>
          </c:cat>
          <c:val>
            <c:numRef>
              <c:f>Sheet1!$C$2:$C$11</c:f>
              <c:numCache>
                <c:formatCode>General</c:formatCode>
                <c:ptCount val="10"/>
                <c:pt idx="0">
                  <c:v>11.8</c:v>
                </c:pt>
                <c:pt idx="1">
                  <c:v>1.2</c:v>
                </c:pt>
                <c:pt idx="2">
                  <c:v>2.8</c:v>
                </c:pt>
                <c:pt idx="3">
                  <c:v>0.1</c:v>
                </c:pt>
                <c:pt idx="4">
                  <c:v>1.5</c:v>
                </c:pt>
                <c:pt idx="5">
                  <c:v>0.1</c:v>
                </c:pt>
                <c:pt idx="6">
                  <c:v>1</c:v>
                </c:pt>
                <c:pt idx="7">
                  <c:v>0</c:v>
                </c:pt>
                <c:pt idx="8">
                  <c:v>0.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3.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264-4C5A-827B-A358F3313495}"/>
                </c:ext>
              </c:extLst>
            </c:dLbl>
            <c:dLbl>
              <c:idx val="1"/>
              <c:tx>
                <c:rich>
                  <a:bodyPr/>
                  <a:lstStyle/>
                  <a:p>
                    <a:r>
                      <a:t>2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264-4C5A-827B-A358F3313495}"/>
                </c:ext>
              </c:extLst>
            </c:dLbl>
            <c:dLbl>
              <c:idx val="2"/>
              <c:tx>
                <c:rich>
                  <a:bodyPr/>
                  <a:lstStyle/>
                  <a:p>
                    <a:r>
                      <a:t>10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264-4C5A-827B-A358F3313495}"/>
                </c:ext>
              </c:extLst>
            </c:dLbl>
            <c:dLbl>
              <c:idx val="3"/>
              <c:tx>
                <c:rich>
                  <a:bodyPr/>
                  <a:lstStyle/>
                  <a:p>
                    <a:r>
                      <a:t>54.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264-4C5A-827B-A358F3313495}"/>
                </c:ext>
              </c:extLst>
            </c:dLbl>
            <c:dLbl>
              <c:idx val="4"/>
              <c:tx>
                <c:rich>
                  <a:bodyPr/>
                  <a:lstStyle/>
                  <a:p>
                    <a:r>
                      <a:t>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264-4C5A-827B-A358F3313495}"/>
                </c:ext>
              </c:extLst>
            </c:dLbl>
            <c:dLbl>
              <c:idx val="5"/>
              <c:tx>
                <c:rich>
                  <a:bodyPr/>
                  <a:lstStyle/>
                  <a:p>
                    <a:r>
                      <a:t>37.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264-4C5A-827B-A358F3313495}"/>
                </c:ext>
              </c:extLst>
            </c:dLbl>
            <c:dLbl>
              <c:idx val="6"/>
              <c:tx>
                <c:rich>
                  <a:bodyPr/>
                  <a:lstStyle/>
                  <a:p>
                    <a:r>
                      <a:t>208.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264-4C5A-827B-A358F3313495}"/>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264-4C5A-827B-A358F3313495}"/>
                </c:ext>
              </c:extLst>
            </c:dLbl>
            <c:dLbl>
              <c:idx val="8"/>
              <c:tx>
                <c:rich>
                  <a:bodyPr/>
                  <a:lstStyle/>
                  <a:p>
                    <a:r>
                      <a:t>39.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264-4C5A-827B-A358F3313495}"/>
                </c:ext>
              </c:extLst>
            </c:dLbl>
            <c:dLbl>
              <c:idx val="9"/>
              <c:tx>
                <c:rich>
                  <a:bodyPr/>
                  <a:lstStyle/>
                  <a:p>
                    <a:r>
                      <a:t>43.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264-4C5A-827B-A358F331349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Millesimes</c:v>
                  </c:pt>
                  <c:pt idx="8">
                    <c:v>Crus</c:v>
                  </c:pt>
                </c:lvl>
              </c:multiLvlStrCache>
            </c:multiLvlStrRef>
          </c:cat>
          <c:val>
            <c:numRef>
              <c:f>Sheet1!$D$2:$D$11</c:f>
              <c:numCache>
                <c:formatCode>General</c:formatCode>
                <c:ptCount val="10"/>
                <c:pt idx="0">
                  <c:v>53.777200000000001</c:v>
                </c:pt>
                <c:pt idx="1">
                  <c:v>29.4495</c:v>
                </c:pt>
                <c:pt idx="2">
                  <c:v>103.51739999999999</c:v>
                </c:pt>
                <c:pt idx="3">
                  <c:v>54.569200000000002</c:v>
                </c:pt>
                <c:pt idx="4">
                  <c:v>86.603999999999999</c:v>
                </c:pt>
                <c:pt idx="5">
                  <c:v>37.9148</c:v>
                </c:pt>
                <c:pt idx="6">
                  <c:v>208.25470000000001</c:v>
                </c:pt>
                <c:pt idx="7">
                  <c:v>0</c:v>
                </c:pt>
                <c:pt idx="8">
                  <c:v>39.921300000000002</c:v>
                </c:pt>
                <c:pt idx="9">
                  <c:v>43.94890000000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F95C-467A-9E5D-76941A276E0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F95C-467A-9E5D-76941A276E0F}"/>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C$2:$C$11</c:f>
              <c:numCache>
                <c:formatCode>General</c:formatCode>
                <c:ptCount val="10"/>
                <c:pt idx="0">
                  <c:v>6.2</c:v>
                </c:pt>
                <c:pt idx="1">
                  <c:v>0.7</c:v>
                </c:pt>
                <c:pt idx="2">
                  <c:v>1</c:v>
                </c:pt>
                <c:pt idx="3">
                  <c:v>0.1</c:v>
                </c:pt>
                <c:pt idx="4">
                  <c:v>0.6</c:v>
                </c:pt>
                <c:pt idx="5">
                  <c:v>0.1</c:v>
                </c:pt>
                <c:pt idx="6">
                  <c:v>0.4</c:v>
                </c:pt>
                <c:pt idx="7">
                  <c:v>0</c:v>
                </c:pt>
                <c:pt idx="8">
                  <c:v>0.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95C-467A-9E5D-76941A276E0F}"/>
                </c:ext>
              </c:extLst>
            </c:dLbl>
            <c:dLbl>
              <c:idx val="1"/>
              <c:tx>
                <c:rich>
                  <a:bodyPr/>
                  <a:lstStyle/>
                  <a:p>
                    <a:r>
                      <a:t>29.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95C-467A-9E5D-76941A276E0F}"/>
                </c:ext>
              </c:extLst>
            </c:dLbl>
            <c:dLbl>
              <c:idx val="2"/>
              <c:tx>
                <c:rich>
                  <a:bodyPr/>
                  <a:lstStyle/>
                  <a:p>
                    <a:r>
                      <a:t>9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95C-467A-9E5D-76941A276E0F}"/>
                </c:ext>
              </c:extLst>
            </c:dLbl>
            <c:dLbl>
              <c:idx val="3"/>
              <c:tx>
                <c:rich>
                  <a:bodyPr/>
                  <a:lstStyle/>
                  <a:p>
                    <a:r>
                      <a:t>54.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95C-467A-9E5D-76941A276E0F}"/>
                </c:ext>
              </c:extLst>
            </c:dLbl>
            <c:dLbl>
              <c:idx val="4"/>
              <c:tx>
                <c:rich>
                  <a:bodyPr/>
                  <a:lstStyle/>
                  <a:p>
                    <a:r>
                      <a:t>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95C-467A-9E5D-76941A276E0F}"/>
                </c:ext>
              </c:extLst>
            </c:dLbl>
            <c:dLbl>
              <c:idx val="5"/>
              <c:tx>
                <c:rich>
                  <a:bodyPr/>
                  <a:lstStyle/>
                  <a:p>
                    <a:r>
                      <a:t>38.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95C-467A-9E5D-76941A276E0F}"/>
                </c:ext>
              </c:extLst>
            </c:dLbl>
            <c:dLbl>
              <c:idx val="6"/>
              <c:tx>
                <c:rich>
                  <a:bodyPr/>
                  <a:lstStyle/>
                  <a:p>
                    <a:r>
                      <a:t>4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95C-467A-9E5D-76941A276E0F}"/>
                </c:ext>
              </c:extLst>
            </c:dLbl>
            <c:dLbl>
              <c:idx val="7"/>
              <c:tx>
                <c:rich>
                  <a:bodyPr/>
                  <a:lstStyle/>
                  <a:p>
                    <a:r>
                      <a:t>4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95C-467A-9E5D-76941A276E0F}"/>
                </c:ext>
              </c:extLst>
            </c:dLbl>
            <c:dLbl>
              <c:idx val="8"/>
              <c:tx>
                <c:rich>
                  <a:bodyPr/>
                  <a:lstStyle/>
                  <a:p>
                    <a:r>
                      <a:t>4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95C-467A-9E5D-76941A276E0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95C-467A-9E5D-76941A276E0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D$2:$D$11</c:f>
              <c:numCache>
                <c:formatCode>General</c:formatCode>
                <c:ptCount val="10"/>
                <c:pt idx="0">
                  <c:v>52.288400000000003</c:v>
                </c:pt>
                <c:pt idx="1">
                  <c:v>29.443300000000001</c:v>
                </c:pt>
                <c:pt idx="2">
                  <c:v>96.4328</c:v>
                </c:pt>
                <c:pt idx="3">
                  <c:v>54.148600000000002</c:v>
                </c:pt>
                <c:pt idx="4">
                  <c:v>71.403099999999995</c:v>
                </c:pt>
                <c:pt idx="5">
                  <c:v>38.486699999999999</c:v>
                </c:pt>
                <c:pt idx="6">
                  <c:v>40.002000000000002</c:v>
                </c:pt>
                <c:pt idx="7">
                  <c:v>43.6907</c:v>
                </c:pt>
                <c:pt idx="8">
                  <c:v>44.6783</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EA0-4372-9A4A-8DED37AD3AE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EA0-4372-9A4A-8DED37AD3AE2}"/>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C$2:$C$11</c:f>
              <c:numCache>
                <c:formatCode>General</c:formatCode>
                <c:ptCount val="10"/>
                <c:pt idx="0">
                  <c:v>9.4</c:v>
                </c:pt>
                <c:pt idx="1">
                  <c:v>1.1000000000000001</c:v>
                </c:pt>
                <c:pt idx="2">
                  <c:v>1.7</c:v>
                </c:pt>
                <c:pt idx="3">
                  <c:v>0.1</c:v>
                </c:pt>
                <c:pt idx="4">
                  <c:v>0.9</c:v>
                </c:pt>
                <c:pt idx="5">
                  <c:v>0.1</c:v>
                </c:pt>
                <c:pt idx="6">
                  <c:v>0.6</c:v>
                </c:pt>
                <c:pt idx="7">
                  <c:v>0</c:v>
                </c:pt>
                <c:pt idx="8">
                  <c:v>0.5</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EA0-4372-9A4A-8DED37AD3AE2}"/>
                </c:ext>
              </c:extLst>
            </c:dLbl>
            <c:dLbl>
              <c:idx val="1"/>
              <c:tx>
                <c:rich>
                  <a:bodyPr/>
                  <a:lstStyle/>
                  <a:p>
                    <a:r>
                      <a:t>2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EA0-4372-9A4A-8DED37AD3AE2}"/>
                </c:ext>
              </c:extLst>
            </c:dLbl>
            <c:dLbl>
              <c:idx val="2"/>
              <c:tx>
                <c:rich>
                  <a:bodyPr/>
                  <a:lstStyle/>
                  <a:p>
                    <a:r>
                      <a:t>9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EA0-4372-9A4A-8DED37AD3AE2}"/>
                </c:ext>
              </c:extLst>
            </c:dLbl>
            <c:dLbl>
              <c:idx val="3"/>
              <c:tx>
                <c:rich>
                  <a:bodyPr/>
                  <a:lstStyle/>
                  <a:p>
                    <a:r>
                      <a:t>55.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EA0-4372-9A4A-8DED37AD3AE2}"/>
                </c:ext>
              </c:extLst>
            </c:dLbl>
            <c:dLbl>
              <c:idx val="4"/>
              <c:tx>
                <c:rich>
                  <a:bodyPr/>
                  <a:lstStyle/>
                  <a:p>
                    <a:r>
                      <a:t>7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EA0-4372-9A4A-8DED37AD3AE2}"/>
                </c:ext>
              </c:extLst>
            </c:dLbl>
            <c:dLbl>
              <c:idx val="5"/>
              <c:tx>
                <c:rich>
                  <a:bodyPr/>
                  <a:lstStyle/>
                  <a:p>
                    <a:r>
                      <a:t>3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EA0-4372-9A4A-8DED37AD3AE2}"/>
                </c:ext>
              </c:extLst>
            </c:dLbl>
            <c:dLbl>
              <c:idx val="6"/>
              <c:tx>
                <c:rich>
                  <a:bodyPr/>
                  <a:lstStyle/>
                  <a:p>
                    <a:r>
                      <a:t>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EA0-4372-9A4A-8DED37AD3AE2}"/>
                </c:ext>
              </c:extLst>
            </c:dLbl>
            <c:dLbl>
              <c:idx val="7"/>
              <c:tx>
                <c:rich>
                  <a:bodyPr/>
                  <a:lstStyle/>
                  <a:p>
                    <a:r>
                      <a:t>4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EA0-4372-9A4A-8DED37AD3AE2}"/>
                </c:ext>
              </c:extLst>
            </c:dLbl>
            <c:dLbl>
              <c:idx val="8"/>
              <c:tx>
                <c:rich>
                  <a:bodyPr/>
                  <a:lstStyle/>
                  <a:p>
                    <a:r>
                      <a:t>4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EA0-4372-9A4A-8DED37AD3AE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EA0-4372-9A4A-8DED37AD3AE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D$2:$D$11</c:f>
              <c:numCache>
                <c:formatCode>General</c:formatCode>
                <c:ptCount val="10"/>
                <c:pt idx="0">
                  <c:v>51.913600000000002</c:v>
                </c:pt>
                <c:pt idx="1">
                  <c:v>29.5412</c:v>
                </c:pt>
                <c:pt idx="2">
                  <c:v>95.071700000000007</c:v>
                </c:pt>
                <c:pt idx="3">
                  <c:v>55.407800000000002</c:v>
                </c:pt>
                <c:pt idx="4">
                  <c:v>71.443700000000007</c:v>
                </c:pt>
                <c:pt idx="5">
                  <c:v>38.719799999999999</c:v>
                </c:pt>
                <c:pt idx="6">
                  <c:v>39.950000000000003</c:v>
                </c:pt>
                <c:pt idx="7">
                  <c:v>43.762900000000002</c:v>
                </c:pt>
                <c:pt idx="8">
                  <c:v>44.064500000000002</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2E4-4666-8DA2-0ACDB3A1179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92E4-4666-8DA2-0ACDB3A11795}"/>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C$2:$C$11</c:f>
              <c:numCache>
                <c:formatCode>General</c:formatCode>
                <c:ptCount val="10"/>
                <c:pt idx="0">
                  <c:v>7.6</c:v>
                </c:pt>
                <c:pt idx="1">
                  <c:v>0.8</c:v>
                </c:pt>
                <c:pt idx="2">
                  <c:v>1.4</c:v>
                </c:pt>
                <c:pt idx="3">
                  <c:v>0.1</c:v>
                </c:pt>
                <c:pt idx="4">
                  <c:v>0.7</c:v>
                </c:pt>
                <c:pt idx="5">
                  <c:v>0.1</c:v>
                </c:pt>
                <c:pt idx="6">
                  <c:v>0.6</c:v>
                </c:pt>
                <c:pt idx="7">
                  <c:v>0</c:v>
                </c:pt>
                <c:pt idx="8">
                  <c:v>0.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2.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2E4-4666-8DA2-0ACDB3A11795}"/>
                </c:ext>
              </c:extLst>
            </c:dLbl>
            <c:dLbl>
              <c:idx val="1"/>
              <c:tx>
                <c:rich>
                  <a:bodyPr/>
                  <a:lstStyle/>
                  <a:p>
                    <a:r>
                      <a:t>29.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2E4-4666-8DA2-0ACDB3A11795}"/>
                </c:ext>
              </c:extLst>
            </c:dLbl>
            <c:dLbl>
              <c:idx val="2"/>
              <c:tx>
                <c:rich>
                  <a:bodyPr/>
                  <a:lstStyle/>
                  <a:p>
                    <a:r>
                      <a:t>9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2E4-4666-8DA2-0ACDB3A11795}"/>
                </c:ext>
              </c:extLst>
            </c:dLbl>
            <c:dLbl>
              <c:idx val="3"/>
              <c:tx>
                <c:rich>
                  <a:bodyPr/>
                  <a:lstStyle/>
                  <a:p>
                    <a:r>
                      <a:t>54.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2E4-4666-8DA2-0ACDB3A11795}"/>
                </c:ext>
              </c:extLst>
            </c:dLbl>
            <c:dLbl>
              <c:idx val="4"/>
              <c:tx>
                <c:rich>
                  <a:bodyPr/>
                  <a:lstStyle/>
                  <a:p>
                    <a:r>
                      <a:t>70.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2E4-4666-8DA2-0ACDB3A11795}"/>
                </c:ext>
              </c:extLst>
            </c:dLbl>
            <c:dLbl>
              <c:idx val="5"/>
              <c:tx>
                <c:rich>
                  <a:bodyPr/>
                  <a:lstStyle/>
                  <a:p>
                    <a:r>
                      <a:t>38.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2E4-4666-8DA2-0ACDB3A11795}"/>
                </c:ext>
              </c:extLst>
            </c:dLbl>
            <c:dLbl>
              <c:idx val="6"/>
              <c:tx>
                <c:rich>
                  <a:bodyPr/>
                  <a:lstStyle/>
                  <a:p>
                    <a:r>
                      <a:t>40.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2E4-4666-8DA2-0ACDB3A11795}"/>
                </c:ext>
              </c:extLst>
            </c:dLbl>
            <c:dLbl>
              <c:idx val="7"/>
              <c:tx>
                <c:rich>
                  <a:bodyPr/>
                  <a:lstStyle/>
                  <a:p>
                    <a:r>
                      <a:t>4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2E4-4666-8DA2-0ACDB3A11795}"/>
                </c:ext>
              </c:extLst>
            </c:dLbl>
            <c:dLbl>
              <c:idx val="8"/>
              <c:tx>
                <c:rich>
                  <a:bodyPr/>
                  <a:lstStyle/>
                  <a:p>
                    <a:r>
                      <a:t>4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2E4-4666-8DA2-0ACDB3A11795}"/>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2E4-4666-8DA2-0ACDB3A1179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D$2:$D$11</c:f>
              <c:numCache>
                <c:formatCode>General</c:formatCode>
                <c:ptCount val="10"/>
                <c:pt idx="0">
                  <c:v>52.087000000000003</c:v>
                </c:pt>
                <c:pt idx="1">
                  <c:v>29.7624</c:v>
                </c:pt>
                <c:pt idx="2">
                  <c:v>96.240099999999998</c:v>
                </c:pt>
                <c:pt idx="3">
                  <c:v>54.806699999999999</c:v>
                </c:pt>
                <c:pt idx="4">
                  <c:v>70.820599999999999</c:v>
                </c:pt>
                <c:pt idx="5">
                  <c:v>38.188899999999997</c:v>
                </c:pt>
                <c:pt idx="6">
                  <c:v>40.056399999999996</c:v>
                </c:pt>
                <c:pt idx="7">
                  <c:v>42.754899999999999</c:v>
                </c:pt>
                <c:pt idx="8">
                  <c:v>44.022100000000002</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BA3B-4C4F-B1DD-DB14D44BAA1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BA3B-4C4F-B1DD-DB14D44BAA1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C$2:$C$11</c:f>
              <c:numCache>
                <c:formatCode>General</c:formatCode>
                <c:ptCount val="10"/>
                <c:pt idx="0">
                  <c:v>6.9</c:v>
                </c:pt>
                <c:pt idx="1">
                  <c:v>0.8</c:v>
                </c:pt>
                <c:pt idx="2">
                  <c:v>1.3</c:v>
                </c:pt>
                <c:pt idx="3">
                  <c:v>0.1</c:v>
                </c:pt>
                <c:pt idx="4">
                  <c:v>0.6</c:v>
                </c:pt>
                <c:pt idx="5">
                  <c:v>0.1</c:v>
                </c:pt>
                <c:pt idx="6">
                  <c:v>0.5</c:v>
                </c:pt>
                <c:pt idx="7">
                  <c:v>0</c:v>
                </c:pt>
                <c:pt idx="8">
                  <c:v>0.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A3B-4C4F-B1DD-DB14D44BAA10}"/>
                </c:ext>
              </c:extLst>
            </c:dLbl>
            <c:dLbl>
              <c:idx val="1"/>
              <c:tx>
                <c:rich>
                  <a:bodyPr/>
                  <a:lstStyle/>
                  <a:p>
                    <a:r>
                      <a:t>29.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A3B-4C4F-B1DD-DB14D44BAA10}"/>
                </c:ext>
              </c:extLst>
            </c:dLbl>
            <c:dLbl>
              <c:idx val="2"/>
              <c:tx>
                <c:rich>
                  <a:bodyPr/>
                  <a:lstStyle/>
                  <a:p>
                    <a:r>
                      <a:t>9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A3B-4C4F-B1DD-DB14D44BAA10}"/>
                </c:ext>
              </c:extLst>
            </c:dLbl>
            <c:dLbl>
              <c:idx val="3"/>
              <c:tx>
                <c:rich>
                  <a:bodyPr/>
                  <a:lstStyle/>
                  <a:p>
                    <a:r>
                      <a:t>54.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A3B-4C4F-B1DD-DB14D44BAA10}"/>
                </c:ext>
              </c:extLst>
            </c:dLbl>
            <c:dLbl>
              <c:idx val="4"/>
              <c:tx>
                <c:rich>
                  <a:bodyPr/>
                  <a:lstStyle/>
                  <a:p>
                    <a:r>
                      <a:t>6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A3B-4C4F-B1DD-DB14D44BAA10}"/>
                </c:ext>
              </c:extLst>
            </c:dLbl>
            <c:dLbl>
              <c:idx val="5"/>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A3B-4C4F-B1DD-DB14D44BAA10}"/>
                </c:ext>
              </c:extLst>
            </c:dLbl>
            <c:dLbl>
              <c:idx val="6"/>
              <c:tx>
                <c:rich>
                  <a:bodyPr/>
                  <a:lstStyle/>
                  <a:p>
                    <a:r>
                      <a:t>4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BA3B-4C4F-B1DD-DB14D44BAA10}"/>
                </c:ext>
              </c:extLst>
            </c:dLbl>
            <c:dLbl>
              <c:idx val="7"/>
              <c:tx>
                <c:rich>
                  <a:bodyPr/>
                  <a:lstStyle/>
                  <a:p>
                    <a:r>
                      <a:t>4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A3B-4C4F-B1DD-DB14D44BAA10}"/>
                </c:ext>
              </c:extLst>
            </c:dLbl>
            <c:dLbl>
              <c:idx val="8"/>
              <c:tx>
                <c:rich>
                  <a:bodyPr/>
                  <a:lstStyle/>
                  <a:p>
                    <a:r>
                      <a:t>44.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BA3B-4C4F-B1DD-DB14D44BAA1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A3B-4C4F-B1DD-DB14D44BAA1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Nicolas</c:v>
                  </c:pt>
                  <c:pt idx="2">
                    <c:v>Total</c:v>
                  </c:pt>
                  <c:pt idx="3">
                    <c:v>Nicolas</c:v>
                  </c:pt>
                  <c:pt idx="4">
                    <c:v>Total</c:v>
                  </c:pt>
                  <c:pt idx="5">
                    <c:v>Nicolas</c:v>
                  </c:pt>
                  <c:pt idx="6">
                    <c:v>Total</c:v>
                  </c:pt>
                  <c:pt idx="7">
                    <c:v>Nicolas</c:v>
                  </c:pt>
                  <c:pt idx="8">
                    <c:v>Total</c:v>
                  </c:pt>
                  <c:pt idx="9">
                    <c:v>Nicolas</c:v>
                  </c:pt>
                </c:lvl>
                <c:lvl>
                  <c:pt idx="0">
                    <c:v>Bruts</c:v>
                  </c:pt>
                  <c:pt idx="2">
                    <c:v>Blanc De Blancs</c:v>
                  </c:pt>
                  <c:pt idx="4">
                    <c:v>Rosés</c:v>
                  </c:pt>
                  <c:pt idx="6">
                    <c:v>Crus</c:v>
                  </c:pt>
                  <c:pt idx="8">
                    <c:v>Extra Brut</c:v>
                  </c:pt>
                </c:lvl>
              </c:multiLvlStrCache>
            </c:multiLvlStrRef>
          </c:cat>
          <c:val>
            <c:numRef>
              <c:f>Sheet1!$D$2:$D$11</c:f>
              <c:numCache>
                <c:formatCode>General</c:formatCode>
                <c:ptCount val="10"/>
                <c:pt idx="0">
                  <c:v>51.553199999999997</c:v>
                </c:pt>
                <c:pt idx="1">
                  <c:v>29.5824</c:v>
                </c:pt>
                <c:pt idx="2">
                  <c:v>91.7941</c:v>
                </c:pt>
                <c:pt idx="3">
                  <c:v>54.840200000000003</c:v>
                </c:pt>
                <c:pt idx="4">
                  <c:v>69.801000000000002</c:v>
                </c:pt>
                <c:pt idx="5">
                  <c:v>37.558</c:v>
                </c:pt>
                <c:pt idx="6">
                  <c:v>40.034799999999997</c:v>
                </c:pt>
                <c:pt idx="7">
                  <c:v>42.422400000000003</c:v>
                </c:pt>
                <c:pt idx="8">
                  <c:v>44.418100000000003</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5EC312-AE6C-4E5B-BD65-BF046EAEEA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27F559-0C82-43A8-BFA5-0C8A198859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B81426-8150-41C4-9C5B-8E69096574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C5D146-BF4A-49E5-8E21-DE0D9C9FF8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B7EBF9-D73C-4188-BCA1-0D9C8244D7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8A6384-C62B-47A2-91B2-8277049DFD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9EC0B3-34C7-4116-8D31-B805DC44EC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9FA25A-0FE4-4C19-A76A-C1F7DE6710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4.93470000000002</c:v>
                </c:pt>
                <c:pt idx="1">
                  <c:v>172.66370000000001</c:v>
                </c:pt>
                <c:pt idx="2">
                  <c:v>94.635300000000001</c:v>
                </c:pt>
                <c:pt idx="3">
                  <c:v>37.6342</c:v>
                </c:pt>
                <c:pt idx="4">
                  <c:v>243.43379999999999</c:v>
                </c:pt>
                <c:pt idx="5">
                  <c:v>64.109499999999997</c:v>
                </c:pt>
                <c:pt idx="6">
                  <c:v>270.57780000000002</c:v>
                </c:pt>
                <c:pt idx="7">
                  <c:v>271.76560000000001</c:v>
                </c:pt>
              </c:numCache>
            </c:numRef>
          </c:xVal>
          <c:yVal>
            <c:numRef>
              <c:f>Sheet1!$B$2:$B$9</c:f>
              <c:numCache>
                <c:formatCode>General</c:formatCode>
                <c:ptCount val="8"/>
                <c:pt idx="0">
                  <c:v>1.9019999999999999</c:v>
                </c:pt>
                <c:pt idx="1">
                  <c:v>1.1839999999999999</c:v>
                </c:pt>
                <c:pt idx="2">
                  <c:v>0.66300000000000003</c:v>
                </c:pt>
                <c:pt idx="3">
                  <c:v>0.27600000000000002</c:v>
                </c:pt>
                <c:pt idx="4">
                  <c:v>1.5860000000000001</c:v>
                </c:pt>
                <c:pt idx="5">
                  <c:v>0.45400000000000001</c:v>
                </c:pt>
                <c:pt idx="6">
                  <c:v>1.663</c:v>
                </c:pt>
                <c:pt idx="7">
                  <c:v>1.597</c:v>
                </c:pt>
              </c:numCache>
            </c:numRef>
          </c:yVal>
          <c:bubbleSize>
            <c:numRef>
              <c:f>Sheet1!$C$2:$C$9</c:f>
              <c:numCache>
                <c:formatCode>General</c:formatCode>
                <c:ptCount val="8"/>
                <c:pt idx="0">
                  <c:v>1127827</c:v>
                </c:pt>
                <c:pt idx="1">
                  <c:v>629014</c:v>
                </c:pt>
                <c:pt idx="2">
                  <c:v>247282</c:v>
                </c:pt>
                <c:pt idx="3">
                  <c:v>189300</c:v>
                </c:pt>
                <c:pt idx="4">
                  <c:v>79116</c:v>
                </c:pt>
                <c:pt idx="5">
                  <c:v>72572</c:v>
                </c:pt>
                <c:pt idx="6">
                  <c:v>36528</c:v>
                </c:pt>
                <c:pt idx="7">
                  <c:v>34786</c:v>
                </c:pt>
              </c:numCache>
            </c:numRef>
          </c:bubbleSize>
          <c:bubble3D val="0"/>
          <c:extLst>
            <c:ext xmlns:c15="http://schemas.microsoft.com/office/drawing/2012/chart" uri="{02D57815-91ED-43cb-92C2-25804820EDAC}">
              <c15:datalabelsRange>
                <c15:f>Sheet1!$E$2:$E$10</c15:f>
                <c15:dlblRangeCache>
                  <c:ptCount val="9"/>
                  <c:pt idx="0">
                    <c:v>Dom Perignon</c:v>
                  </c:pt>
                  <c:pt idx="1">
                    <c:v>Roederer</c:v>
                  </c:pt>
                  <c:pt idx="2">
                    <c:v>Ruinart</c:v>
                  </c:pt>
                  <c:pt idx="3">
                    <c:v>Malard</c:v>
                  </c:pt>
                  <c:pt idx="4">
                    <c:v>Bollinger</c:v>
                  </c:pt>
                  <c:pt idx="5">
                    <c:v>Laurent Perrier</c:v>
                  </c:pt>
                  <c:pt idx="6">
                    <c:v>Piper Heidsieck</c:v>
                  </c:pt>
                  <c:pt idx="7">
                    <c:v>Perrier Jou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6"/>
          <c:min val="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FEB59AC-B513-497D-98B3-C4A1B97F1E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CFD1A77-C4EE-4180-ADD8-512EDA5C25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927772B-CC12-4858-B20A-4AFD249CFB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0F99CD2-5C3D-4B07-8C15-7A4C5A0D77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FCB1856-CD3F-4FC7-8ABF-BE1E5433BE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44E6667-5E34-45E3-99BC-60025287FA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E54E3C0-7F92-42FD-A447-A422E0BCB3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B75F72A-54DD-4C74-96C9-009D687922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1.656199999999998</c:v>
                </c:pt>
                <c:pt idx="1">
                  <c:v>52.862900000000003</c:v>
                </c:pt>
                <c:pt idx="2">
                  <c:v>37.590600000000002</c:v>
                </c:pt>
                <c:pt idx="3">
                  <c:v>26.826699999999999</c:v>
                </c:pt>
                <c:pt idx="4">
                  <c:v>81.242900000000006</c:v>
                </c:pt>
                <c:pt idx="5">
                  <c:v>37.790300000000002</c:v>
                </c:pt>
                <c:pt idx="6">
                  <c:v>41.338299999999997</c:v>
                </c:pt>
                <c:pt idx="7">
                  <c:v>36.3018</c:v>
                </c:pt>
              </c:numCache>
            </c:numRef>
          </c:xVal>
          <c:yVal>
            <c:numRef>
              <c:f>Sheet1!$B$2:$B$9</c:f>
              <c:numCache>
                <c:formatCode>General</c:formatCode>
                <c:ptCount val="8"/>
                <c:pt idx="0">
                  <c:v>1.639</c:v>
                </c:pt>
                <c:pt idx="1">
                  <c:v>1.0529999999999999</c:v>
                </c:pt>
                <c:pt idx="2">
                  <c:v>0.66</c:v>
                </c:pt>
                <c:pt idx="3">
                  <c:v>0.504</c:v>
                </c:pt>
                <c:pt idx="4">
                  <c:v>1.421</c:v>
                </c:pt>
                <c:pt idx="5">
                  <c:v>0.66200000000000003</c:v>
                </c:pt>
                <c:pt idx="6">
                  <c:v>0.86399999999999999</c:v>
                </c:pt>
                <c:pt idx="7">
                  <c:v>0.63500000000000001</c:v>
                </c:pt>
              </c:numCache>
            </c:numRef>
          </c:yVal>
          <c:bubbleSize>
            <c:numRef>
              <c:f>Sheet1!$C$2:$C$9</c:f>
              <c:numCache>
                <c:formatCode>General</c:formatCode>
                <c:ptCount val="8"/>
                <c:pt idx="0">
                  <c:v>1262381</c:v>
                </c:pt>
                <c:pt idx="1">
                  <c:v>597932</c:v>
                </c:pt>
                <c:pt idx="2">
                  <c:v>431239</c:v>
                </c:pt>
                <c:pt idx="3">
                  <c:v>415089</c:v>
                </c:pt>
                <c:pt idx="4">
                  <c:v>398659</c:v>
                </c:pt>
                <c:pt idx="5">
                  <c:v>237021</c:v>
                </c:pt>
                <c:pt idx="6">
                  <c:v>204583</c:v>
                </c:pt>
                <c:pt idx="7">
                  <c:v>181255</c:v>
                </c:pt>
              </c:numCache>
            </c:numRef>
          </c:bubbleSize>
          <c:bubble3D val="0"/>
          <c:extLst>
            <c:ext xmlns:c15="http://schemas.microsoft.com/office/drawing/2012/chart" uri="{02D57815-91ED-43cb-92C2-25804820EDAC}">
              <c15:datalabelsRange>
                <c15:f>Sheet1!$E$2:$E$10</c15:f>
                <c15:dlblRangeCache>
                  <c:ptCount val="9"/>
                  <c:pt idx="0">
                    <c:v>Ruinart</c:v>
                  </c:pt>
                  <c:pt idx="1">
                    <c:v>Deutz</c:v>
                  </c:pt>
                  <c:pt idx="2">
                    <c:v>Demoiselle</c:v>
                  </c:pt>
                  <c:pt idx="3">
                    <c:v>Nicolas</c:v>
                  </c:pt>
                  <c:pt idx="4">
                    <c:v>Laurent Perrier</c:v>
                  </c:pt>
                  <c:pt idx="5">
                    <c:v>Nicolas Feuillatte</c:v>
                  </c:pt>
                  <c:pt idx="6">
                    <c:v>Besserat De Bellefon</c:v>
                  </c:pt>
                  <c:pt idx="7">
                    <c:v>Malar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0"/>
          <c:min val="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93BF34-412D-4147-8410-9FFFA432D3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95C91F-EB04-49E4-82CE-068906CDD0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60CC20-7598-48E1-A592-C9CF236491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C92C5C-7B58-4B74-A6D5-7BAE29B4C2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BA3D61-1290-46AE-B194-C771414B5D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5D26EE-17F6-4F3D-B275-B654BC2D68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1BB65F-96B5-4004-A992-C6D79B5DD2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5CADC6-3A5D-4EE5-962E-F6E9FDB0D1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232299999999995</c:v>
                </c:pt>
                <c:pt idx="1">
                  <c:v>23.5748</c:v>
                </c:pt>
                <c:pt idx="2">
                  <c:v>49.180500000000002</c:v>
                </c:pt>
                <c:pt idx="3">
                  <c:v>51.747599999999998</c:v>
                </c:pt>
                <c:pt idx="4">
                  <c:v>31.525200000000002</c:v>
                </c:pt>
                <c:pt idx="5">
                  <c:v>32.7211</c:v>
                </c:pt>
                <c:pt idx="6">
                  <c:v>79.0989</c:v>
                </c:pt>
                <c:pt idx="7">
                  <c:v>29.301100000000002</c:v>
                </c:pt>
              </c:numCache>
            </c:numRef>
          </c:xVal>
          <c:yVal>
            <c:numRef>
              <c:f>Sheet1!$B$2:$B$9</c:f>
              <c:numCache>
                <c:formatCode>General</c:formatCode>
                <c:ptCount val="8"/>
                <c:pt idx="0">
                  <c:v>1.901</c:v>
                </c:pt>
                <c:pt idx="1">
                  <c:v>0.65600000000000003</c:v>
                </c:pt>
                <c:pt idx="2">
                  <c:v>1.3460000000000001</c:v>
                </c:pt>
                <c:pt idx="3">
                  <c:v>1.292</c:v>
                </c:pt>
                <c:pt idx="4">
                  <c:v>0.871</c:v>
                </c:pt>
                <c:pt idx="5">
                  <c:v>0.88700000000000001</c:v>
                </c:pt>
                <c:pt idx="6">
                  <c:v>2.2170000000000001</c:v>
                </c:pt>
                <c:pt idx="7">
                  <c:v>0.80900000000000005</c:v>
                </c:pt>
              </c:numCache>
            </c:numRef>
          </c:yVal>
          <c:bubbleSize>
            <c:numRef>
              <c:f>Sheet1!$C$2:$C$9</c:f>
              <c:numCache>
                <c:formatCode>General</c:formatCode>
                <c:ptCount val="8"/>
                <c:pt idx="0">
                  <c:v>10761127</c:v>
                </c:pt>
                <c:pt idx="1">
                  <c:v>3788985</c:v>
                </c:pt>
                <c:pt idx="2">
                  <c:v>3461768</c:v>
                </c:pt>
                <c:pt idx="3">
                  <c:v>2407818</c:v>
                </c:pt>
                <c:pt idx="4">
                  <c:v>2351274</c:v>
                </c:pt>
                <c:pt idx="5">
                  <c:v>1672046</c:v>
                </c:pt>
                <c:pt idx="6">
                  <c:v>1436753</c:v>
                </c:pt>
                <c:pt idx="7">
                  <c:v>1391478</c:v>
                </c:pt>
              </c:numCache>
            </c:numRef>
          </c:bubbleSize>
          <c:bubble3D val="0"/>
          <c:extLst>
            <c:ext xmlns:c15="http://schemas.microsoft.com/office/drawing/2012/chart" uri="{02D57815-91ED-43cb-92C2-25804820EDAC}">
              <c15:datalabelsRange>
                <c15:f>Sheet1!$E$2:$E$10</c15:f>
                <c15:dlblRangeCache>
                  <c:ptCount val="9"/>
                  <c:pt idx="0">
                    <c:v>Ruinart</c:v>
                  </c:pt>
                  <c:pt idx="1">
                    <c:v>Nicolas</c:v>
                  </c:pt>
                  <c:pt idx="2">
                    <c:v>Deutz</c:v>
                  </c:pt>
                  <c:pt idx="3">
                    <c:v>Laurent Perrier</c:v>
                  </c:pt>
                  <c:pt idx="4">
                    <c:v>Malard</c:v>
                  </c:pt>
                  <c:pt idx="5">
                    <c:v>Nicolas Feuillatte</c:v>
                  </c:pt>
                  <c:pt idx="6">
                    <c:v>Roederer</c:v>
                  </c:pt>
                  <c:pt idx="7">
                    <c:v>Heidsieck &amp; Co Monopo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5"/>
          <c:min val="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F2787AA-B354-403D-BE18-06BB1F644D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3A21653E-71D3-4423-89CC-1560DABB3A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7BDA8069-A149-48F1-9146-4DBEA1AFDA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AE4A2385-8365-40C7-BEE6-465A9D248B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C7983549-10CD-443E-89B0-AB8673A6E5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412A8A7-B620-4CB8-91C7-B100DE35C9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33F8760-46AC-4695-9449-E046B9355C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E9EF9CF-05A3-4055-9644-53AD0BBCB8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7646</c:v>
                </c:pt>
              </c:numCache>
            </c:numRef>
          </c:xVal>
          <c:yVal>
            <c:numRef>
              <c:f>Sheet1!$B$2:$B$2</c:f>
              <c:numCache>
                <c:formatCode>General</c:formatCode>
                <c:ptCount val="1"/>
                <c:pt idx="0">
                  <c:v>0.99399999999999999</c:v>
                </c:pt>
              </c:numCache>
            </c:numRef>
          </c:yVal>
          <c:bubbleSize>
            <c:numRef>
              <c:f>Sheet1!$C$2:$C$2</c:f>
              <c:numCache>
                <c:formatCode>General</c:formatCode>
                <c:ptCount val="1"/>
                <c:pt idx="0">
                  <c:v>507318</c:v>
                </c:pt>
              </c:numCache>
            </c:numRef>
          </c:bubbleSize>
          <c:bubble3D val="0"/>
          <c:extLst>
            <c:ext xmlns:c15="http://schemas.microsoft.com/office/drawing/2012/chart" uri="{02D57815-91ED-43cb-92C2-25804820EDAC}">
              <c15:datalabelsRange>
                <c15:f>Sheet1!$E$2:$E$10</c15:f>
                <c15:dlblRangeCache>
                  <c:ptCount val="9"/>
                  <c:pt idx="0">
                    <c:v>Patriarch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73DE575-2A11-4F86-89AC-B7C430BE1F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35536C44-7B00-4714-A303-C819E8C040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12C74184-2CB5-482D-AEE6-A6375BDF6B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DFC8E37B-9CD1-42EB-BFE8-A0B7A92F34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F97AA936-0553-4EC6-A01A-E1BBCDF1DC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6C690910-2E5D-45E6-AEE9-1B9D672E56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7306F22B-B352-48C8-816F-C03B095201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C89B344C-B3D5-4852-A156-75513DEF74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451499999999999</c:v>
                </c:pt>
                <c:pt idx="1">
                  <c:v>9.1104000000000003</c:v>
                </c:pt>
                <c:pt idx="2">
                  <c:v>11.444699999999999</c:v>
                </c:pt>
              </c:numCache>
            </c:numRef>
          </c:xVal>
          <c:yVal>
            <c:numRef>
              <c:f>Sheet1!$B$2:$B$4</c:f>
              <c:numCache>
                <c:formatCode>General</c:formatCode>
                <c:ptCount val="3"/>
                <c:pt idx="0">
                  <c:v>1.278</c:v>
                </c:pt>
                <c:pt idx="1">
                  <c:v>1.0169999999999999</c:v>
                </c:pt>
                <c:pt idx="2">
                  <c:v>1.077</c:v>
                </c:pt>
              </c:numCache>
            </c:numRef>
          </c:yVal>
          <c:bubbleSize>
            <c:numRef>
              <c:f>Sheet1!$C$2:$C$4</c:f>
              <c:numCache>
                <c:formatCode>General</c:formatCode>
                <c:ptCount val="3"/>
                <c:pt idx="0">
                  <c:v>607538</c:v>
                </c:pt>
                <c:pt idx="1">
                  <c:v>323774</c:v>
                </c:pt>
                <c:pt idx="2">
                  <c:v>90905</c:v>
                </c:pt>
              </c:numCache>
            </c:numRef>
          </c:bubbleSize>
          <c:bubble3D val="0"/>
          <c:extLst>
            <c:ext xmlns:c15="http://schemas.microsoft.com/office/drawing/2012/chart" uri="{02D57815-91ED-43cb-92C2-25804820EDAC}">
              <c15:datalabelsRange>
                <c15:f>Sheet1!$E$2:$E$10</c15:f>
                <c15:dlblRangeCache>
                  <c:ptCount val="9"/>
                  <c:pt idx="0">
                    <c:v>Bottega</c:v>
                  </c:pt>
                  <c:pt idx="1">
                    <c:v>Savian</c:v>
                  </c:pt>
                  <c:pt idx="2">
                    <c:v>Contarini</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9A2821-4397-4E18-A9C6-739361182B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B3E321-1946-4F8E-A3EC-646DF49B31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D743C9-080A-4FD0-8259-F41686EB2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442F8C5-B93D-4F35-BD70-13B3856FA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B662546-9037-4256-92D3-BCEF32FC56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C9BABD2-BFC3-4533-ACCC-82FB13E90B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1DEACA6-0DEA-4A16-BF71-C530E80F9C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9B1EA0-D49D-479E-81FD-EF697D4EDC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800599999999999</c:v>
                </c:pt>
                <c:pt idx="1">
                  <c:v>11.4072</c:v>
                </c:pt>
                <c:pt idx="2">
                  <c:v>13.4663</c:v>
                </c:pt>
              </c:numCache>
            </c:numRef>
          </c:xVal>
          <c:yVal>
            <c:numRef>
              <c:f>Sheet1!$B$2:$B$4</c:f>
              <c:numCache>
                <c:formatCode>General</c:formatCode>
                <c:ptCount val="3"/>
                <c:pt idx="0">
                  <c:v>0.96899999999999997</c:v>
                </c:pt>
                <c:pt idx="1">
                  <c:v>0.98299999999999998</c:v>
                </c:pt>
                <c:pt idx="2">
                  <c:v>1.1599999999999999</c:v>
                </c:pt>
              </c:numCache>
            </c:numRef>
          </c:yVal>
          <c:bubbleSize>
            <c:numRef>
              <c:f>Sheet1!$C$2:$C$4</c:f>
              <c:numCache>
                <c:formatCode>General</c:formatCode>
                <c:ptCount val="3"/>
                <c:pt idx="0">
                  <c:v>305234</c:v>
                </c:pt>
                <c:pt idx="1">
                  <c:v>282431</c:v>
                </c:pt>
                <c:pt idx="2">
                  <c:v>158041</c:v>
                </c:pt>
              </c:numCache>
            </c:numRef>
          </c:bubbleSize>
          <c:bubble3D val="0"/>
          <c:extLst>
            <c:ext xmlns:c15="http://schemas.microsoft.com/office/drawing/2012/chart" uri="{02D57815-91ED-43cb-92C2-25804820EDAC}">
              <c15:datalabelsRange>
                <c15:f>Sheet1!$E$2:$E$10</c15:f>
                <c15:dlblRangeCache>
                  <c:ptCount val="9"/>
                  <c:pt idx="0">
                    <c:v>Bouvet-Ladubay</c:v>
                  </c:pt>
                  <c:pt idx="1">
                    <c:v>Chateau Moncontour</c:v>
                  </c:pt>
                  <c:pt idx="2">
                    <c:v>De Chancen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08F7161-129E-4DD9-85CE-CC9931DFDE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DE7D3A2A-9065-411E-94E5-4D3C6F1C87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EC462DA0-E520-486F-84D6-83EA4F7CAA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C79CD906-D60A-4A2F-BA66-4288B2D5BB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6AB9867B-5D7B-4085-9D64-420F47740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8C87361D-BA67-4B1F-AFFE-E56498AF8C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32CF56F2-736E-484D-BED8-CD92A87DCA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5BC261FF-A567-4A18-A7FC-9EFB804887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328</c:v>
                </c:pt>
              </c:numCache>
            </c:numRef>
          </c:xVal>
          <c:yVal>
            <c:numRef>
              <c:f>Sheet1!$B$2:$B$2</c:f>
              <c:numCache>
                <c:formatCode>General</c:formatCode>
                <c:ptCount val="1"/>
                <c:pt idx="0">
                  <c:v>1.163</c:v>
                </c:pt>
              </c:numCache>
            </c:numRef>
          </c:yVal>
          <c:bubbleSize>
            <c:numRef>
              <c:f>Sheet1!$C$2:$C$2</c:f>
              <c:numCache>
                <c:formatCode>General</c:formatCode>
                <c:ptCount val="1"/>
                <c:pt idx="0">
                  <c:v>388332</c:v>
                </c:pt>
              </c:numCache>
            </c:numRef>
          </c:bubbleSize>
          <c:bubble3D val="0"/>
          <c:extLst>
            <c:ext xmlns:c15="http://schemas.microsoft.com/office/drawing/2012/chart" uri="{02D57815-91ED-43cb-92C2-25804820EDAC}">
              <c15:datalabelsRange>
                <c15:f>Sheet1!$E$2:$E$10</c15:f>
                <c15:dlblRangeCache>
                  <c:ptCount val="9"/>
                  <c:pt idx="0">
                    <c:v>M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F2E2FED-F77B-4550-BD6C-D55111D3BD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54D7BD0-0838-472B-A4D0-B2D6B08C7F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DB32ACD9-09FB-4BB3-8FE6-6D1466F5E0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36EAB407-B1B6-4890-BA64-ACC294B19B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A1C2D247-D5F9-462B-A2AD-C4725C69E6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0587C2F-4383-40E6-B13A-E86D91D7B8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D469311-EB8A-44A2-9EF7-F055A4D2E1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5EC05939-2B47-40B3-8DA8-0FC6EA7004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8071</c:v>
                </c:pt>
                <c:pt idx="1">
                  <c:v>9.6836000000000002</c:v>
                </c:pt>
              </c:numCache>
            </c:numRef>
          </c:xVal>
          <c:yVal>
            <c:numRef>
              <c:f>Sheet1!$B$2:$B$3</c:f>
              <c:numCache>
                <c:formatCode>General</c:formatCode>
                <c:ptCount val="2"/>
                <c:pt idx="0">
                  <c:v>1.014</c:v>
                </c:pt>
                <c:pt idx="1">
                  <c:v>0.84799999999999998</c:v>
                </c:pt>
              </c:numCache>
            </c:numRef>
          </c:yVal>
          <c:bubbleSize>
            <c:numRef>
              <c:f>Sheet1!$C$2:$C$3</c:f>
              <c:numCache>
                <c:formatCode>General</c:formatCode>
                <c:ptCount val="2"/>
                <c:pt idx="0">
                  <c:v>59904</c:v>
                </c:pt>
                <c:pt idx="1">
                  <c:v>9364</c:v>
                </c:pt>
              </c:numCache>
            </c:numRef>
          </c:bubbleSize>
          <c:bubble3D val="0"/>
          <c:extLst>
            <c:ext xmlns:c15="http://schemas.microsoft.com/office/drawing/2012/chart" uri="{02D57815-91ED-43cb-92C2-25804820EDAC}">
              <c15:datalabelsRange>
                <c15:f>Sheet1!$E$2:$E$10</c15:f>
                <c15:dlblRangeCache>
                  <c:ptCount val="9"/>
                  <c:pt idx="0">
                    <c:v>Cru La Maqueline</c:v>
                  </c:pt>
                  <c:pt idx="1">
                    <c:v>Cel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83FE5D-1490-4580-BDBB-7CAC15B659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4CAC8A-4A3E-4918-8888-87B0FFB0BD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C3627E-738A-4C85-A86B-481185790D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45241C2-1029-4F30-89B2-344B46C1CD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6F0570-8A01-48CC-BB36-6E0C06F177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BE47790-6BE1-43A0-8F0F-D72E57122C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5712D28-E797-4520-8C39-C9FA39A7C7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E16AB9B-C7E2-4544-B7E6-BC22E36467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7121</c:v>
                </c:pt>
                <c:pt idx="1">
                  <c:v>94.948400000000007</c:v>
                </c:pt>
                <c:pt idx="2">
                  <c:v>55.431899999999999</c:v>
                </c:pt>
              </c:numCache>
            </c:numRef>
          </c:xVal>
          <c:yVal>
            <c:numRef>
              <c:f>Sheet1!$B$2:$B$4</c:f>
              <c:numCache>
                <c:formatCode>General</c:formatCode>
                <c:ptCount val="3"/>
                <c:pt idx="0">
                  <c:v>0.79300000000000004</c:v>
                </c:pt>
                <c:pt idx="1">
                  <c:v>2.4390000000000001</c:v>
                </c:pt>
                <c:pt idx="2">
                  <c:v>1.4</c:v>
                </c:pt>
              </c:numCache>
            </c:numRef>
          </c:yVal>
          <c:bubbleSize>
            <c:numRef>
              <c:f>Sheet1!$C$2:$C$4</c:f>
              <c:numCache>
                <c:formatCode>General</c:formatCode>
                <c:ptCount val="3"/>
                <c:pt idx="0">
                  <c:v>5549099</c:v>
                </c:pt>
                <c:pt idx="1">
                  <c:v>2308385</c:v>
                </c:pt>
                <c:pt idx="2">
                  <c:v>113081</c:v>
                </c:pt>
              </c:numCache>
            </c:numRef>
          </c:bubbleSize>
          <c:bubble3D val="0"/>
          <c:extLst>
            <c:ext xmlns:c15="http://schemas.microsoft.com/office/drawing/2012/chart" uri="{02D57815-91ED-43cb-92C2-25804820EDAC}">
              <c15:datalabelsRange>
                <c15:f>Sheet1!$E$2:$E$10</c15:f>
                <c15:dlblRangeCache>
                  <c:ptCount val="9"/>
                  <c:pt idx="0">
                    <c:v>Canard Duchêne</c:v>
                  </c:pt>
                  <c:pt idx="1">
                    <c:v>Ruinart</c:v>
                  </c:pt>
                  <c:pt idx="2">
                    <c:v>Besserat De Bellef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4"/>
          <c:min val="2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78CC995-6D87-491E-85B9-F18057D325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0D6FBFB-7F5C-4B1E-8353-836641EC0C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2BCB904-B995-4A8C-A5C4-9E791B1EAE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D3CDEF0-8501-486C-B902-AB37DF715E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51BABF5-43BE-41B2-A920-FE1451929F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B8C55A1-9961-4DED-809C-DE55BF000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352A748-3E56-47CA-BB7E-2225CDC17D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2C3AB2D-7AE4-471B-839B-DFF0CC3746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40400000000001</c:v>
                </c:pt>
                <c:pt idx="1">
                  <c:v>30.786100000000001</c:v>
                </c:pt>
                <c:pt idx="2">
                  <c:v>18.6905</c:v>
                </c:pt>
                <c:pt idx="3">
                  <c:v>24.3565</c:v>
                </c:pt>
                <c:pt idx="4">
                  <c:v>25.5548</c:v>
                </c:pt>
                <c:pt idx="5">
                  <c:v>40.8125</c:v>
                </c:pt>
                <c:pt idx="6">
                  <c:v>28.447700000000001</c:v>
                </c:pt>
                <c:pt idx="7">
                  <c:v>28.562000000000001</c:v>
                </c:pt>
              </c:numCache>
            </c:numRef>
          </c:xVal>
          <c:yVal>
            <c:numRef>
              <c:f>Sheet1!$B$2:$B$9</c:f>
              <c:numCache>
                <c:formatCode>General</c:formatCode>
                <c:ptCount val="8"/>
                <c:pt idx="0">
                  <c:v>1.0900000000000001</c:v>
                </c:pt>
                <c:pt idx="1">
                  <c:v>1.5569999999999999</c:v>
                </c:pt>
                <c:pt idx="2">
                  <c:v>0.318</c:v>
                </c:pt>
                <c:pt idx="3">
                  <c:v>1.163</c:v>
                </c:pt>
                <c:pt idx="4">
                  <c:v>1.2589999999999999</c:v>
                </c:pt>
                <c:pt idx="5">
                  <c:v>2.036</c:v>
                </c:pt>
                <c:pt idx="6">
                  <c:v>1.4910000000000001</c:v>
                </c:pt>
                <c:pt idx="7">
                  <c:v>1.4219999999999999</c:v>
                </c:pt>
              </c:numCache>
            </c:numRef>
          </c:yVal>
          <c:bubbleSize>
            <c:numRef>
              <c:f>Sheet1!$C$2:$C$9</c:f>
              <c:numCache>
                <c:formatCode>General</c:formatCode>
                <c:ptCount val="8"/>
                <c:pt idx="0">
                  <c:v>63676794</c:v>
                </c:pt>
                <c:pt idx="1">
                  <c:v>37787787</c:v>
                </c:pt>
                <c:pt idx="2">
                  <c:v>26748672</c:v>
                </c:pt>
                <c:pt idx="3">
                  <c:v>23515927</c:v>
                </c:pt>
                <c:pt idx="4">
                  <c:v>22638139</c:v>
                </c:pt>
                <c:pt idx="5">
                  <c:v>20372762</c:v>
                </c:pt>
                <c:pt idx="6">
                  <c:v>14686683</c:v>
                </c:pt>
                <c:pt idx="7">
                  <c:v>13593084</c:v>
                </c:pt>
              </c:numCache>
            </c:numRef>
          </c:bubbleSize>
          <c:bubble3D val="0"/>
          <c:extLst>
            <c:ext xmlns:c15="http://schemas.microsoft.com/office/drawing/2012/chart" uri="{02D57815-91ED-43cb-92C2-25804820EDAC}">
              <c15:datalabelsRange>
                <c15:f>Sheet1!$E$2:$E$10</c15:f>
                <c15:dlblRangeCache>
                  <c:ptCount val="9"/>
                  <c:pt idx="0">
                    <c:v>Nicolas Feuillatte</c:v>
                  </c:pt>
                  <c:pt idx="1">
                    <c:v>Mumm</c:v>
                  </c:pt>
                  <c:pt idx="2">
                    <c:v>Charles Lafitte</c:v>
                  </c:pt>
                  <c:pt idx="3">
                    <c:v>Alfred De Rothschild</c:v>
                  </c:pt>
                  <c:pt idx="4">
                    <c:v>Canard Duchêne</c:v>
                  </c:pt>
                  <c:pt idx="5">
                    <c:v>Moët &amp; Chandon</c:v>
                  </c:pt>
                  <c:pt idx="6">
                    <c:v>Tsarine</c:v>
                  </c:pt>
                  <c:pt idx="7">
                    <c:v>Demoisell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
          <c:min val="1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B9CBB2A-675D-4ADB-A8E1-F8F022419B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4F7F17BF-2F3D-4DA1-9476-5AC8EBF124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29FB3B09-6ECB-42F1-8094-39E2D83B8C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06D1C89B-8E76-4061-8A5A-6346F13136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01FDB38C-8B5F-467B-85D3-1AABBECC5E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000C186-D66A-4ABF-B67B-B96486168B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83F7C344-8D2B-4290-9BFD-85CF48DDC9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B0714DB-A87E-4AF1-B23D-CB15C6A790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0.0794</c:v>
                </c:pt>
              </c:numCache>
            </c:numRef>
          </c:xVal>
          <c:yVal>
            <c:numRef>
              <c:f>Sheet1!$B$2:$B$2</c:f>
              <c:numCache>
                <c:formatCode>General</c:formatCode>
                <c:ptCount val="1"/>
                <c:pt idx="0">
                  <c:v>1</c:v>
                </c:pt>
              </c:numCache>
            </c:numRef>
          </c:yVal>
          <c:bubbleSize>
            <c:numRef>
              <c:f>Sheet1!$C$2:$C$2</c:f>
              <c:numCache>
                <c:formatCode>General</c:formatCode>
                <c:ptCount val="1"/>
                <c:pt idx="0">
                  <c:v>2170979</c:v>
                </c:pt>
              </c:numCache>
            </c:numRef>
          </c:bubbleSize>
          <c:bubble3D val="0"/>
          <c:extLst>
            <c:ext xmlns:c15="http://schemas.microsoft.com/office/drawing/2012/chart" uri="{02D57815-91ED-43cb-92C2-25804820EDAC}">
              <c15:datalabelsRange>
                <c15:f>Sheet1!$E$2:$E$10</c15:f>
                <c15:dlblRangeCache>
                  <c:ptCount val="9"/>
                  <c:pt idx="0">
                    <c:v>Canard Duchê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2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3F569D64-B47B-4819-83CB-99D906E221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4732582-A7B5-4BBC-8097-0C1E95ADF1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532834D3-F128-4EEC-8CFD-6CCD7E30DF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CC0F2527-B0BC-484C-BDC7-5E6049EA47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5836101D-0773-4B1E-B15C-B6A366DF75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755FB509-AACA-4EE9-818A-7813FC9F94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FDCC3302-6C12-46CF-8EE2-2D1F9F5FC8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9BD7FBE7-F6BF-49D8-8DC2-9F3AA7B8EC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3.172699999999999</c:v>
                </c:pt>
                <c:pt idx="1">
                  <c:v>72</c:v>
                </c:pt>
                <c:pt idx="2">
                  <c:v>173.15629999999999</c:v>
                </c:pt>
              </c:numCache>
            </c:numRef>
          </c:xVal>
          <c:yVal>
            <c:numRef>
              <c:f>Sheet1!$B$2:$B$4</c:f>
              <c:numCache>
                <c:formatCode>General</c:formatCode>
                <c:ptCount val="3"/>
                <c:pt idx="0">
                  <c:v>0.91500000000000004</c:v>
                </c:pt>
                <c:pt idx="1">
                  <c:v>0.874</c:v>
                </c:pt>
                <c:pt idx="2">
                  <c:v>1.8620000000000001</c:v>
                </c:pt>
              </c:numCache>
            </c:numRef>
          </c:yVal>
          <c:bubbleSize>
            <c:numRef>
              <c:f>Sheet1!$C$2:$C$4</c:f>
              <c:numCache>
                <c:formatCode>General</c:formatCode>
                <c:ptCount val="3"/>
                <c:pt idx="0">
                  <c:v>40241</c:v>
                </c:pt>
                <c:pt idx="1">
                  <c:v>29160</c:v>
                </c:pt>
                <c:pt idx="2">
                  <c:v>16623</c:v>
                </c:pt>
              </c:numCache>
            </c:numRef>
          </c:bubbleSize>
          <c:bubble3D val="0"/>
          <c:extLst>
            <c:ext xmlns:c15="http://schemas.microsoft.com/office/drawing/2012/chart" uri="{02D57815-91ED-43cb-92C2-25804820EDAC}">
              <c15:datalabelsRange>
                <c15:f>Sheet1!$E$2:$E$10</c15:f>
                <c15:dlblRangeCache>
                  <c:ptCount val="9"/>
                  <c:pt idx="0">
                    <c:v>Moët &amp; Chandon</c:v>
                  </c:pt>
                  <c:pt idx="1">
                    <c:v>Laurent Perrier</c:v>
                  </c:pt>
                  <c:pt idx="2">
                    <c:v>Deutz</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8"/>
          <c:min val="5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269BAD-8083-4575-91CD-DD642E1214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50113B-E0F1-4F80-9DDF-9818B261EB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49125B-96D3-4C33-BD1D-340511B61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7D4CDC-0448-4FF3-90AF-5E5EAF6BDA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6F7CDD-6CAA-4E9F-A0CE-250F7C2FCE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DC3F23-B464-4405-B7B6-C42A47248B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BC4260-7448-4E69-A5BF-918D542FDD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C8DDD5-C3D8-4DE0-95BE-37907AD161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717</c:v>
                </c:pt>
                <c:pt idx="1">
                  <c:v>30.006599999999999</c:v>
                </c:pt>
                <c:pt idx="2">
                  <c:v>28.646999999999998</c:v>
                </c:pt>
                <c:pt idx="3">
                  <c:v>31.494800000000001</c:v>
                </c:pt>
                <c:pt idx="4">
                  <c:v>36.527700000000003</c:v>
                </c:pt>
                <c:pt idx="5">
                  <c:v>50.205800000000004</c:v>
                </c:pt>
                <c:pt idx="6">
                  <c:v>26.394300000000001</c:v>
                </c:pt>
                <c:pt idx="7">
                  <c:v>22.1768</c:v>
                </c:pt>
              </c:numCache>
            </c:numRef>
          </c:xVal>
          <c:yVal>
            <c:numRef>
              <c:f>Sheet1!$B$2:$B$9</c:f>
              <c:numCache>
                <c:formatCode>General</c:formatCode>
                <c:ptCount val="8"/>
                <c:pt idx="0">
                  <c:v>0.99</c:v>
                </c:pt>
                <c:pt idx="1">
                  <c:v>0.97499999999999998</c:v>
                </c:pt>
                <c:pt idx="2">
                  <c:v>0.95099999999999996</c:v>
                </c:pt>
                <c:pt idx="3">
                  <c:v>1.032</c:v>
                </c:pt>
                <c:pt idx="4">
                  <c:v>1.214</c:v>
                </c:pt>
                <c:pt idx="5">
                  <c:v>1.653</c:v>
                </c:pt>
                <c:pt idx="6">
                  <c:v>0.878</c:v>
                </c:pt>
                <c:pt idx="7">
                  <c:v>0.70399999999999996</c:v>
                </c:pt>
              </c:numCache>
            </c:numRef>
          </c:yVal>
          <c:bubbleSize>
            <c:numRef>
              <c:f>Sheet1!$C$2:$C$9</c:f>
              <c:numCache>
                <c:formatCode>General</c:formatCode>
                <c:ptCount val="8"/>
                <c:pt idx="0">
                  <c:v>11598081</c:v>
                </c:pt>
                <c:pt idx="1">
                  <c:v>3450576</c:v>
                </c:pt>
                <c:pt idx="2">
                  <c:v>3306117</c:v>
                </c:pt>
                <c:pt idx="3">
                  <c:v>3231524</c:v>
                </c:pt>
                <c:pt idx="4">
                  <c:v>2420106</c:v>
                </c:pt>
                <c:pt idx="5">
                  <c:v>2051560</c:v>
                </c:pt>
                <c:pt idx="6">
                  <c:v>1878563</c:v>
                </c:pt>
                <c:pt idx="7">
                  <c:v>1105137</c:v>
                </c:pt>
              </c:numCache>
            </c:numRef>
          </c:bubbleSize>
          <c:bubble3D val="0"/>
          <c:extLst>
            <c:ext xmlns:c15="http://schemas.microsoft.com/office/drawing/2012/chart" uri="{02D57815-91ED-43cb-92C2-25804820EDAC}">
              <c15:datalabelsRange>
                <c15:f>Sheet1!$E$2:$E$10</c15:f>
                <c15:dlblRangeCache>
                  <c:ptCount val="9"/>
                  <c:pt idx="0">
                    <c:v>Nicolas Feuillatte</c:v>
                  </c:pt>
                  <c:pt idx="1">
                    <c:v>Demoiselle</c:v>
                  </c:pt>
                  <c:pt idx="2">
                    <c:v>Canard Duchêne</c:v>
                  </c:pt>
                  <c:pt idx="3">
                    <c:v>Tsarine</c:v>
                  </c:pt>
                  <c:pt idx="4">
                    <c:v>Mumm</c:v>
                  </c:pt>
                  <c:pt idx="5">
                    <c:v>Moët &amp; Chandon</c:v>
                  </c:pt>
                  <c:pt idx="6">
                    <c:v>Alfred De Rothschild</c:v>
                  </c:pt>
                  <c:pt idx="7">
                    <c:v>De Castella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
          <c:min val="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1/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2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8.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72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72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73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73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73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73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73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73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73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7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39.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73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73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740.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74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74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743.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744.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745.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74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7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40.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748.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749.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750.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751.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752.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753.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754.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755.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756.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75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1.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758.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759.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760.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761.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7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3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3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7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3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35.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69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69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0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0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0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0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0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0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0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0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3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70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70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71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71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71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71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71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71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71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7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7.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71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71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72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72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72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72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72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72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72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7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279.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280.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281.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282.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283.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284.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285.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286.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287.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28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289.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290.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291.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292.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293.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294.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295.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296.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297.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298.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299.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300.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301.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302.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303.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304.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305.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306.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307.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308.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309.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310.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311.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312.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313.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314.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315.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316.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317.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318.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319.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320.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321.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322.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323.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324.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325.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326.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327.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328.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329.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330.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331.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332.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333.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334.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335.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336.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337.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338.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339.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340.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341.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342.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343.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344.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345.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346.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347.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348.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349.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350.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351.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352.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353.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354.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355.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356.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357.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358.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359.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360.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361.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362.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363.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364.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365.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366.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367.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36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369.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370.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371.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372.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373.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374.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375.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376.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377.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37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379.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380.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381.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382.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383.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384.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385.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386.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387.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38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389.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390.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391.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392.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393.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394.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395.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396.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397.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398.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399.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400.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401.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402.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403.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404.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405.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406.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407.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408.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409.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410.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411.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412.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413.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414.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415.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416.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417.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418.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419.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420.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421.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422.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423.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424.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425.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426.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427.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428.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429.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430.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431.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432.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433.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434.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435.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436.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437.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438.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439.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440.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441.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442.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443.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444.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445.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446.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447.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448.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449.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450.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451.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452.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453.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454.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455.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456.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457.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458.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459.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460.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461.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462.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463.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464.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465.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466.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467.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46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469.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470.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471.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472.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473.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474.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475.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476.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477.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47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479.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480.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481.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482.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483.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484.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485.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486.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487.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4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489.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490.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491.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492.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493.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494.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495.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496.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497.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498.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499.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500.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501.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502.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503.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504.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505.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506.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507.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508.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509.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510.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511.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512.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513.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514.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515.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516.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517.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518.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519.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520.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521.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522.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523.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524.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525.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526.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527.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528.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529.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530.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531.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532.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533.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534.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535.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536.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537.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538.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539.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540.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541.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542.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543.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544.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545.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546.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547.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548.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8" Type="http://schemas.openxmlformats.org/officeDocument/2006/relationships/chart" Target="../charts/chart76.xml"/><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549.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550.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551.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552.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553.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554.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555.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556.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557.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558.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8" Type="http://schemas.openxmlformats.org/officeDocument/2006/relationships/chart" Target="../charts/chart80.xml"/><Relationship Id="rId3" Type="http://schemas.openxmlformats.org/officeDocument/2006/relationships/oleObject" Target="../embeddings/oleObject27.bin"/><Relationship Id="rId7" Type="http://schemas.openxmlformats.org/officeDocument/2006/relationships/chart" Target="../charts/chart79.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78.xml"/><Relationship Id="rId5" Type="http://schemas.openxmlformats.org/officeDocument/2006/relationships/chart" Target="../charts/chart77.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559.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560.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561.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562.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563.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564.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565.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566.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567.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56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3.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82.xml"/><Relationship Id="rId5" Type="http://schemas.openxmlformats.org/officeDocument/2006/relationships/chart" Target="../charts/chart81.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569.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570.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571.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572.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573.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574.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575.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576.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577.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578.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8" Type="http://schemas.openxmlformats.org/officeDocument/2006/relationships/chart" Target="../charts/chart87.xml"/><Relationship Id="rId3" Type="http://schemas.openxmlformats.org/officeDocument/2006/relationships/oleObject" Target="../embeddings/oleObject27.bin"/><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85.xml"/><Relationship Id="rId5" Type="http://schemas.openxmlformats.org/officeDocument/2006/relationships/chart" Target="../charts/chart84.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579.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580.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581.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582.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583.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584.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585.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586.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587.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58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8" Type="http://schemas.openxmlformats.org/officeDocument/2006/relationships/chart" Target="../charts/chart91.xml"/><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589.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590.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591.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592.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593.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594.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595.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596.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597.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598.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93.xml"/><Relationship Id="rId5" Type="http://schemas.openxmlformats.org/officeDocument/2006/relationships/chart" Target="../charts/chart9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599.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600.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601.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602.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603.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604.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605.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606.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607.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608.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8" Type="http://schemas.openxmlformats.org/officeDocument/2006/relationships/chart" Target="../charts/chart98.xml"/><Relationship Id="rId3" Type="http://schemas.openxmlformats.org/officeDocument/2006/relationships/oleObject" Target="../embeddings/oleObject27.bin"/><Relationship Id="rId7" Type="http://schemas.openxmlformats.org/officeDocument/2006/relationships/chart" Target="../charts/chart97.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96.xml"/><Relationship Id="rId5" Type="http://schemas.openxmlformats.org/officeDocument/2006/relationships/chart" Target="../charts/chart95.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609.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610.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611.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612.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613.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614.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615.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616.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617.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618.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8" Type="http://schemas.openxmlformats.org/officeDocument/2006/relationships/chart" Target="../charts/chart102.xml"/><Relationship Id="rId3" Type="http://schemas.openxmlformats.org/officeDocument/2006/relationships/oleObject" Target="../embeddings/oleObject27.bin"/><Relationship Id="rId7" Type="http://schemas.openxmlformats.org/officeDocument/2006/relationships/chart" Target="../charts/chart101.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00.xml"/><Relationship Id="rId5" Type="http://schemas.openxmlformats.org/officeDocument/2006/relationships/chart" Target="../charts/chart99.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619.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620.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621.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622.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623.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624.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625.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626.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627.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628.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629.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630.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631.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632.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633.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634.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635.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636.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637.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638.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8" Type="http://schemas.openxmlformats.org/officeDocument/2006/relationships/chart" Target="../charts/chart108.xml"/><Relationship Id="rId3" Type="http://schemas.openxmlformats.org/officeDocument/2006/relationships/oleObject" Target="../embeddings/oleObject27.bin"/><Relationship Id="rId7" Type="http://schemas.openxmlformats.org/officeDocument/2006/relationships/chart" Target="../charts/chart107.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06.xml"/><Relationship Id="rId5" Type="http://schemas.openxmlformats.org/officeDocument/2006/relationships/chart" Target="../charts/chart105.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639.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640.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641.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642.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643.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644.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645.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646.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647.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648.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8" Type="http://schemas.openxmlformats.org/officeDocument/2006/relationships/chart" Target="../charts/chart112.xml"/><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649.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650.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651.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652.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653.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654.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655.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656.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657.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658.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5.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14.xml"/><Relationship Id="rId5" Type="http://schemas.openxmlformats.org/officeDocument/2006/relationships/chart" Target="../charts/chart113.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659.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660.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661.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662.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663.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664.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665.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666.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667.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66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oleObject" Target="../embeddings/oleObject27.bin"/><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17.xml"/><Relationship Id="rId5" Type="http://schemas.openxmlformats.org/officeDocument/2006/relationships/chart" Target="../charts/chart116.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669.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670.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671.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672.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673.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674.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675.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676.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677.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678.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8" Type="http://schemas.openxmlformats.org/officeDocument/2006/relationships/chart" Target="../charts/chart123.xml"/><Relationship Id="rId3" Type="http://schemas.openxmlformats.org/officeDocument/2006/relationships/oleObject" Target="../embeddings/oleObject27.bin"/><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21.xml"/><Relationship Id="rId5" Type="http://schemas.openxmlformats.org/officeDocument/2006/relationships/chart" Target="../charts/chart12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679.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680.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681.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682.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683.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684.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685.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686.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687.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68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689.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690.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691.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692.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693.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694.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695.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696.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697.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698.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8" Type="http://schemas.openxmlformats.org/officeDocument/2006/relationships/chart" Target="../charts/chart130.xml"/><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699.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700.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701.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702.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703.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704.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705.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706.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707.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708.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8" Type="http://schemas.openxmlformats.org/officeDocument/2006/relationships/chart" Target="../charts/chart134.xml"/><Relationship Id="rId3" Type="http://schemas.openxmlformats.org/officeDocument/2006/relationships/oleObject" Target="../embeddings/oleObject27.bin"/><Relationship Id="rId7" Type="http://schemas.openxmlformats.org/officeDocument/2006/relationships/chart" Target="../charts/chart13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32.xml"/><Relationship Id="rId5" Type="http://schemas.openxmlformats.org/officeDocument/2006/relationships/chart" Target="../charts/chart131.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709.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710.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711.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712.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713.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714.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715.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716.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717.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718.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7.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36.xml"/><Relationship Id="rId5" Type="http://schemas.openxmlformats.org/officeDocument/2006/relationships/chart" Target="../charts/chart135.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719.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720.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721.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722.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723.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724.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725.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726.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727.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728.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8" Type="http://schemas.openxmlformats.org/officeDocument/2006/relationships/chart" Target="../charts/chart141.xml"/><Relationship Id="rId3" Type="http://schemas.openxmlformats.org/officeDocument/2006/relationships/oleObject" Target="../embeddings/oleObject27.bin"/><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39.xml"/><Relationship Id="rId5" Type="http://schemas.openxmlformats.org/officeDocument/2006/relationships/chart" Target="../charts/chart138.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729.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730.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731.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732.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733.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734.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735.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736.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737.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738.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8" Type="http://schemas.openxmlformats.org/officeDocument/2006/relationships/chart" Target="../charts/chart145.xml"/><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739.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740.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741.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742.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743.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744.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745.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746.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747.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748.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47.xml"/><Relationship Id="rId5" Type="http://schemas.openxmlformats.org/officeDocument/2006/relationships/chart" Target="../charts/chart146.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749.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750.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751.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752.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753.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754.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755.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756.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757.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758.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8" Type="http://schemas.openxmlformats.org/officeDocument/2006/relationships/chart" Target="../charts/chart152.xml"/><Relationship Id="rId3" Type="http://schemas.openxmlformats.org/officeDocument/2006/relationships/oleObject" Target="../embeddings/oleObject27.bin"/><Relationship Id="rId7" Type="http://schemas.openxmlformats.org/officeDocument/2006/relationships/chart" Target="../charts/chart151.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50.xml"/><Relationship Id="rId5" Type="http://schemas.openxmlformats.org/officeDocument/2006/relationships/chart" Target="../charts/chart149.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759.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760.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761.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762.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763.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764.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765.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766.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767.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76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8" Type="http://schemas.openxmlformats.org/officeDocument/2006/relationships/chart" Target="../charts/chart156.xml"/><Relationship Id="rId3" Type="http://schemas.openxmlformats.org/officeDocument/2006/relationships/oleObject" Target="../embeddings/oleObject27.bin"/><Relationship Id="rId7" Type="http://schemas.openxmlformats.org/officeDocument/2006/relationships/chart" Target="../charts/chart155.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54.xml"/><Relationship Id="rId5" Type="http://schemas.openxmlformats.org/officeDocument/2006/relationships/chart" Target="../charts/chart153.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769.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770.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771.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772.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773.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774.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775.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776.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777.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778.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779.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780.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781.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782.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783.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784.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785.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786.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787.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78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8" Type="http://schemas.openxmlformats.org/officeDocument/2006/relationships/chart" Target="../charts/chart163.xml"/><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789.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790.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791.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792.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793.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794.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795.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796.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797.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798.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oleObject" Target="../embeddings/oleObject27.bin"/><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65.xml"/><Relationship Id="rId5" Type="http://schemas.openxmlformats.org/officeDocument/2006/relationships/chart" Target="../charts/chart164.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799.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800.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801.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802.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803.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804.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805.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806.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807.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69.xml"/><Relationship Id="rId5" Type="http://schemas.openxmlformats.org/officeDocument/2006/relationships/chart" Target="../charts/chart168.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xml.rels><?xml version="1.0" encoding="UTF-8" standalone="yes"?>
<Relationships xmlns="http://schemas.openxmlformats.org/package/2006/relationships"><Relationship Id="rId8" Type="http://schemas.openxmlformats.org/officeDocument/2006/relationships/chart" Target="../charts/chart174.xml"/><Relationship Id="rId3" Type="http://schemas.openxmlformats.org/officeDocument/2006/relationships/oleObject" Target="../embeddings/oleObject27.bin"/><Relationship Id="rId7" Type="http://schemas.openxmlformats.org/officeDocument/2006/relationships/chart" Target="../charts/chart173.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72.xml"/><Relationship Id="rId5" Type="http://schemas.openxmlformats.org/officeDocument/2006/relationships/chart" Target="../charts/chart171.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xml.rels><?xml version="1.0" encoding="UTF-8" standalone="yes"?>
<Relationships xmlns="http://schemas.openxmlformats.org/package/2006/relationships"><Relationship Id="rId8" Type="http://schemas.openxmlformats.org/officeDocument/2006/relationships/chart" Target="../charts/chart178.xml"/><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1.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80.xml"/><Relationship Id="rId5" Type="http://schemas.openxmlformats.org/officeDocument/2006/relationships/chart" Target="../charts/chart179.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1.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7.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8.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9.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oleObject" Target="../embeddings/oleObject27.bin"/><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183.xml"/><Relationship Id="rId5" Type="http://schemas.openxmlformats.org/officeDocument/2006/relationships/chart" Target="../charts/chart182.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1.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2.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3.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4.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5.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6.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7.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8.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9.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xml.rels><?xml version="1.0" encoding="UTF-8" standalone="yes"?>
<Relationships xmlns="http://schemas.openxmlformats.org/package/2006/relationships"><Relationship Id="rId8" Type="http://schemas.openxmlformats.org/officeDocument/2006/relationships/chart" Target="../charts/chart189.xml"/><Relationship Id="rId3" Type="http://schemas.openxmlformats.org/officeDocument/2006/relationships/oleObject" Target="../embeddings/oleObject27.bin"/><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187.xml"/><Relationship Id="rId5" Type="http://schemas.openxmlformats.org/officeDocument/2006/relationships/chart" Target="../charts/chart186.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1.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2.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3.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4.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5.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6.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7.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8.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9.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1.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2.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3.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4.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5.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722.xml"/><Relationship Id="rId6" Type="http://schemas.openxmlformats.org/officeDocument/2006/relationships/chart" Target="../charts/chart8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6.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723.xml"/><Relationship Id="rId6" Type="http://schemas.openxmlformats.org/officeDocument/2006/relationships/chart" Target="../charts/chart8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7.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724.xml"/><Relationship Id="rId6" Type="http://schemas.openxmlformats.org/officeDocument/2006/relationships/chart" Target="../charts/chart8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725.xml"/><Relationship Id="rId6" Type="http://schemas.openxmlformats.org/officeDocument/2006/relationships/chart" Target="../charts/chart8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9.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726.xml"/><Relationship Id="rId6" Type="http://schemas.openxmlformats.org/officeDocument/2006/relationships/chart" Target="../charts/chart8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8" Type="http://schemas.openxmlformats.org/officeDocument/2006/relationships/chart" Target="../charts/chart196.xml"/><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727.xml"/><Relationship Id="rId6" Type="http://schemas.openxmlformats.org/officeDocument/2006/relationships/chart" Target="../charts/chart8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1.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728.xml"/><Relationship Id="rId6" Type="http://schemas.openxmlformats.org/officeDocument/2006/relationships/chart" Target="../charts/chart8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2.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729.xml"/><Relationship Id="rId6" Type="http://schemas.openxmlformats.org/officeDocument/2006/relationships/chart" Target="../charts/chart8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3.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730.xml"/><Relationship Id="rId6" Type="http://schemas.openxmlformats.org/officeDocument/2006/relationships/chart" Target="../charts/chart8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4.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731.xml"/><Relationship Id="rId6" Type="http://schemas.openxmlformats.org/officeDocument/2006/relationships/chart" Target="../charts/chart8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5.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732.xml"/><Relationship Id="rId6" Type="http://schemas.openxmlformats.org/officeDocument/2006/relationships/chart" Target="../charts/chart8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6.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733.xml"/><Relationship Id="rId6" Type="http://schemas.openxmlformats.org/officeDocument/2006/relationships/chart" Target="../charts/chart8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7.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734.xml"/><Relationship Id="rId6" Type="http://schemas.openxmlformats.org/officeDocument/2006/relationships/chart" Target="../charts/chart8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8.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735.xml"/><Relationship Id="rId6" Type="http://schemas.openxmlformats.org/officeDocument/2006/relationships/chart" Target="../charts/chart8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9.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736.xml"/><Relationship Id="rId6" Type="http://schemas.openxmlformats.org/officeDocument/2006/relationships/chart" Target="../charts/chart8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8" Type="http://schemas.openxmlformats.org/officeDocument/2006/relationships/chart" Target="../charts/chart200.xml"/><Relationship Id="rId3" Type="http://schemas.openxmlformats.org/officeDocument/2006/relationships/oleObject" Target="../embeddings/oleObject27.bin"/><Relationship Id="rId7" Type="http://schemas.openxmlformats.org/officeDocument/2006/relationships/chart" Target="../charts/chart199.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198.xml"/><Relationship Id="rId5" Type="http://schemas.openxmlformats.org/officeDocument/2006/relationships/chart" Target="../charts/chart197.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737.xml"/><Relationship Id="rId6" Type="http://schemas.openxmlformats.org/officeDocument/2006/relationships/chart" Target="../charts/chart8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1.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738.xml"/><Relationship Id="rId6" Type="http://schemas.openxmlformats.org/officeDocument/2006/relationships/chart" Target="../charts/chart8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2.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739.xml"/><Relationship Id="rId6" Type="http://schemas.openxmlformats.org/officeDocument/2006/relationships/chart" Target="../charts/chart8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3.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740.xml"/><Relationship Id="rId6" Type="http://schemas.openxmlformats.org/officeDocument/2006/relationships/chart" Target="../charts/chart8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4.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741.xml"/><Relationship Id="rId6" Type="http://schemas.openxmlformats.org/officeDocument/2006/relationships/chart" Target="../charts/chart8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5.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742.xml"/><Relationship Id="rId6" Type="http://schemas.openxmlformats.org/officeDocument/2006/relationships/chart" Target="../charts/chart8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6.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743.xml"/><Relationship Id="rId6" Type="http://schemas.openxmlformats.org/officeDocument/2006/relationships/chart" Target="../charts/chart8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7.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744.xml"/><Relationship Id="rId6" Type="http://schemas.openxmlformats.org/officeDocument/2006/relationships/chart" Target="../charts/chart8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8.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745.xml"/><Relationship Id="rId6" Type="http://schemas.openxmlformats.org/officeDocument/2006/relationships/chart" Target="../charts/chart8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9.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746.xml"/><Relationship Id="rId6" Type="http://schemas.openxmlformats.org/officeDocument/2006/relationships/chart" Target="../charts/chart8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3.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02.xml"/><Relationship Id="rId5" Type="http://schemas.openxmlformats.org/officeDocument/2006/relationships/chart" Target="../charts/chart201.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747.xml"/><Relationship Id="rId6" Type="http://schemas.openxmlformats.org/officeDocument/2006/relationships/chart" Target="../charts/chart8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1.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748.xml"/><Relationship Id="rId6" Type="http://schemas.openxmlformats.org/officeDocument/2006/relationships/chart" Target="../charts/chart8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2.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749.xml"/><Relationship Id="rId6" Type="http://schemas.openxmlformats.org/officeDocument/2006/relationships/chart" Target="../charts/chart8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3.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750.xml"/><Relationship Id="rId6" Type="http://schemas.openxmlformats.org/officeDocument/2006/relationships/chart" Target="../charts/chart8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4.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751.xml"/><Relationship Id="rId6" Type="http://schemas.openxmlformats.org/officeDocument/2006/relationships/chart" Target="../charts/chart8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5.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752.xml"/><Relationship Id="rId6" Type="http://schemas.openxmlformats.org/officeDocument/2006/relationships/chart" Target="../charts/chart8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6.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753.xml"/><Relationship Id="rId6" Type="http://schemas.openxmlformats.org/officeDocument/2006/relationships/chart" Target="../charts/chart8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7.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754.xml"/><Relationship Id="rId6" Type="http://schemas.openxmlformats.org/officeDocument/2006/relationships/chart" Target="../charts/chart8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8.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755.xml"/><Relationship Id="rId6" Type="http://schemas.openxmlformats.org/officeDocument/2006/relationships/chart" Target="../charts/chart8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9.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756.xml"/><Relationship Id="rId6" Type="http://schemas.openxmlformats.org/officeDocument/2006/relationships/chart" Target="../charts/chart8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8" Type="http://schemas.openxmlformats.org/officeDocument/2006/relationships/chart" Target="../charts/chart207.xml"/><Relationship Id="rId3" Type="http://schemas.openxmlformats.org/officeDocument/2006/relationships/oleObject" Target="../embeddings/oleObject27.bin"/><Relationship Id="rId7" Type="http://schemas.openxmlformats.org/officeDocument/2006/relationships/chart" Target="../charts/chart206.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05.xml"/><Relationship Id="rId5" Type="http://schemas.openxmlformats.org/officeDocument/2006/relationships/chart" Target="../charts/chart204.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757.xml"/><Relationship Id="rId6" Type="http://schemas.openxmlformats.org/officeDocument/2006/relationships/chart" Target="../charts/chart8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1.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758.xml"/><Relationship Id="rId6" Type="http://schemas.openxmlformats.org/officeDocument/2006/relationships/chart" Target="../charts/chart8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2.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759.xml"/><Relationship Id="rId6" Type="http://schemas.openxmlformats.org/officeDocument/2006/relationships/chart" Target="../charts/chart8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3.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760.xml"/><Relationship Id="rId6" Type="http://schemas.openxmlformats.org/officeDocument/2006/relationships/chart" Target="../charts/chart8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4.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761.xml"/><Relationship Id="rId6" Type="http://schemas.openxmlformats.org/officeDocument/2006/relationships/chart" Target="../charts/chart8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5.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762.xml"/><Relationship Id="rId6" Type="http://schemas.openxmlformats.org/officeDocument/2006/relationships/chart" Target="../charts/chart8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6.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763.xml"/><Relationship Id="rId6" Type="http://schemas.openxmlformats.org/officeDocument/2006/relationships/chart" Target="../charts/chart8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7.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764.xml"/><Relationship Id="rId6" Type="http://schemas.openxmlformats.org/officeDocument/2006/relationships/chart" Target="../charts/chart8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8.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765.xml"/><Relationship Id="rId6" Type="http://schemas.openxmlformats.org/officeDocument/2006/relationships/chart" Target="../charts/chart8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9.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766.xml"/><Relationship Id="rId6" Type="http://schemas.openxmlformats.org/officeDocument/2006/relationships/chart" Target="../charts/chart8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8" Type="http://schemas.openxmlformats.org/officeDocument/2006/relationships/chart" Target="../charts/chart211.xml"/><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767.xml"/><Relationship Id="rId6" Type="http://schemas.openxmlformats.org/officeDocument/2006/relationships/chart" Target="../charts/chart8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1.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768.xml"/><Relationship Id="rId6" Type="http://schemas.openxmlformats.org/officeDocument/2006/relationships/chart" Target="../charts/chart8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2.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769.xml"/><Relationship Id="rId6" Type="http://schemas.openxmlformats.org/officeDocument/2006/relationships/chart" Target="../charts/chart8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3.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770.xml"/><Relationship Id="rId6" Type="http://schemas.openxmlformats.org/officeDocument/2006/relationships/chart" Target="../charts/chart8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4.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771.xml"/><Relationship Id="rId6" Type="http://schemas.openxmlformats.org/officeDocument/2006/relationships/chart" Target="../charts/chart8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5.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772.xml"/><Relationship Id="rId6" Type="http://schemas.openxmlformats.org/officeDocument/2006/relationships/chart" Target="../charts/chart8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6.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773.xml"/><Relationship Id="rId6" Type="http://schemas.openxmlformats.org/officeDocument/2006/relationships/chart" Target="../charts/chart8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7.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774.xml"/><Relationship Id="rId6" Type="http://schemas.openxmlformats.org/officeDocument/2006/relationships/chart" Target="../charts/chart8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8.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775.xml"/><Relationship Id="rId6" Type="http://schemas.openxmlformats.org/officeDocument/2006/relationships/chart" Target="../charts/chart8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9.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776.xml"/><Relationship Id="rId6" Type="http://schemas.openxmlformats.org/officeDocument/2006/relationships/chart" Target="../charts/chart8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4.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13.xml"/><Relationship Id="rId5" Type="http://schemas.openxmlformats.org/officeDocument/2006/relationships/chart" Target="../charts/chart212.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777.xml"/><Relationship Id="rId6" Type="http://schemas.openxmlformats.org/officeDocument/2006/relationships/chart" Target="../charts/chart8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1.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778.xml"/><Relationship Id="rId6" Type="http://schemas.openxmlformats.org/officeDocument/2006/relationships/chart" Target="../charts/chart8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2.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779.xml"/><Relationship Id="rId6" Type="http://schemas.openxmlformats.org/officeDocument/2006/relationships/chart" Target="../charts/chart8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3.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780.xml"/><Relationship Id="rId6" Type="http://schemas.openxmlformats.org/officeDocument/2006/relationships/chart" Target="../charts/chart8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4.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781.xml"/><Relationship Id="rId6" Type="http://schemas.openxmlformats.org/officeDocument/2006/relationships/chart" Target="../charts/chart8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5.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782.xml"/><Relationship Id="rId6" Type="http://schemas.openxmlformats.org/officeDocument/2006/relationships/chart" Target="../charts/chart8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6.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783.xml"/><Relationship Id="rId6" Type="http://schemas.openxmlformats.org/officeDocument/2006/relationships/chart" Target="../charts/chart8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7.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784.xml"/><Relationship Id="rId6" Type="http://schemas.openxmlformats.org/officeDocument/2006/relationships/chart" Target="../charts/chart8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8.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785.xml"/><Relationship Id="rId6" Type="http://schemas.openxmlformats.org/officeDocument/2006/relationships/chart" Target="../charts/chart8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9.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786.xml"/><Relationship Id="rId6" Type="http://schemas.openxmlformats.org/officeDocument/2006/relationships/chart" Target="../charts/chart8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8" Type="http://schemas.openxmlformats.org/officeDocument/2006/relationships/chart" Target="../charts/chart218.xml"/><Relationship Id="rId3" Type="http://schemas.openxmlformats.org/officeDocument/2006/relationships/oleObject" Target="../embeddings/oleObject27.bin"/><Relationship Id="rId7" Type="http://schemas.openxmlformats.org/officeDocument/2006/relationships/chart" Target="../charts/chart21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16.xml"/><Relationship Id="rId5" Type="http://schemas.openxmlformats.org/officeDocument/2006/relationships/chart" Target="../charts/chart215.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787.xml"/><Relationship Id="rId6" Type="http://schemas.openxmlformats.org/officeDocument/2006/relationships/chart" Target="../charts/chart8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1.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788.xml"/><Relationship Id="rId6" Type="http://schemas.openxmlformats.org/officeDocument/2006/relationships/chart" Target="../charts/chart8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2.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789.xml"/><Relationship Id="rId6" Type="http://schemas.openxmlformats.org/officeDocument/2006/relationships/chart" Target="../charts/chart8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8" Type="http://schemas.openxmlformats.org/officeDocument/2006/relationships/chart" Target="../charts/chart222.xml"/><Relationship Id="rId3" Type="http://schemas.openxmlformats.org/officeDocument/2006/relationships/oleObject" Target="../embeddings/oleObject27.bin"/><Relationship Id="rId7" Type="http://schemas.openxmlformats.org/officeDocument/2006/relationships/chart" Target="../charts/chart22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20.xml"/><Relationship Id="rId5" Type="http://schemas.openxmlformats.org/officeDocument/2006/relationships/chart" Target="../charts/chart21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8" Type="http://schemas.openxmlformats.org/officeDocument/2006/relationships/chart" Target="../charts/chart229.xml"/><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8" Type="http://schemas.openxmlformats.org/officeDocument/2006/relationships/chart" Target="../charts/chart233.xml"/><Relationship Id="rId3" Type="http://schemas.openxmlformats.org/officeDocument/2006/relationships/oleObject" Target="../embeddings/oleObject27.bin"/><Relationship Id="rId7" Type="http://schemas.openxmlformats.org/officeDocument/2006/relationships/chart" Target="../charts/chart232.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1.xml"/><Relationship Id="rId5" Type="http://schemas.openxmlformats.org/officeDocument/2006/relationships/chart" Target="../charts/chart23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6.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35.xml"/><Relationship Id="rId5" Type="http://schemas.openxmlformats.org/officeDocument/2006/relationships/chart" Target="../charts/chart234.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8" Type="http://schemas.openxmlformats.org/officeDocument/2006/relationships/chart" Target="../charts/chart240.xml"/><Relationship Id="rId3" Type="http://schemas.openxmlformats.org/officeDocument/2006/relationships/oleObject" Target="../embeddings/oleObject27.bin"/><Relationship Id="rId7" Type="http://schemas.openxmlformats.org/officeDocument/2006/relationships/chart" Target="../charts/chart239.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38.xml"/><Relationship Id="rId5" Type="http://schemas.openxmlformats.org/officeDocument/2006/relationships/chart" Target="../charts/chart237.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8" Type="http://schemas.openxmlformats.org/officeDocument/2006/relationships/chart" Target="../charts/chart244.xml"/><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7.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46.xml"/><Relationship Id="rId5" Type="http://schemas.openxmlformats.org/officeDocument/2006/relationships/chart" Target="../charts/chart245.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8" Type="http://schemas.openxmlformats.org/officeDocument/2006/relationships/chart" Target="../charts/chart251.xml"/><Relationship Id="rId3" Type="http://schemas.openxmlformats.org/officeDocument/2006/relationships/oleObject" Target="../embeddings/oleObject27.bin"/><Relationship Id="rId7" Type="http://schemas.openxmlformats.org/officeDocument/2006/relationships/chart" Target="../charts/chart250.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49.xml"/><Relationship Id="rId5" Type="http://schemas.openxmlformats.org/officeDocument/2006/relationships/chart" Target="../charts/chart248.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8" Type="http://schemas.openxmlformats.org/officeDocument/2006/relationships/chart" Target="../charts/chart255.xml"/><Relationship Id="rId3" Type="http://schemas.openxmlformats.org/officeDocument/2006/relationships/oleObject" Target="../embeddings/oleObject27.bin"/><Relationship Id="rId7" Type="http://schemas.openxmlformats.org/officeDocument/2006/relationships/chart" Target="../charts/chart254.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3.xml"/><Relationship Id="rId5" Type="http://schemas.openxmlformats.org/officeDocument/2006/relationships/chart" Target="../charts/chart252.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8" Type="http://schemas.openxmlformats.org/officeDocument/2006/relationships/chart" Target="../charts/chart262.xml"/><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8" Type="http://schemas.openxmlformats.org/officeDocument/2006/relationships/chart" Target="../charts/chart266.xml"/><Relationship Id="rId3" Type="http://schemas.openxmlformats.org/officeDocument/2006/relationships/oleObject" Target="../embeddings/oleObject27.bin"/><Relationship Id="rId7" Type="http://schemas.openxmlformats.org/officeDocument/2006/relationships/chart" Target="../charts/chart265.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4.xml"/><Relationship Id="rId5" Type="http://schemas.openxmlformats.org/officeDocument/2006/relationships/chart" Target="../charts/chart263.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9.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8.xml"/><Relationship Id="rId5" Type="http://schemas.openxmlformats.org/officeDocument/2006/relationships/chart" Target="../charts/chart267.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270.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271.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272.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273.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274.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275.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276.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277.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27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14639487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477141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PAC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70396437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7485659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506491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29349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02147"/>
            <a:ext cx="4869366" cy="2549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61397"/>
            <a:ext cx="4869366" cy="1685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34230"/>
            <a:ext cx="4869366" cy="34134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2497638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51604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6410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82365"/>
            <a:ext cx="4869366" cy="8217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18078"/>
            <a:ext cx="4869366" cy="5432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5220"/>
            <a:ext cx="4869366" cy="11003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393300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214590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8998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08103"/>
            <a:ext cx="4869366" cy="8133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35189"/>
            <a:ext cx="4869366" cy="53760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86579"/>
            <a:ext cx="4869366" cy="108899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737330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68669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630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80156"/>
            <a:ext cx="4869366" cy="7565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9571"/>
            <a:ext cx="4869366" cy="5001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62513"/>
            <a:ext cx="4869366" cy="10130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8395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756811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5001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58351"/>
            <a:ext cx="4869366" cy="2364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98761"/>
            <a:ext cx="4869366" cy="1562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59035"/>
            <a:ext cx="4869366" cy="3165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519279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920382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728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5192"/>
            <a:ext cx="4869366" cy="80107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9845"/>
            <a:ext cx="4869366" cy="5295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2948"/>
            <a:ext cx="4869366" cy="10726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64174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82418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59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4518"/>
            <a:ext cx="4869366" cy="8408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9621"/>
            <a:ext cx="4869366" cy="5558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9690"/>
            <a:ext cx="4869366" cy="11258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114004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18391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651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4930"/>
            <a:ext cx="4869366" cy="8308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9839"/>
            <a:ext cx="4869366" cy="5491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3112"/>
            <a:ext cx="4869366" cy="11124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7820195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201834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7204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90255"/>
            <a:ext cx="4869366" cy="8191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3323"/>
            <a:ext cx="4869366" cy="5414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8702"/>
            <a:ext cx="4869366" cy="10968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365891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85196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44289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656274"/>
            <a:ext cx="4869366" cy="533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199057"/>
            <a:ext cx="4869366" cy="35280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560912"/>
            <a:ext cx="4869366" cy="7146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7457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RHO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81395569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9449808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88323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26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2298"/>
            <a:ext cx="4869366" cy="904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1832"/>
            <a:ext cx="4869366" cy="597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4855"/>
            <a:ext cx="4869366" cy="12107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644204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25100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4462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62994"/>
            <a:ext cx="4869366" cy="82816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05200"/>
            <a:ext cx="4869366" cy="547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6671"/>
            <a:ext cx="4869366" cy="11089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022364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661109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4783"/>
            <a:ext cx="4869366" cy="10055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7395"/>
            <a:ext cx="4869366" cy="664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9136"/>
            <a:ext cx="4869366" cy="13464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960983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561247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3938"/>
            <a:ext cx="4869366" cy="9794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0018"/>
            <a:ext cx="4869366" cy="647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4071"/>
            <a:ext cx="4869366" cy="13115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1201971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270151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3855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58063"/>
            <a:ext cx="4869366" cy="8957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68961"/>
            <a:ext cx="4869366" cy="5920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76226"/>
            <a:ext cx="4869366" cy="119934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9915294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508167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14337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352862"/>
            <a:ext cx="4869366" cy="30413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662151"/>
            <a:ext cx="4869366" cy="2010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68344"/>
            <a:ext cx="4869366" cy="40723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7316833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60156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519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73918"/>
            <a:ext cx="4869366" cy="6887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80358"/>
            <a:ext cx="4869366" cy="13952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1848032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216259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8241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1680"/>
            <a:ext cx="4869366" cy="8813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7958"/>
            <a:ext cx="4869366" cy="58258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5476"/>
            <a:ext cx="4869366" cy="11800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282665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38444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14894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358404"/>
            <a:ext cx="4869366" cy="3023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665836"/>
            <a:ext cx="4869366" cy="19983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70790"/>
            <a:ext cx="4869366" cy="4047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1674893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83920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937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15383"/>
            <a:ext cx="4869366" cy="6751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07885"/>
            <a:ext cx="4869366" cy="13676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53762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AQU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48146457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187881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3598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40429"/>
            <a:ext cx="4869366" cy="96745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4277"/>
            <a:ext cx="4869366" cy="6395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0176"/>
            <a:ext cx="4869366" cy="12953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629941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72171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71440"/>
            <a:ext cx="4869366" cy="9572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4893"/>
            <a:ext cx="4869366" cy="6327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3862"/>
            <a:ext cx="4869366" cy="128171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6234879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19958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21667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425749"/>
            <a:ext cx="4869366" cy="28011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10607"/>
            <a:ext cx="4869366" cy="1851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00512"/>
            <a:ext cx="4869366" cy="3750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4460302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41625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8368"/>
            <a:ext cx="4869366" cy="9582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2851"/>
            <a:ext cx="4869366" cy="633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2506"/>
            <a:ext cx="4869366" cy="128306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8138741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470755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8302"/>
            <a:ext cx="4869366" cy="9978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3031"/>
            <a:ext cx="4869366" cy="6595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9516"/>
            <a:ext cx="4869366" cy="13360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94396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76575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63231"/>
            <a:ext cx="4869366" cy="992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2955"/>
            <a:ext cx="4869366" cy="65632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46105"/>
            <a:ext cx="4869366" cy="132947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4174551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hampagne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86919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68175"/>
            <a:ext cx="4869366" cy="9912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6242"/>
            <a:ext cx="4869366" cy="6552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48287"/>
            <a:ext cx="4869366" cy="13272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415695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31882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97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9077"/>
            <a:ext cx="4869366" cy="8821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6227"/>
            <a:ext cx="4869366" cy="5831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4327"/>
            <a:ext cx="4869366" cy="11812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063354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90775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0997"/>
            <a:ext cx="4869366" cy="9705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8006"/>
            <a:ext cx="4869366" cy="6415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6013"/>
            <a:ext cx="4869366" cy="12995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263874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17287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15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10753"/>
            <a:ext cx="4869366" cy="87834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990"/>
            <a:ext cx="4869366" cy="5806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9481"/>
            <a:ext cx="4869366" cy="11760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616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ES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27775979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99791246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86214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18325"/>
            <a:ext cx="4869366" cy="974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9582"/>
            <a:ext cx="4869366" cy="6443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0420"/>
            <a:ext cx="4869366" cy="13051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127572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176157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3938"/>
            <a:ext cx="4869366" cy="9794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0018"/>
            <a:ext cx="4869366" cy="647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4071"/>
            <a:ext cx="4869366" cy="13115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4630791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1442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2573"/>
            <a:ext cx="4869366" cy="9700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9054"/>
            <a:ext cx="4869366" cy="6412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5126008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90760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71462"/>
            <a:ext cx="4869366" cy="9901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8427"/>
            <a:ext cx="4869366" cy="6545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71702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91300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7455062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98895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9411"/>
            <a:ext cx="4869366" cy="9842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0360"/>
            <a:ext cx="4869366" cy="6506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7659"/>
            <a:ext cx="4869366" cy="13179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755180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35243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03304"/>
            <a:ext cx="4869366" cy="9467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66076"/>
            <a:ext cx="4869366" cy="6258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254308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60872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79090"/>
            <a:ext cx="4869366" cy="95470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9979"/>
            <a:ext cx="4869366" cy="6310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7239"/>
            <a:ext cx="4869366" cy="127833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4661899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785167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5558"/>
            <a:ext cx="4869366" cy="12500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036075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39991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14591"/>
            <a:ext cx="4869366" cy="10089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0619"/>
            <a:ext cx="4869366" cy="66691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4638"/>
            <a:ext cx="4869366" cy="135093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05788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 A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21504401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1367157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646956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6258"/>
            <a:ext cx="4869366" cy="9721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4856"/>
            <a:ext cx="4869366" cy="642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573118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78653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6258"/>
            <a:ext cx="4869366" cy="9721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4856"/>
            <a:ext cx="4869366" cy="642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3921"/>
            <a:ext cx="4869366" cy="130165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569421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06672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7148"/>
            <a:ext cx="4869366" cy="9784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2151"/>
            <a:ext cx="4869366" cy="6467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5487"/>
            <a:ext cx="4869366" cy="13100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804489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531864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3090"/>
            <a:ext cx="4869366" cy="9731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2750"/>
            <a:ext cx="4869366" cy="6432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7634497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28301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7292"/>
            <a:ext cx="4869366" cy="9684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2191"/>
            <a:ext cx="4869366" cy="6401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8791"/>
            <a:ext cx="4869366" cy="12967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904568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01797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5819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66491"/>
            <a:ext cx="4869366" cy="2337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04173"/>
            <a:ext cx="4869366" cy="1544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62628"/>
            <a:ext cx="4869366" cy="3129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1453760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63709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49802"/>
            <a:ext cx="4869366" cy="9643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0508"/>
            <a:ext cx="4869366" cy="6374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4312"/>
            <a:ext cx="4869366" cy="12912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8285994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66472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877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7396"/>
            <a:ext cx="4869366" cy="8431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4886"/>
            <a:ext cx="4869366" cy="5573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6546"/>
            <a:ext cx="4869366" cy="112902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808516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06300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1358"/>
            <a:ext cx="4869366" cy="9638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1543"/>
            <a:ext cx="4869366" cy="6371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4999"/>
            <a:ext cx="4869366" cy="12905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6511882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58094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1219"/>
            <a:ext cx="4869366" cy="12143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7921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 B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44828546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86217677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49373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3293"/>
            <a:ext cx="4869366" cy="9994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9700"/>
            <a:ext cx="4869366" cy="66066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7305"/>
            <a:ext cx="4869366" cy="133827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208205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3994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962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9538"/>
            <a:ext cx="4869366" cy="7393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7870"/>
            <a:ext cx="4869366" cy="14977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495553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321706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4466"/>
            <a:ext cx="4869366" cy="962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3609"/>
            <a:ext cx="4869366" cy="6364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6371"/>
            <a:ext cx="4869366" cy="12892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324962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68791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10350"/>
            <a:ext cx="4869366" cy="97736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4280"/>
            <a:ext cx="4869366" cy="6460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6900"/>
            <a:ext cx="4869366" cy="13086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487010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314737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0722"/>
            <a:ext cx="4869366" cy="98053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7880"/>
            <a:ext cx="4869366" cy="6481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2652"/>
            <a:ext cx="4869366" cy="13129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053286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488863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2206"/>
            <a:ext cx="4869366" cy="9602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8754"/>
            <a:ext cx="4869366" cy="6347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9787"/>
            <a:ext cx="4869366" cy="12857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4392938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892330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401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5459"/>
            <a:ext cx="4869366" cy="12101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346301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657416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91248"/>
            <a:ext cx="4869366" cy="9507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58062"/>
            <a:ext cx="4869366" cy="6284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02604"/>
            <a:ext cx="4869366" cy="127297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497782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84440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19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3480"/>
            <a:ext cx="4869366" cy="6725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3260"/>
            <a:ext cx="4869366" cy="136231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248518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71727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1358"/>
            <a:ext cx="4869366" cy="9638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1543"/>
            <a:ext cx="4869366" cy="6371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4999"/>
            <a:ext cx="4869366" cy="12905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6424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 C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90159379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03043270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14731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7839"/>
            <a:ext cx="4869366" cy="9716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5907"/>
            <a:ext cx="4869366" cy="6422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4619"/>
            <a:ext cx="4869366" cy="13009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3953332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46173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9274"/>
            <a:ext cx="4869366" cy="9216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6582"/>
            <a:ext cx="4869366" cy="6092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1454"/>
            <a:ext cx="4869366" cy="12341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342592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Sans Alcool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21066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2361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9669"/>
            <a:ext cx="4869366" cy="12059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743066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19721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5122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70112"/>
            <a:ext cx="4869366" cy="8587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43452"/>
            <a:ext cx="4869366" cy="5676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5678"/>
            <a:ext cx="4869366" cy="114989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0158834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43640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49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9255"/>
            <a:ext cx="4869366" cy="7787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8018"/>
            <a:ext cx="4869366" cy="15775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990233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031415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7642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92389"/>
            <a:ext cx="4869366" cy="6866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3919771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03508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068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4189"/>
            <a:ext cx="4869366" cy="7476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1041"/>
            <a:ext cx="4869366" cy="151453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06257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93854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62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9213"/>
            <a:ext cx="4869366" cy="7263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4209"/>
            <a:ext cx="4869366" cy="147136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287784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37899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3538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567738"/>
            <a:ext cx="4869366" cy="5629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140198"/>
            <a:ext cx="4869366" cy="37209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521837"/>
            <a:ext cx="4869366" cy="75373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271448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647539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3273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50056"/>
            <a:ext cx="4869366" cy="7665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29560"/>
            <a:ext cx="4869366" cy="5066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49229"/>
            <a:ext cx="4869366" cy="10263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639166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 D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35786269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0211126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93107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599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76564"/>
            <a:ext cx="4869366" cy="7248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13663"/>
            <a:ext cx="4869366" cy="4791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05062"/>
            <a:ext cx="4869366" cy="97051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3410603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76140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6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1585"/>
            <a:ext cx="4869366" cy="7911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3010"/>
            <a:ext cx="4869366" cy="16025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1269497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4126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1171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332299"/>
            <a:ext cx="4869366" cy="6405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983677"/>
            <a:ext cx="4869366" cy="4233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17928"/>
            <a:ext cx="4869366" cy="8576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6349165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41656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96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3881"/>
            <a:ext cx="4869366" cy="7772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1089"/>
            <a:ext cx="4869366" cy="15744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294844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11224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63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9747"/>
            <a:ext cx="4869366" cy="7425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1370"/>
            <a:ext cx="4869366" cy="15042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8179311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044344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403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1964"/>
            <a:ext cx="4869366" cy="8021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7700"/>
            <a:ext cx="4869366" cy="5302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1523"/>
            <a:ext cx="4869366" cy="10740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112515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302404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1382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353363"/>
            <a:ext cx="4869366" cy="6335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997680"/>
            <a:ext cx="4869366" cy="4188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27225"/>
            <a:ext cx="4869366" cy="8483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2405461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52341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8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13079"/>
            <a:ext cx="4869366" cy="7742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7196"/>
            <a:ext cx="4869366" cy="1568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900133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8769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629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0252"/>
            <a:ext cx="4869366" cy="7653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25235"/>
            <a:ext cx="4869366" cy="15503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087101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75606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8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13079"/>
            <a:ext cx="4869366" cy="7742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7196"/>
            <a:ext cx="4869366" cy="1568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586205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 E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6664675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5475955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lanc De Blanc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87117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3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6934"/>
            <a:ext cx="4869366" cy="74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9503"/>
            <a:ext cx="4869366" cy="15060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042846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3369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26581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480171"/>
            <a:ext cx="4869366" cy="5917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081983"/>
            <a:ext cx="4869366" cy="3911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83190"/>
            <a:ext cx="4869366" cy="7923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628163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57654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26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45690"/>
            <a:ext cx="4869366" cy="7308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5232"/>
            <a:ext cx="4869366" cy="148034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190983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60442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9886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16931"/>
            <a:ext cx="4869366" cy="81039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41058"/>
            <a:ext cx="4869366" cy="5356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90476"/>
            <a:ext cx="4869366" cy="10850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1435026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76790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6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49765"/>
            <a:ext cx="4869366" cy="7294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7936"/>
            <a:ext cx="4869366" cy="14776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092757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895248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722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94918"/>
            <a:ext cx="4869366" cy="71466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27912"/>
            <a:ext cx="4869366" cy="14476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336939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87539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53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07852"/>
            <a:ext cx="4869366" cy="71043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6499"/>
            <a:ext cx="4869366" cy="14390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8509757"/>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06416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78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1743"/>
            <a:ext cx="4869366" cy="76486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26225"/>
            <a:ext cx="4869366" cy="15493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833743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30397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9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2701"/>
            <a:ext cx="4869366" cy="7448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6693"/>
            <a:ext cx="4869366" cy="150888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0275961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15816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74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30624"/>
            <a:ext cx="4869366" cy="7357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85229"/>
            <a:ext cx="4869366" cy="14903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050874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ational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55541331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76375748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60736907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1444392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58668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0839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30751"/>
            <a:ext cx="4869366" cy="7029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1700"/>
            <a:ext cx="4869366" cy="14238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4668331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70600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3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6934"/>
            <a:ext cx="4869366" cy="74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9503"/>
            <a:ext cx="4869366" cy="15060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5498575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930742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47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6990"/>
            <a:ext cx="4869366" cy="6976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62481"/>
            <a:ext cx="4869366" cy="14130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53687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38803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819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03704"/>
            <a:ext cx="4869366" cy="6790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00131"/>
            <a:ext cx="4869366" cy="137544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743327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7064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17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4459"/>
            <a:ext cx="4869366" cy="718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20969"/>
            <a:ext cx="4869366" cy="14546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3590218"/>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05070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80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1119"/>
            <a:ext cx="4869366" cy="72902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8836"/>
            <a:ext cx="4869366" cy="14767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3985254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748731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03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63238"/>
            <a:ext cx="4869366" cy="7250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6881"/>
            <a:ext cx="4869366" cy="14686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849445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0077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53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48408"/>
            <a:ext cx="4869366" cy="7299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7036"/>
            <a:ext cx="4869366" cy="14785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0403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rut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254372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16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64576"/>
            <a:ext cx="4869366" cy="7246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7769"/>
            <a:ext cx="4869366" cy="14678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9699356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21813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1169"/>
            <a:ext cx="4869366" cy="9256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41862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84532880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870140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79413307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58455779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41314083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5558024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34874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3570"/>
            <a:ext cx="4869366" cy="9379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659723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566966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38012"/>
            <a:ext cx="4869366" cy="9299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450160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34424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1327"/>
            <a:ext cx="4869366" cy="9387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5476574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89754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02320"/>
            <a:ext cx="4869366" cy="9416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9497088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141725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84134"/>
            <a:ext cx="4869366" cy="947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105636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677575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37648"/>
            <a:ext cx="4869366" cy="962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7492042"/>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478978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7702"/>
            <a:ext cx="4869366" cy="92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4182656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23044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5809"/>
            <a:ext cx="4869366" cy="9372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756589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86688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10990"/>
            <a:ext cx="4869366" cy="9060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2540797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188119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31388"/>
            <a:ext cx="4869366" cy="9321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6412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HMSM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420912574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34503498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83909940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8497073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490934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46797"/>
            <a:ext cx="4869366" cy="9270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996694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03879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66366"/>
            <a:ext cx="4869366" cy="9206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6022959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800325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46797"/>
            <a:ext cx="4869366" cy="9270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007221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899435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3350"/>
            <a:ext cx="4869366" cy="92493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442901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574084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90981"/>
            <a:ext cx="4869366" cy="94537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0809308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ru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09450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84134"/>
            <a:ext cx="4869366" cy="947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3157616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997252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23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6205"/>
            <a:ext cx="4869366" cy="7634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769074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09914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56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0372"/>
            <a:ext cx="4869366" cy="7948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256143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27747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2247725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588842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37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8392"/>
            <a:ext cx="4869366" cy="7921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227172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QCN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77386303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96116709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73873281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2197246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41951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17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6359"/>
            <a:ext cx="4869366" cy="7895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6829362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1945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02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7631"/>
            <a:ext cx="4869366" cy="8022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2981130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601905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897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84245"/>
            <a:ext cx="4869366" cy="8164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891445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366686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11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5419"/>
            <a:ext cx="4869366" cy="77677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358439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058993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0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5801"/>
            <a:ext cx="4869366" cy="799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28883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940613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0583833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85771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71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1504"/>
            <a:ext cx="4869366" cy="7813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4496483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991443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2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7753"/>
            <a:ext cx="4869366" cy="805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2618679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21349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0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4610"/>
            <a:ext cx="4869366" cy="7803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5259297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89664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8943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4443"/>
            <a:ext cx="4869366" cy="806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498970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VCN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43278631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01738889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90892584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13647484"/>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03000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0222952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87515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0703687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79409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21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6792"/>
            <a:ext cx="4869366" cy="79271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417320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xtra Brut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04014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75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2299"/>
            <a:ext cx="4869366" cy="7974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022830"/>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869846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474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3334"/>
            <a:ext cx="4869366" cy="8412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8834"/>
            <a:ext cx="4869366" cy="5560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9167"/>
            <a:ext cx="4869366" cy="112640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3826270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257924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4125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60196"/>
            <a:ext cx="4869366" cy="86205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36859"/>
            <a:ext cx="4869366" cy="56983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1302"/>
            <a:ext cx="4869366" cy="11542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4065683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68488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519459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08680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7183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89495"/>
            <a:ext cx="4869366" cy="7864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89299"/>
            <a:ext cx="4869366" cy="51987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22501"/>
            <a:ext cx="4869366" cy="105307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79493722"/>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051825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295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0886"/>
            <a:ext cx="4869366" cy="8024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6983"/>
            <a:ext cx="4869366" cy="5304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1048"/>
            <a:ext cx="4869366" cy="10745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38071762"/>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82008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12279"/>
            <a:ext cx="4869366" cy="9437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72043"/>
            <a:ext cx="4869366" cy="62384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11886"/>
            <a:ext cx="4869366" cy="126368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432288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QC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415525281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28848661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54838996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3655220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0722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1540"/>
            <a:ext cx="4869366" cy="10033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1887"/>
            <a:ext cx="4869366" cy="6632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2118"/>
            <a:ext cx="4869366" cy="13434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438513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04092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4124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60747"/>
            <a:ext cx="4869366" cy="8948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70745"/>
            <a:ext cx="4869366" cy="5914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77411"/>
            <a:ext cx="4869366" cy="11981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617421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56512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721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90936"/>
            <a:ext cx="4869366" cy="8519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57296"/>
            <a:ext cx="4869366" cy="5631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4869"/>
            <a:ext cx="4869366" cy="11407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4866442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62230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421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64205"/>
            <a:ext cx="4869366" cy="6919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73910"/>
            <a:ext cx="4869366" cy="14016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799765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52695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1598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35072"/>
            <a:ext cx="4869366" cy="8703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20157"/>
            <a:ext cx="4869366" cy="57530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0214"/>
            <a:ext cx="4869366" cy="116536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1140445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01831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67849"/>
            <a:ext cx="4869366" cy="9254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08986"/>
            <a:ext cx="4869366" cy="6117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36411"/>
            <a:ext cx="4869366" cy="12391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920080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476108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1346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29780"/>
            <a:ext cx="4869366" cy="7072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49041"/>
            <a:ext cx="4869366" cy="4675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28548"/>
            <a:ext cx="4869366" cy="9470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02177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38361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8862"/>
            <a:ext cx="4869366" cy="9679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3235"/>
            <a:ext cx="4869366" cy="6398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9484"/>
            <a:ext cx="4869366" cy="129609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325503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381517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2718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45650"/>
            <a:ext cx="4869366" cy="83388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3670"/>
            <a:ext cx="4869366" cy="5512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9016"/>
            <a:ext cx="4869366" cy="11165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19540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16517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1726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36340"/>
            <a:ext cx="4869366" cy="86991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21000"/>
            <a:ext cx="4869366" cy="57502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0773"/>
            <a:ext cx="4869366" cy="116480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48622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QCA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415264769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89071273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67932402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2658205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116311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1752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35483"/>
            <a:ext cx="4869366" cy="80427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3391"/>
            <a:ext cx="4869366" cy="5316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98663"/>
            <a:ext cx="4869366" cy="107691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346519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illesime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954595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6122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77282"/>
            <a:ext cx="4869366" cy="6916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80621"/>
            <a:ext cx="4869366" cy="4571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49513"/>
            <a:ext cx="4869366" cy="9260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048745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3070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2634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477823"/>
            <a:ext cx="4869366" cy="5925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080421"/>
            <a:ext cx="4869366" cy="3916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370006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86299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6164"/>
            <a:ext cx="4869366" cy="9853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8201"/>
            <a:ext cx="4869366" cy="6513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6226"/>
            <a:ext cx="4869366" cy="131934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043518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15346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8750"/>
            <a:ext cx="4869366" cy="97789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3216"/>
            <a:ext cx="4869366" cy="6464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6194"/>
            <a:ext cx="4869366" cy="130938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8663271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26393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97499"/>
            <a:ext cx="4869366" cy="9816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5737"/>
            <a:ext cx="4869366" cy="6488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1229"/>
            <a:ext cx="4869366" cy="13143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11715321"/>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86331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0714"/>
            <a:ext cx="4869366" cy="92450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0891"/>
            <a:ext cx="4869366" cy="6111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37676"/>
            <a:ext cx="4869366" cy="12378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773739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46855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4964"/>
            <a:ext cx="4869366" cy="9989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0812"/>
            <a:ext cx="4869366" cy="66030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8043"/>
            <a:ext cx="4869366" cy="133753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8024230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27375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49973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707238"/>
            <a:ext cx="4869366" cy="1873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97742"/>
            <a:ext cx="4869366" cy="1238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4024745"/>
            <a:ext cx="4869366" cy="25083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5700924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98759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76378"/>
            <a:ext cx="4869366" cy="9885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1696"/>
            <a:ext cx="4869366" cy="6534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1907"/>
            <a:ext cx="4869366" cy="132366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57615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CCP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64857350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27487834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74489234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96925901"/>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35405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1540"/>
            <a:ext cx="4869366" cy="10033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1887"/>
            <a:ext cx="4869366" cy="6632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2118"/>
            <a:ext cx="4869366" cy="13434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200690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512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1393"/>
            <a:ext cx="4869366" cy="10066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5141"/>
            <a:ext cx="4869366" cy="6654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7640"/>
            <a:ext cx="4869366" cy="13479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8623809"/>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90213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5290"/>
            <a:ext cx="4869366" cy="9592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0805"/>
            <a:ext cx="4869366" cy="6340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1148"/>
            <a:ext cx="4869366" cy="12844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81689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095015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84952"/>
            <a:ext cx="4869366" cy="91981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0356"/>
            <a:ext cx="4869366" cy="608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3959"/>
            <a:ext cx="4869366" cy="12316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9972484"/>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0384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635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82402"/>
            <a:ext cx="4869366" cy="8547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51622"/>
            <a:ext cx="4869366" cy="5649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1102"/>
            <a:ext cx="4869366" cy="11444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6080228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602352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49961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707120"/>
            <a:ext cx="4869366" cy="1873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97664"/>
            <a:ext cx="4869366" cy="12385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4024693"/>
            <a:ext cx="4869366" cy="25088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2267283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651307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5558"/>
            <a:ext cx="4869366" cy="12500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44265584"/>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09937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4475"/>
            <a:ext cx="4869366" cy="9364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6800"/>
            <a:ext cx="4869366" cy="61901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1682"/>
            <a:ext cx="4869366" cy="125389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27437810"/>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548907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8873"/>
            <a:ext cx="4869366" cy="93500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9723"/>
            <a:ext cx="4869366" cy="6180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3623"/>
            <a:ext cx="4869366" cy="12519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482351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osé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05741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80696"/>
            <a:ext cx="4869366" cy="9212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7527"/>
            <a:ext cx="4869366" cy="6089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2081"/>
            <a:ext cx="4869366" cy="12334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73854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IDF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05150736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69169314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08222450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986890941"/>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79110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0846"/>
            <a:ext cx="4869366" cy="6012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1526586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66862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14619"/>
            <a:ext cx="4869366" cy="10031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870899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18581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61283"/>
            <a:ext cx="4869366" cy="8567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7017017"/>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169400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031616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34872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10030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965814"/>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18568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157286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7302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6699003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3432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0048155"/>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41982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1823881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32627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47271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PAC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75081063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03907614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82368834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57428789"/>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025358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910403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26652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07803129"/>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51657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7099268"/>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954487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667486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54321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43280172"/>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354324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858517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1819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98196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543042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urgogn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149084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2291"/>
            <a:ext cx="4869366" cy="10006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09160122"/>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897918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66323"/>
            <a:ext cx="4869366" cy="8879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081485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03612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767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02787"/>
            <a:ext cx="4869366" cy="81040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291843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RHO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409392955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8003386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35616573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26143066"/>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61217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76328"/>
            <a:ext cx="4869366" cy="8846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485312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394461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26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7758"/>
            <a:ext cx="4869366" cy="8120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07880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10881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26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7758"/>
            <a:ext cx="4869366" cy="8120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3141157"/>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21200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3999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5423"/>
            <a:ext cx="4869366" cy="8226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43667318"/>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591048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34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8867"/>
            <a:ext cx="4869366" cy="82152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7659750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60830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4570"/>
            <a:ext cx="4869366" cy="1591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4360977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07196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38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79140"/>
            <a:ext cx="4869366" cy="8181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9388478"/>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39967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75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2708"/>
            <a:ext cx="4869366" cy="8137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50291980"/>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47841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1549029"/>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17519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29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7425"/>
            <a:ext cx="4869366" cy="7859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545848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HMSM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38594404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905794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AQU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51896019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77942450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43475603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55824836"/>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23614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33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7709"/>
            <a:ext cx="4869366" cy="77930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99638728"/>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66076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581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1020"/>
            <a:ext cx="4869366" cy="8142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26165"/>
            <a:ext cx="4869366" cy="164941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5138692"/>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53743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94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4347"/>
            <a:ext cx="4869366" cy="8033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40768118"/>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71170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72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82546"/>
            <a:ext cx="4869366" cy="8170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67611468"/>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719254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42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9436"/>
            <a:ext cx="4869366" cy="811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2401096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Italien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33402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58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0678"/>
            <a:ext cx="4869366" cy="7979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8963541"/>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991341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403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8762"/>
            <a:ext cx="4869366" cy="7953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4497"/>
            <a:ext cx="4869366" cy="16110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85721622"/>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60296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2482039"/>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37091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33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7946"/>
            <a:ext cx="4869366" cy="7890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7233"/>
            <a:ext cx="4869366" cy="15983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46372528"/>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32160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438636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ICOLAS ES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60233529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4786653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56287257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2117649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16004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6259"/>
            <a:ext cx="4869366" cy="88137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9459594"/>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92816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06802"/>
            <a:ext cx="4869366" cy="907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102528"/>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60405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19330"/>
            <a:ext cx="4869366" cy="9033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7767216"/>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359635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09798"/>
            <a:ext cx="4869366" cy="8736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4631726"/>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77235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27619"/>
            <a:ext cx="4869366" cy="9005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0791866"/>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81505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5283739"/>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611352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50160"/>
            <a:ext cx="4869366" cy="8932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7028224"/>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63382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49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10817"/>
            <a:ext cx="4869366" cy="8405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7311873"/>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71531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4343"/>
            <a:ext cx="4869366" cy="8623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1305639"/>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687470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96274"/>
            <a:ext cx="4869366" cy="9108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27682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 A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73989714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67627142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02029102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558965651"/>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90039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21413"/>
            <a:ext cx="4869366" cy="8698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397876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368154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78320"/>
            <a:ext cx="4869366" cy="88397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4920558"/>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1217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4278"/>
            <a:ext cx="4869366" cy="88202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064380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Val De Loir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3944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770718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850141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241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7149"/>
            <a:ext cx="4869366" cy="7958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3427"/>
            <a:ext cx="4869366" cy="16121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3557355"/>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18342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94151"/>
            <a:ext cx="4869366" cy="8787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947266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33558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7700"/>
            <a:ext cx="4869366" cy="16078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3509947"/>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34934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06802"/>
            <a:ext cx="4869366" cy="907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5722897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28930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87201"/>
            <a:ext cx="4869366" cy="9793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55814378"/>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34684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52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32108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 B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41877695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96639468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70036871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82505702"/>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89205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0519914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28975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026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601805"/>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77267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3058075"/>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572504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5709044"/>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49908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0831582"/>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698700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51605222"/>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213852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47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6397950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95613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15131689"/>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155562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31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355279"/>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807741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49409"/>
            <a:ext cx="4869366" cy="9589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830961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 C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42259518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2726881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80177787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37750945"/>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842947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277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8327098"/>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Alsac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28048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31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737311"/>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07624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82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2129"/>
            <a:ext cx="4869366" cy="7614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3119"/>
            <a:ext cx="4869366" cy="15424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98259938"/>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30984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0008940"/>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381349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342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8022"/>
            <a:ext cx="4869366" cy="7595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7032"/>
            <a:ext cx="4869366" cy="153854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13588968"/>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68437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8768981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56397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01791"/>
            <a:ext cx="4869366" cy="9746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03156114"/>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64153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13840"/>
            <a:ext cx="4869366" cy="9706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7476360"/>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313966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35285"/>
            <a:ext cx="4869366" cy="9636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121101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84164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87201"/>
            <a:ext cx="4869366" cy="9793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877287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 D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38744228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51959919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41874088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89907331"/>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11385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74934"/>
            <a:ext cx="4869366" cy="9834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57552467"/>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28548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99369"/>
            <a:ext cx="4869366" cy="9753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16193775"/>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81664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42364"/>
            <a:ext cx="4869366" cy="9613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334587"/>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30751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8376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0795261"/>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44330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7702"/>
            <a:ext cx="4869366" cy="92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7582995"/>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881516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276989"/>
            <a:ext cx="4869366" cy="19985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23237927"/>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3466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2565"/>
            <a:ext cx="4869366" cy="9874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822256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7254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9960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7611371"/>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788695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18632"/>
            <a:ext cx="4869366" cy="9690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18008967"/>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ousseux Bordelai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17105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96943"/>
            <a:ext cx="4869366" cy="9761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77991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 E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60133132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23044855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0440500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Champagnes</a:t>
                      </a:r>
                    </a:p>
                  </a:txBody>
                  <a:tcPr anchor="ctr">
                    <a:solidFill>
                      <a:schemeClr val="bg2"/>
                    </a:solidFill>
                  </a:tcPr>
                </a:tc>
                <a:tc>
                  <a:txBody>
                    <a:bodyPr/>
                    <a:lstStyle/>
                    <a:p>
                      <a:pPr algn="ctr">
                        <a:defRPr sz="1100">
                          <a:latin typeface="Nexa Book"/>
                        </a:defRPr>
                      </a:pPr>
                      <a:r>
                        <a:rPr b="1">
                          <a:solidFill>
                            <a:srgbClr val="575555"/>
                          </a:solidFill>
                        </a:rPr>
                        <a:t>Mousseux</a:t>
                      </a:r>
                    </a:p>
                  </a:txBody>
                  <a:tcPr anchor="ctr">
                    <a:solidFill>
                      <a:schemeClr val="bg2"/>
                    </a:solidFill>
                  </a:tcPr>
                </a:tc>
                <a:tc>
                  <a:txBody>
                    <a:bodyPr/>
                    <a:lstStyle/>
                    <a:p>
                      <a:pPr algn="ctr">
                        <a:defRPr sz="1100">
                          <a:latin typeface="Nexa Book"/>
                        </a:defRPr>
                      </a:pPr>
                      <a:r>
                        <a:rPr b="1">
                          <a:solidFill>
                            <a:srgbClr val="575555"/>
                          </a:solidFill>
                        </a:rPr>
                        <a:t>Effervescents Sans Alco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4119065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348145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5273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60228"/>
            <a:ext cx="4869366" cy="3153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77829570"/>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30880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03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09036"/>
            <a:ext cx="4869366" cy="84595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69328"/>
            <a:ext cx="4869366" cy="5591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2857"/>
            <a:ext cx="4869366" cy="113271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9871774"/>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32825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0809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16668"/>
            <a:ext cx="4869366" cy="25014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71050"/>
            <a:ext cx="4869366" cy="1653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40639"/>
            <a:ext cx="4869366" cy="33493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582255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00551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95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8065"/>
            <a:ext cx="4869366" cy="8396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1979"/>
            <a:ext cx="4869366" cy="5550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1255"/>
            <a:ext cx="4869366" cy="11243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69535438"/>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718287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419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2616"/>
            <a:ext cx="4869366" cy="83158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8301"/>
            <a:ext cx="4869366" cy="5496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2091"/>
            <a:ext cx="4869366" cy="11134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40334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670912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8241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1680"/>
            <a:ext cx="4869366" cy="8813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7958"/>
            <a:ext cx="4869366" cy="58258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5476"/>
            <a:ext cx="4869366" cy="118009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8775699"/>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653461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16746"/>
            <a:ext cx="4869366" cy="9422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75013"/>
            <a:ext cx="4869366" cy="6228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13858"/>
            <a:ext cx="4869366" cy="12617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3615913"/>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69371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157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0233"/>
            <a:ext cx="4869366" cy="8455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0124"/>
            <a:ext cx="4869366" cy="55892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3385"/>
            <a:ext cx="4869366" cy="11321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1733301"/>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740677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324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51457"/>
            <a:ext cx="4869366" cy="8649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31050"/>
            <a:ext cx="4869366" cy="5717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7445"/>
            <a:ext cx="4869366" cy="115813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324965"/>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02976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2235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41398"/>
            <a:ext cx="4869366" cy="8682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24362"/>
            <a:ext cx="4869366" cy="57392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3006"/>
            <a:ext cx="4869366" cy="116256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230852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28654859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771274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54434655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7950932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7715577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683784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1315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31143"/>
            <a:ext cx="4869366" cy="80570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0506"/>
            <a:ext cx="4869366" cy="5325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96748"/>
            <a:ext cx="4869366" cy="10788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107431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78835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836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6265"/>
            <a:ext cx="4869366" cy="80072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60559"/>
            <a:ext cx="4869366" cy="5292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3422"/>
            <a:ext cx="4869366" cy="107215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4675836"/>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884875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4943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66660"/>
            <a:ext cx="4869366" cy="7610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0598"/>
            <a:ext cx="4869366" cy="5030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56557"/>
            <a:ext cx="4869366" cy="101901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4899739"/>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97057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2488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43920"/>
            <a:ext cx="4869366" cy="8674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26039"/>
            <a:ext cx="4869366" cy="5733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14119"/>
            <a:ext cx="4869366" cy="11614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08366391"/>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54332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7947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98206"/>
            <a:ext cx="4869366" cy="8495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62129"/>
            <a:ext cx="4869366" cy="5615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8077"/>
            <a:ext cx="4869366" cy="113749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6077270"/>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0926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637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5013"/>
            <a:ext cx="4869366" cy="8439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3302"/>
            <a:ext cx="4869366" cy="5578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5495"/>
            <a:ext cx="4869366" cy="113008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79632106"/>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75757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59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4518"/>
            <a:ext cx="4869366" cy="8408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9621"/>
            <a:ext cx="4869366" cy="5558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9690"/>
            <a:ext cx="4869366" cy="11258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394871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60139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4347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61845"/>
            <a:ext cx="4869366" cy="8285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04436"/>
            <a:ext cx="4869366" cy="5476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6164"/>
            <a:ext cx="4869366" cy="110941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8540234"/>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79682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2764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44436"/>
            <a:ext cx="4869366" cy="7354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92304"/>
            <a:ext cx="4869366" cy="4861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90883"/>
            <a:ext cx="4869366" cy="98469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4766598"/>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47527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4783"/>
            <a:ext cx="4869366" cy="10055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7395"/>
            <a:ext cx="4869366" cy="664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9136"/>
            <a:ext cx="4869366" cy="13464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711884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65074633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54124917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78692962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83813690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66018311"/>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31936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2279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40177"/>
            <a:ext cx="4869366" cy="769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22992"/>
            <a:ext cx="4869366" cy="50882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44869"/>
            <a:ext cx="4869366" cy="10307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4456559"/>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2927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3089"/>
            <a:ext cx="4869366" cy="10061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6269"/>
            <a:ext cx="4869366" cy="6650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8389"/>
            <a:ext cx="4869366" cy="13471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7169984"/>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06428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94269"/>
            <a:ext cx="4869366" cy="9826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3590"/>
            <a:ext cx="4869366" cy="6495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9804"/>
            <a:ext cx="4869366" cy="131577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0128361"/>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83343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700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91892"/>
            <a:ext cx="4869366" cy="68288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92290"/>
            <a:ext cx="4869366" cy="13832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11997521"/>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77604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159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38276"/>
            <a:ext cx="4869366" cy="7004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6696"/>
            <a:ext cx="4869366" cy="14188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9672527"/>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04589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765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9513"/>
            <a:ext cx="4869366" cy="6836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90710"/>
            <a:ext cx="4869366" cy="13848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51867733"/>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41034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76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9225"/>
            <a:ext cx="4869366" cy="6706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7074"/>
            <a:ext cx="4869366" cy="135850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89653522"/>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905732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42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5782"/>
            <a:ext cx="4869366" cy="6717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4788"/>
            <a:ext cx="4869366" cy="136078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8859417"/>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723382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6588"/>
            <a:ext cx="4869366" cy="100167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5243"/>
            <a:ext cx="4869366" cy="6621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4346"/>
            <a:ext cx="4869366" cy="134122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05836071"/>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86878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86701"/>
            <a:ext cx="4869366" cy="9521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55039"/>
            <a:ext cx="4869366" cy="6294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00597"/>
            <a:ext cx="4869366" cy="12749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511157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90862699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9255524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26697768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2149457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0973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2913"/>
            <a:ext cx="4869366" cy="9633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2576"/>
            <a:ext cx="4869366" cy="6367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5685"/>
            <a:ext cx="4869366" cy="12898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29481468"/>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548244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76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9225"/>
            <a:ext cx="4869366" cy="6706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7074"/>
            <a:ext cx="4869366" cy="135850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71770051"/>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16127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654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8079"/>
            <a:ext cx="4869366" cy="6710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16313"/>
            <a:ext cx="4869366" cy="13592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193949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48981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6588"/>
            <a:ext cx="4869366" cy="100167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5243"/>
            <a:ext cx="4869366" cy="6621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4346"/>
            <a:ext cx="4869366" cy="134122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8779234"/>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915134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28165"/>
            <a:ext cx="4869366" cy="100445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9643"/>
            <a:ext cx="4869366" cy="6639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0629"/>
            <a:ext cx="4869366" cy="13449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870606"/>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hampagne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64865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34907"/>
            <a:ext cx="4869366" cy="10022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54126"/>
            <a:ext cx="4869366" cy="6624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33605"/>
            <a:ext cx="4869366" cy="134197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4547600"/>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81759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97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9077"/>
            <a:ext cx="4869366" cy="8821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6227"/>
            <a:ext cx="4869366" cy="5831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4327"/>
            <a:ext cx="4869366" cy="11812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71785130"/>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30371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0997"/>
            <a:ext cx="4869366" cy="9705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8006"/>
            <a:ext cx="4869366" cy="6415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6013"/>
            <a:ext cx="4869366" cy="129956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4811077"/>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631081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15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10753"/>
            <a:ext cx="4869366" cy="87834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990"/>
            <a:ext cx="4869366" cy="5806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9481"/>
            <a:ext cx="4869366" cy="11760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28999263"/>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21320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18325"/>
            <a:ext cx="4869366" cy="974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9582"/>
            <a:ext cx="4869366" cy="6443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0420"/>
            <a:ext cx="4869366" cy="13051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984237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QCN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26396504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128130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05688178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73766990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03079171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498721988"/>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87219902"/>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8755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3938"/>
            <a:ext cx="4869366" cy="9794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0018"/>
            <a:ext cx="4869366" cy="647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4071"/>
            <a:ext cx="4869366" cy="13115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5229537"/>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239801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2573"/>
            <a:ext cx="4869366" cy="9700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9054"/>
            <a:ext cx="4869366" cy="6412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6709"/>
            <a:ext cx="4869366" cy="129886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994465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50806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71462"/>
            <a:ext cx="4869366" cy="9901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8427"/>
            <a:ext cx="4869366" cy="6545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49737"/>
            <a:ext cx="4869366" cy="132583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86453004"/>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603842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5558"/>
            <a:ext cx="4869366" cy="12500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612021"/>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19314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9411"/>
            <a:ext cx="4869366" cy="9842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0360"/>
            <a:ext cx="4869366" cy="6506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7659"/>
            <a:ext cx="4869366" cy="13179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05531615"/>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84330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03304"/>
            <a:ext cx="4869366" cy="9467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66076"/>
            <a:ext cx="4869366" cy="6258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07925"/>
            <a:ext cx="4869366" cy="12676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44030"/>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55260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79090"/>
            <a:ext cx="4869366" cy="95470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9979"/>
            <a:ext cx="4869366" cy="6310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7239"/>
            <a:ext cx="4869366" cy="127833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0950408"/>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74847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3258"/>
            <a:ext cx="4869366" cy="9335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2638"/>
            <a:ext cx="4869366" cy="6170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5558"/>
            <a:ext cx="4869366" cy="12500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4274475"/>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456457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14591"/>
            <a:ext cx="4869366" cy="10089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40619"/>
            <a:ext cx="4869366" cy="66691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24638"/>
            <a:ext cx="4869366" cy="135093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407801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110522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6258"/>
            <a:ext cx="4869366" cy="9721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4856"/>
            <a:ext cx="4869366" cy="642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3921"/>
            <a:ext cx="4869366" cy="130165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30581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40111322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730637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31461971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20444949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63006724"/>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755149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6258"/>
            <a:ext cx="4869366" cy="9721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4856"/>
            <a:ext cx="4869366" cy="642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3921"/>
            <a:ext cx="4869366" cy="130165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4359588"/>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702988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7148"/>
            <a:ext cx="4869366" cy="9784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2151"/>
            <a:ext cx="4869366" cy="6467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5487"/>
            <a:ext cx="4869366" cy="13100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87800968"/>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646012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3090"/>
            <a:ext cx="4869366" cy="9731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2750"/>
            <a:ext cx="4869366" cy="6432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2523"/>
            <a:ext cx="4869366" cy="13030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758359"/>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25962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7292"/>
            <a:ext cx="4869366" cy="9684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2191"/>
            <a:ext cx="4869366" cy="6401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8791"/>
            <a:ext cx="4869366" cy="12967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6456566"/>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35698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35819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566491"/>
            <a:ext cx="4869366" cy="2337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804173"/>
            <a:ext cx="4869366" cy="1544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62628"/>
            <a:ext cx="4869366" cy="3129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78421412"/>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5635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177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36301"/>
            <a:ext cx="4869366" cy="8369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7455"/>
            <a:ext cx="4869366" cy="5532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4890"/>
            <a:ext cx="4869366" cy="11206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7826433"/>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620312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9877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7396"/>
            <a:ext cx="4869366" cy="8431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4886"/>
            <a:ext cx="4869366" cy="5573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6546"/>
            <a:ext cx="4869366" cy="112902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7133174"/>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61424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201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38645"/>
            <a:ext cx="4869366" cy="83619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9013"/>
            <a:ext cx="4869366" cy="5527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5925"/>
            <a:ext cx="4869366" cy="11196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7714617"/>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14817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8117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98780"/>
            <a:ext cx="4869366" cy="7834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95471"/>
            <a:ext cx="4869366" cy="5178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26599"/>
            <a:ext cx="4869366" cy="10489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5290687"/>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71245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116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19774"/>
            <a:ext cx="4869366" cy="84241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6467"/>
            <a:ext cx="4869366" cy="556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7596"/>
            <a:ext cx="4869366" cy="11279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169391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26445041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16082560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18401087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698181964"/>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96315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34148"/>
            <a:ext cx="4869366" cy="9695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0101"/>
            <a:ext cx="4869366" cy="64086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7403"/>
            <a:ext cx="4869366" cy="12981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43882902"/>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858826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5618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75042"/>
            <a:ext cx="4869366" cy="8571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46729"/>
            <a:ext cx="4869366" cy="5665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7854"/>
            <a:ext cx="4869366" cy="11477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43588354"/>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66691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8916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07837"/>
            <a:ext cx="4869366" cy="84634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68531"/>
            <a:ext cx="4869366" cy="559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2328"/>
            <a:ext cx="4869366" cy="11332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9303216"/>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54210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419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2616"/>
            <a:ext cx="4869366" cy="83158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8301"/>
            <a:ext cx="4869366" cy="5496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2091"/>
            <a:ext cx="4869366" cy="11134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2739662"/>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813151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142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32778"/>
            <a:ext cx="4869366" cy="8381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5112"/>
            <a:ext cx="4869366" cy="5540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3335"/>
            <a:ext cx="4869366" cy="11222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33249616"/>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457595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446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3608"/>
            <a:ext cx="4869366" cy="8741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2536"/>
            <a:ext cx="4869366" cy="5778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5154"/>
            <a:ext cx="4869366" cy="11704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2328094"/>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14247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93425"/>
            <a:ext cx="4869366" cy="9170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5990"/>
            <a:ext cx="4869366" cy="6061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7699"/>
            <a:ext cx="4869366" cy="12278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32692618"/>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06588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8763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6872"/>
            <a:ext cx="4869366" cy="8796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1410"/>
            <a:ext cx="4869366" cy="5814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7768"/>
            <a:ext cx="4869366" cy="117780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5462724"/>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49674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224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40984"/>
            <a:ext cx="4869366" cy="8354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0568"/>
            <a:ext cx="4869366" cy="55222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6957"/>
            <a:ext cx="4869366" cy="111861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4426031"/>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25224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712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5701"/>
            <a:ext cx="4869366" cy="8404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0408"/>
            <a:ext cx="4869366" cy="5555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0212"/>
            <a:ext cx="4869366" cy="11253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42906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HMSM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45535572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75037714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66955622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483640815"/>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tc>
                  <a:txBody>
                    <a:bodyPr/>
                    <a:lstStyle/>
                    <a:p>
                      <a:pPr algn="ctr">
                        <a:defRPr sz="1100">
                          <a:latin typeface="Nexa Book"/>
                        </a:defRPr>
                      </a:pPr>
                      <a:r>
                        <a:rPr b="1">
                          <a:solidFill>
                            <a:srgbClr val="575555"/>
                          </a:solidFill>
                        </a:rPr>
                        <a:t>Millesime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51562004"/>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082240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7287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90531"/>
            <a:ext cx="4869366" cy="7861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89987"/>
            <a:ext cx="4869366" cy="51964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22958"/>
            <a:ext cx="4869366" cy="105261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74623427"/>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ffervescents Sans Alcool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64040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6685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83984"/>
            <a:ext cx="4869366" cy="7553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52115"/>
            <a:ext cx="4869366" cy="4992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64203"/>
            <a:ext cx="4869366" cy="10113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92910365"/>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16948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5122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70112"/>
            <a:ext cx="4869366" cy="8587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43452"/>
            <a:ext cx="4869366" cy="5676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5678"/>
            <a:ext cx="4869366" cy="114989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0721280"/>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35105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495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9255"/>
            <a:ext cx="4869366" cy="7787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8018"/>
            <a:ext cx="4869366" cy="15775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86535755"/>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55954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7642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92389"/>
            <a:ext cx="4869366" cy="6866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483397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009004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068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4189"/>
            <a:ext cx="4869366" cy="7476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1041"/>
            <a:ext cx="4869366" cy="151453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7743053"/>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641117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62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9213"/>
            <a:ext cx="4869366" cy="7263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4209"/>
            <a:ext cx="4869366" cy="147136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81254071"/>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887177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3538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567738"/>
            <a:ext cx="4869366" cy="5629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140198"/>
            <a:ext cx="4869366" cy="37209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521837"/>
            <a:ext cx="4869366" cy="75373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5893035"/>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760204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22665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441232"/>
            <a:ext cx="4869366" cy="6046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056096"/>
            <a:ext cx="4869366" cy="3996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66005"/>
            <a:ext cx="4869366" cy="80957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4708278"/>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931980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599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76564"/>
            <a:ext cx="4869366" cy="7248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13663"/>
            <a:ext cx="4869366" cy="4791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05062"/>
            <a:ext cx="4869366" cy="97051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092497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HMSM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70043336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68229196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73630839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79451123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tc>
                  <a:txBody>
                    <a:bodyPr/>
                    <a:lstStyle/>
                    <a:p>
                      <a:pPr algn="ctr">
                        <a:defRPr sz="1100">
                          <a:latin typeface="Nexa Book"/>
                        </a:defRPr>
                      </a:pPr>
                      <a:r>
                        <a:rPr b="1">
                          <a:solidFill>
                            <a:srgbClr val="575555"/>
                          </a:solidFill>
                        </a:rPr>
                        <a:t>Mousseux Val De Loi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234565414"/>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4967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6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1585"/>
            <a:ext cx="4869366" cy="7911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3010"/>
            <a:ext cx="4869366" cy="16025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6526679"/>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30099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1171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332299"/>
            <a:ext cx="4869366" cy="6405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983677"/>
            <a:ext cx="4869366" cy="4233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417928"/>
            <a:ext cx="4869366" cy="8576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6751703"/>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31969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96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3881"/>
            <a:ext cx="4869366" cy="7772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1089"/>
            <a:ext cx="4869366" cy="15744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73261710"/>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17541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63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9747"/>
            <a:ext cx="4869366" cy="7425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1370"/>
            <a:ext cx="4869366" cy="15042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49627640"/>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89174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2403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41964"/>
            <a:ext cx="4869366" cy="8021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57700"/>
            <a:ext cx="4869366" cy="5302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1523"/>
            <a:ext cx="4869366" cy="10740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50487712"/>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55863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03431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249957"/>
            <a:ext cx="4869366" cy="6676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928935"/>
            <a:ext cx="4869366" cy="4413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81587"/>
            <a:ext cx="4869366" cy="8939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73425823"/>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05554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8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13079"/>
            <a:ext cx="4869366" cy="7742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7196"/>
            <a:ext cx="4869366" cy="1568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4565587"/>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7211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629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0252"/>
            <a:ext cx="4869366" cy="7653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25235"/>
            <a:ext cx="4869366" cy="15503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2374339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56111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8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13079"/>
            <a:ext cx="4869366" cy="7742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7196"/>
            <a:ext cx="4869366" cy="1568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1889347"/>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lanc De Blanc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30740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3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6934"/>
            <a:ext cx="4869366" cy="74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9503"/>
            <a:ext cx="4869366" cy="15060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865212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HMSM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304779810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109593750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28511022"/>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286706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6010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77278"/>
            <a:ext cx="4869366" cy="757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7657"/>
            <a:ext cx="4869366" cy="50074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61243"/>
            <a:ext cx="4869366" cy="101433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9651596"/>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84781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35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6934"/>
            <a:ext cx="4869366" cy="74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9503"/>
            <a:ext cx="4869366" cy="15060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26658328"/>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47023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4943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66660"/>
            <a:ext cx="4869366" cy="7610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0598"/>
            <a:ext cx="4869366" cy="5030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56557"/>
            <a:ext cx="4869366" cy="101901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7426102"/>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54089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92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2553"/>
            <a:ext cx="4869366" cy="74166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3233"/>
            <a:ext cx="4869366" cy="15023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48025711"/>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301208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03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63238"/>
            <a:ext cx="4869366" cy="7250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6881"/>
            <a:ext cx="4869366" cy="14686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59664893"/>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92997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52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9171"/>
            <a:ext cx="4869366" cy="7624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1156"/>
            <a:ext cx="4869366" cy="154441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5013487"/>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411824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4570"/>
            <a:ext cx="4869366" cy="1591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43597265"/>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97760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4454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68264"/>
            <a:ext cx="4869366" cy="75617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43831"/>
            <a:ext cx="4869366" cy="153174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4814018"/>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03876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663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89908"/>
            <a:ext cx="4869366" cy="74908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58200"/>
            <a:ext cx="4869366" cy="15173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43317972"/>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19609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63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9747"/>
            <a:ext cx="4869366" cy="7425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1370"/>
            <a:ext cx="4869366" cy="15042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72858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N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10452595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0633689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68032679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64872618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75281399"/>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873182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5040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74076"/>
            <a:ext cx="4869366" cy="7542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47689"/>
            <a:ext cx="4869366" cy="15278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4519144"/>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267224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9305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15539"/>
            <a:ext cx="4869366" cy="7079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41602"/>
            <a:ext cx="4869366" cy="14339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43255037"/>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55357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40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06566"/>
            <a:ext cx="4869366" cy="7108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5645"/>
            <a:ext cx="4869366" cy="143993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72544800"/>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1758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4160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65347"/>
            <a:ext cx="4869366" cy="7571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41894"/>
            <a:ext cx="4869366" cy="153368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7866606"/>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817245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906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3953"/>
            <a:ext cx="4869366" cy="7412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4162"/>
            <a:ext cx="4869366" cy="150141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66815480"/>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56131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464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27862"/>
            <a:ext cx="4869366" cy="7366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83396"/>
            <a:ext cx="4869366" cy="14921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6399064"/>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37037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92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2553"/>
            <a:ext cx="4869366" cy="74166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3233"/>
            <a:ext cx="4869366" cy="15023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136138"/>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rut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15391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464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27862"/>
            <a:ext cx="4869366" cy="7366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83396"/>
            <a:ext cx="4869366" cy="14921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120754"/>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715962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1169"/>
            <a:ext cx="4869366" cy="9256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3128468"/>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100752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3570"/>
            <a:ext cx="4869366" cy="9379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52927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N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89519810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59857384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91575743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581998157"/>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58626365"/>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2893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38012"/>
            <a:ext cx="4869366" cy="9299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7747049"/>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736345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1327"/>
            <a:ext cx="4869366" cy="9387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8921025"/>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249613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02320"/>
            <a:ext cx="4869366" cy="9416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5439612"/>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68624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84134"/>
            <a:ext cx="4869366" cy="947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175911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94865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37648"/>
            <a:ext cx="4869366" cy="962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9030417"/>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52508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7702"/>
            <a:ext cx="4869366" cy="92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23872230"/>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924883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15809"/>
            <a:ext cx="4869366" cy="9372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8198233"/>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45703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10990"/>
            <a:ext cx="4869366" cy="9060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8772733"/>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04608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31388"/>
            <a:ext cx="4869366" cy="9321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0483766"/>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85976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46797"/>
            <a:ext cx="4869366" cy="9270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856881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N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19639948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9419259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32782792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26115440"/>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14628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66366"/>
            <a:ext cx="4869366" cy="9206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61994331"/>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525535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46797"/>
            <a:ext cx="4869366" cy="9270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2040846"/>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274011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3350"/>
            <a:ext cx="4869366" cy="92493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6483307"/>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478888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90981"/>
            <a:ext cx="4869366" cy="94537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76312890"/>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ru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983715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84134"/>
            <a:ext cx="4869366" cy="947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93864888"/>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387231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23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6205"/>
            <a:ext cx="4869366" cy="7634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2397450"/>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436719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56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0372"/>
            <a:ext cx="4869366" cy="7948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00702962"/>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590773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5702257"/>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50679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37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8392"/>
            <a:ext cx="4869366" cy="7921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51753660"/>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050426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17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6359"/>
            <a:ext cx="4869366" cy="7895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87055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VCN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64483261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4607215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71939680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98815143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68163489"/>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27482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02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7631"/>
            <a:ext cx="4869366" cy="8022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1988170"/>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842572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897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84245"/>
            <a:ext cx="4869366" cy="8164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644348"/>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353253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11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5419"/>
            <a:ext cx="4869366" cy="77677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3554905"/>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46471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0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5801"/>
            <a:ext cx="4869366" cy="799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4885020"/>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75880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875710"/>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77782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71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1504"/>
            <a:ext cx="4869366" cy="7813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48593010"/>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39397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2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7753"/>
            <a:ext cx="4869366" cy="805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6754268"/>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23183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0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4610"/>
            <a:ext cx="4869366" cy="7803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8618431"/>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019350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8943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4443"/>
            <a:ext cx="4869366" cy="806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8605407"/>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98326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522653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VCN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53387995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990459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VCN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53482488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66353410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06134599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22223138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71198530"/>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7310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5618407"/>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60475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21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6792"/>
            <a:ext cx="4869366" cy="79271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85026496"/>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xtra Brut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61341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75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2299"/>
            <a:ext cx="4869366" cy="7974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1399174"/>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87444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5436"/>
            <a:ext cx="4869366" cy="9064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7271"/>
            <a:ext cx="4869366" cy="5991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1827"/>
            <a:ext cx="4869366" cy="12137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9382456"/>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62628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24675"/>
            <a:ext cx="4869366" cy="97264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13803"/>
            <a:ext cx="4869366" cy="6429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3223"/>
            <a:ext cx="4869366" cy="130235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6877886"/>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48315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4986976"/>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44829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450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63923"/>
            <a:ext cx="4869366" cy="86082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39337"/>
            <a:ext cx="4869366" cy="5690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2947"/>
            <a:ext cx="4869366" cy="115262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7364183"/>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22197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400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58951"/>
            <a:ext cx="4869366" cy="8624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36032"/>
            <a:ext cx="4869366" cy="57010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20752"/>
            <a:ext cx="4869366" cy="1154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1506778"/>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3745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159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38276"/>
            <a:ext cx="4869366" cy="7004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6696"/>
            <a:ext cx="4869366" cy="14188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29537230"/>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21610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43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7084"/>
            <a:ext cx="4869366" cy="7172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22711"/>
            <a:ext cx="4869366" cy="14528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94449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VCN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70703954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43016614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87146156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614592967"/>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8885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62101"/>
            <a:ext cx="4869366" cy="92734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05165"/>
            <a:ext cx="4869366" cy="6129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33875"/>
            <a:ext cx="4869366" cy="124170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675593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76460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9905"/>
            <a:ext cx="4869366" cy="95773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3873"/>
            <a:ext cx="4869366" cy="6330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3185"/>
            <a:ext cx="4869366" cy="12823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7328969"/>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84191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769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2136"/>
            <a:ext cx="4869366" cy="7844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6654"/>
            <a:ext cx="4869366" cy="15889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5678702"/>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620220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3804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55889"/>
            <a:ext cx="4869366" cy="79755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66957"/>
            <a:ext cx="4869366" cy="5271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07669"/>
            <a:ext cx="4869366" cy="106790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5669428"/>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68354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769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2136"/>
            <a:ext cx="4869366" cy="7844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6654"/>
            <a:ext cx="4869366" cy="15889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38087237"/>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07193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1346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129780"/>
            <a:ext cx="4869366" cy="7072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49041"/>
            <a:ext cx="4869366" cy="4675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328548"/>
            <a:ext cx="4869366" cy="9470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3524097"/>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77750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52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9171"/>
            <a:ext cx="4869366" cy="7624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1156"/>
            <a:ext cx="4869366" cy="154441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6631393"/>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1078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201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38645"/>
            <a:ext cx="4869366" cy="83619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9013"/>
            <a:ext cx="4869366" cy="5527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5925"/>
            <a:ext cx="4869366" cy="11196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5371835"/>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64628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86701"/>
            <a:ext cx="4869366" cy="9521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55039"/>
            <a:ext cx="4869366" cy="62941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00597"/>
            <a:ext cx="4869366" cy="12749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59339429"/>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17793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4060"/>
            <a:ext cx="4869366" cy="90692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6356"/>
            <a:ext cx="4869366" cy="5994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1219"/>
            <a:ext cx="4869366" cy="12143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809496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T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91958264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65795535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99065606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168807798"/>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89204656"/>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illesime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34718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6112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79953"/>
            <a:ext cx="4869366" cy="8555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49994"/>
            <a:ext cx="4869366" cy="56552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0021"/>
            <a:ext cx="4869366" cy="114555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5538176"/>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9462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535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3773"/>
            <a:ext cx="4869366" cy="831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9070"/>
            <a:ext cx="4869366" cy="5494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6053641"/>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374105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99046"/>
            <a:ext cx="4869366" cy="9151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9726"/>
            <a:ext cx="4869366" cy="6049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50180"/>
            <a:ext cx="4869366" cy="122539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7984390"/>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262306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2682"/>
            <a:ext cx="4869366" cy="9073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5440"/>
            <a:ext cx="4869366" cy="5997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74101729"/>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28927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1471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33803"/>
            <a:ext cx="4869366" cy="8707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9313"/>
            <a:ext cx="4869366" cy="5755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9654"/>
            <a:ext cx="4869366" cy="11659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06142389"/>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87657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10219"/>
            <a:ext cx="4869366" cy="91148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37154"/>
            <a:ext cx="4869366" cy="602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55111"/>
            <a:ext cx="4869366" cy="12204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95271889"/>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106871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66830"/>
            <a:ext cx="4869366" cy="9587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1829"/>
            <a:ext cx="4869366" cy="6337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91828"/>
            <a:ext cx="4869366" cy="12837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8836929"/>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64781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03938"/>
            <a:ext cx="4869366" cy="97947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0018"/>
            <a:ext cx="4869366" cy="6474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64071"/>
            <a:ext cx="4869366" cy="131150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2867788"/>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940940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48244"/>
            <a:ext cx="4869366" cy="96487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29472"/>
            <a:ext cx="4869366" cy="63779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83625"/>
            <a:ext cx="4869366" cy="129195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9142884"/>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38213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08827"/>
            <a:ext cx="4869366" cy="91194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36229"/>
            <a:ext cx="4869366" cy="6028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54497"/>
            <a:ext cx="4869366" cy="12210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717241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T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416396509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18380098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37915532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69488855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41081763"/>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677007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18325"/>
            <a:ext cx="4869366" cy="974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09582"/>
            <a:ext cx="4869366" cy="6443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70420"/>
            <a:ext cx="4869366" cy="13051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9316865"/>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53275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1536"/>
            <a:ext cx="4869366" cy="9374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4845"/>
            <a:ext cx="4869366" cy="6196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0385"/>
            <a:ext cx="4869366" cy="12551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2038668"/>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10078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84952"/>
            <a:ext cx="4869366" cy="91981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0356"/>
            <a:ext cx="4869366" cy="608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3959"/>
            <a:ext cx="4869366" cy="123161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6972007"/>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96302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635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82402"/>
            <a:ext cx="4869366" cy="8547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51622"/>
            <a:ext cx="4869366" cy="5649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1102"/>
            <a:ext cx="4869366" cy="11444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204970"/>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730558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25436"/>
            <a:ext cx="4869366" cy="9064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47271"/>
            <a:ext cx="4869366" cy="5991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1827"/>
            <a:ext cx="4869366" cy="12137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27526381"/>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61069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50535"/>
            <a:ext cx="4869366" cy="93115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7476"/>
            <a:ext cx="4869366" cy="6155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8770"/>
            <a:ext cx="4869366" cy="12468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373390"/>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99226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97643"/>
            <a:ext cx="4869366" cy="9156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28794"/>
            <a:ext cx="4869366" cy="6052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9561"/>
            <a:ext cx="4869366" cy="122601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21602503"/>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6258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7629"/>
            <a:ext cx="4869366" cy="9321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5544"/>
            <a:ext cx="4869366" cy="6161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27487"/>
            <a:ext cx="4869366" cy="124808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4199289"/>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osé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576989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80696"/>
            <a:ext cx="4869366" cy="9212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7527"/>
            <a:ext cx="4869366" cy="6089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42081"/>
            <a:ext cx="4869366" cy="12334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2508741"/>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70179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425383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89730050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33004701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02362904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37918980"/>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64558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4840"/>
            <a:ext cx="4869366" cy="99982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3903672"/>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532443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61283"/>
            <a:ext cx="4869366" cy="8567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07971407"/>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795036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0043"/>
            <a:ext cx="4869366" cy="9948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5959062"/>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37336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12054"/>
            <a:ext cx="4869366" cy="100401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59149512"/>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57119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34992"/>
            <a:ext cx="4869366" cy="9964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46104069"/>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38428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70221051"/>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16236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37519"/>
            <a:ext cx="4869366" cy="9956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63550494"/>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234725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2562"/>
            <a:ext cx="4869366" cy="994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0137420"/>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4016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0043"/>
            <a:ext cx="4869366" cy="9948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5783351"/>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32312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5077"/>
            <a:ext cx="4869366" cy="9931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976694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A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81395395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95028880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13913106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86340755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708765318"/>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55517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37519"/>
            <a:ext cx="4869366" cy="9956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108548"/>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69488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55095"/>
            <a:ext cx="4869366" cy="98990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426045"/>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622450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2562"/>
            <a:ext cx="4869366" cy="994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694827"/>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409748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34992"/>
            <a:ext cx="4869366" cy="99649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4761387"/>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51797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2562"/>
            <a:ext cx="4869366" cy="9940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0428133"/>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119861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9925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160128"/>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urgogn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90061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4840"/>
            <a:ext cx="4869366" cy="99982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2473778"/>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515528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66323"/>
            <a:ext cx="4869366" cy="8879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5814230"/>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37746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767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02787"/>
            <a:ext cx="4869366" cy="81040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81836426"/>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297643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76328"/>
            <a:ext cx="4869366" cy="8846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292708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A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11488032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05405481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23514488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40201113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3333653"/>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34018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26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7758"/>
            <a:ext cx="4869366" cy="8120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8750308"/>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106285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26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7758"/>
            <a:ext cx="4869366" cy="8120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77549874"/>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82938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3999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5423"/>
            <a:ext cx="4869366" cy="8226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08358153"/>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985711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34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8867"/>
            <a:ext cx="4869366" cy="82152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46437205"/>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00575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45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8997"/>
            <a:ext cx="4869366" cy="7854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4570"/>
            <a:ext cx="4869366" cy="1591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080242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136365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383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79140"/>
            <a:ext cx="4869366" cy="81815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828453"/>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63529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75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2708"/>
            <a:ext cx="4869366" cy="8137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8873646"/>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017369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19193576"/>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96426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294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7425"/>
            <a:ext cx="4869366" cy="7859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8041139"/>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33808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33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97709"/>
            <a:ext cx="4869366" cy="77930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95013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QCA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31436504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33124303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6788608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81822146"/>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9944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581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1020"/>
            <a:ext cx="4869366" cy="8142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26165"/>
            <a:ext cx="4869366" cy="164941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97512203"/>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935202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94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4347"/>
            <a:ext cx="4869366" cy="8033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3698754"/>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35933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72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82546"/>
            <a:ext cx="4869366" cy="8170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9216552"/>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69992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42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9436"/>
            <a:ext cx="4869366" cy="811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0039713"/>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Italien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67681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58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0678"/>
            <a:ext cx="4869366" cy="7979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9470699"/>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81502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403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8762"/>
            <a:ext cx="4869366" cy="7953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4497"/>
            <a:ext cx="4869366" cy="16110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1895237"/>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64519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2955243"/>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912801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33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7946"/>
            <a:ext cx="4869366" cy="7890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7233"/>
            <a:ext cx="4869366" cy="15983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02156185"/>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580055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576318"/>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7989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6259"/>
            <a:ext cx="4869366" cy="88137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64445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CCP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53956993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69732922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91345932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68979289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75617691"/>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629584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06802"/>
            <a:ext cx="4869366" cy="907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2711426"/>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6542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19330"/>
            <a:ext cx="4869366" cy="9033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1095235"/>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06978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09798"/>
            <a:ext cx="4869366" cy="8736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83547620"/>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6924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27619"/>
            <a:ext cx="4869366" cy="9005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2949938"/>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60114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8236"/>
            <a:ext cx="4869366" cy="8807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1617857"/>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179891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50160"/>
            <a:ext cx="4869366" cy="8932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5560161"/>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27340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49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10817"/>
            <a:ext cx="4869366" cy="8405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9227419"/>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78316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4343"/>
            <a:ext cx="4869366" cy="8623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28791"/>
            <a:ext cx="4869366" cy="17467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4059871"/>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52832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96274"/>
            <a:ext cx="4869366" cy="9108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1705570"/>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65845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21413"/>
            <a:ext cx="4869366" cy="8698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23749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CCP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89079238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13024326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45623583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440043277"/>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84144163"/>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61956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78320"/>
            <a:ext cx="4869366" cy="88397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7970492"/>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25030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4278"/>
            <a:ext cx="4869366" cy="88202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1963626"/>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Val De Loir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59741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0482368"/>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426408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241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7149"/>
            <a:ext cx="4869366" cy="79587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3427"/>
            <a:ext cx="4869366" cy="16121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11069303"/>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63418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94151"/>
            <a:ext cx="4869366" cy="8787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57981734"/>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20315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7700"/>
            <a:ext cx="4869366" cy="16078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53554934"/>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482646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06802"/>
            <a:ext cx="4869366" cy="90741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1069217"/>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86670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87201"/>
            <a:ext cx="4869366" cy="9793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2969014"/>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37330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52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25291721"/>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17013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59811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QC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8616813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9853569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CCP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89539327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657636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1572417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88486858"/>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40199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026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4324177"/>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48799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31866776"/>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0783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76713773"/>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12441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6582176"/>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753279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1152679"/>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92226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47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2527784"/>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62945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40253156"/>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55337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31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6813114"/>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5856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49409"/>
            <a:ext cx="4869366" cy="9589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5736364"/>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478638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277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360481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IDF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65380838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12198301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68270553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51312514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04742727"/>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Alsace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036932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8311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3646533"/>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13421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82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2129"/>
            <a:ext cx="4869366" cy="7614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3119"/>
            <a:ext cx="4869366" cy="154245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579626"/>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164532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17559475"/>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096035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3421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8022"/>
            <a:ext cx="4869366" cy="7595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7032"/>
            <a:ext cx="4869366" cy="153854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3363287"/>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577968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54722287"/>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4425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01791"/>
            <a:ext cx="4869366" cy="9746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5812012"/>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16005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13840"/>
            <a:ext cx="4869366" cy="9706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5052593"/>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27471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35285"/>
            <a:ext cx="4869366" cy="9636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44619094"/>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13603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87201"/>
            <a:ext cx="4869366" cy="9793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6850506"/>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811328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74934"/>
            <a:ext cx="4869366" cy="9834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506064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IDF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13937654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10139407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59029162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753605353"/>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220924"/>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PA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335510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99369"/>
            <a:ext cx="4869366" cy="9753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7816479"/>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RH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096781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42364"/>
            <a:ext cx="4869366" cy="9613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3841300"/>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AQU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29511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8376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1061939"/>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NICOLAS 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75732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57702"/>
            <a:ext cx="4869366" cy="923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9068471"/>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61849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5047"/>
            <a:ext cx="4869366" cy="9866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276989"/>
            <a:ext cx="4869366" cy="19985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8421664"/>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B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39183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62565"/>
            <a:ext cx="4869366" cy="9874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401672"/>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C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77565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04331"/>
            <a:ext cx="4869366" cy="9960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6312066"/>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90509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18632"/>
            <a:ext cx="4869366" cy="9690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307374"/>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ousseux Bordelais | CA 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01038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96943"/>
            <a:ext cx="4869366" cy="9761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2504779"/>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258618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IDF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71538038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35403996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22508277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76634521"/>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0195983"/>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4472616"/>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17737478"/>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07019842"/>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68041672"/>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81052583"/>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9947679"/>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9845515"/>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7924320"/>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Effervescents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797293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PAC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81652895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38287975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73761164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94041061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43822239"/>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3060570"/>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00837702"/>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32697379"/>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74748708"/>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19270857"/>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33678773"/>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29143245"/>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77700887"/>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5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45938381"/>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972025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PAC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22851389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6349351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67826333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95173773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59068689"/>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5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50911598"/>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57832056"/>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9348044"/>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58833567"/>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36598354"/>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21133569"/>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09887841"/>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63987589"/>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4362286"/>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0481279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PAC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83320240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73619791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36976341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12691863"/>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60632559"/>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Effervescents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14560028"/>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4167391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85723182"/>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83010982"/>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34763183"/>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7921575"/>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8683381"/>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74598295"/>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013413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RH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3388485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98692453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7901457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78996441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17818228"/>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63422081"/>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52500968"/>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Effervescents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ampagnes (9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ffervescents Sans Alcoo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73468395"/>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46187109"/>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97685686"/>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79224533"/>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6510415"/>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34574350"/>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32020884"/>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553252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RH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76719233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54671895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56195524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064068227"/>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012087306"/>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40181487"/>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5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60747263"/>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40711044"/>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5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57376365"/>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5722986"/>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illesime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39690605"/>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39379809"/>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89036559"/>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70461135"/>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516473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RHO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02713486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72730617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76354707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72538024"/>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04343086"/>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39279682"/>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90064232"/>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ruts (6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lanc De Blancs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osés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rus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xtra Brut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illesimes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53651077"/>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Effervescents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Italiens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Val De Loir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Alsac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Mousseux Bourgogn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Mousseux Bordelais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78357029"/>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173599">
                  <a:extLst>
                    <a:ext uri="{9D8B030D-6E8A-4147-A177-3AD203B41FA5}">
                      <a16:colId xmlns:a16="http://schemas.microsoft.com/office/drawing/2014/main" val="2253286919"/>
                    </a:ext>
                  </a:extLst>
                </a:gridCol>
                <a:gridCol w="1173599">
                  <a:extLst>
                    <a:ext uri="{9D8B030D-6E8A-4147-A177-3AD203B41FA5}">
                      <a16:colId xmlns:a16="http://schemas.microsoft.com/office/drawing/2014/main" val="154020430"/>
                    </a:ext>
                  </a:extLst>
                </a:gridCol>
                <a:gridCol w="1173599">
                  <a:extLst>
                    <a:ext uri="{9D8B030D-6E8A-4147-A177-3AD203B41FA5}">
                      <a16:colId xmlns:a16="http://schemas.microsoft.com/office/drawing/2014/main" val="3928813835"/>
                    </a:ext>
                  </a:extLst>
                </a:gridCol>
                <a:gridCol w="1173599">
                  <a:extLst>
                    <a:ext uri="{9D8B030D-6E8A-4147-A177-3AD203B41FA5}">
                      <a16:colId xmlns:a16="http://schemas.microsoft.com/office/drawing/2014/main" val="4099274801"/>
                    </a:ext>
                  </a:extLst>
                </a:gridCol>
                <a:gridCol w="1173599">
                  <a:extLst>
                    <a:ext uri="{9D8B030D-6E8A-4147-A177-3AD203B41FA5}">
                      <a16:colId xmlns:a16="http://schemas.microsoft.com/office/drawing/2014/main" val="3203434082"/>
                    </a:ext>
                  </a:extLst>
                </a:gridCol>
                <a:gridCol w="1173599">
                  <a:extLst>
                    <a:ext uri="{9D8B030D-6E8A-4147-A177-3AD203B41FA5}">
                      <a16:colId xmlns:a16="http://schemas.microsoft.com/office/drawing/2014/main" val="130644446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173606">
                  <a:extLst>
                    <a:ext uri="{9D8B030D-6E8A-4147-A177-3AD203B41FA5}">
                      <a16:colId xmlns:a16="http://schemas.microsoft.com/office/drawing/2014/main" val="2253286919"/>
                    </a:ext>
                  </a:extLst>
                </a:gridCol>
                <a:gridCol w="1173606">
                  <a:extLst>
                    <a:ext uri="{9D8B030D-6E8A-4147-A177-3AD203B41FA5}">
                      <a16:colId xmlns:a16="http://schemas.microsoft.com/office/drawing/2014/main" val="154020430"/>
                    </a:ext>
                  </a:extLst>
                </a:gridCol>
                <a:gridCol w="1173606">
                  <a:extLst>
                    <a:ext uri="{9D8B030D-6E8A-4147-A177-3AD203B41FA5}">
                      <a16:colId xmlns:a16="http://schemas.microsoft.com/office/drawing/2014/main" val="3928813835"/>
                    </a:ext>
                  </a:extLst>
                </a:gridCol>
                <a:gridCol w="1173606">
                  <a:extLst>
                    <a:ext uri="{9D8B030D-6E8A-4147-A177-3AD203B41FA5}">
                      <a16:colId xmlns:a16="http://schemas.microsoft.com/office/drawing/2014/main" val="4099274801"/>
                    </a:ext>
                  </a:extLst>
                </a:gridCol>
                <a:gridCol w="1173606">
                  <a:extLst>
                    <a:ext uri="{9D8B030D-6E8A-4147-A177-3AD203B41FA5}">
                      <a16:colId xmlns:a16="http://schemas.microsoft.com/office/drawing/2014/main" val="3203434082"/>
                    </a:ext>
                  </a:extLst>
                </a:gridCol>
                <a:gridCol w="1173606">
                  <a:extLst>
                    <a:ext uri="{9D8B030D-6E8A-4147-A177-3AD203B41FA5}">
                      <a16:colId xmlns:a16="http://schemas.microsoft.com/office/drawing/2014/main" val="130644446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0868215"/>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86392190"/>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Q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34765189"/>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V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6340877"/>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QC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045814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QCA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3375481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80408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AQU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54947790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24834706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78864006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97751137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30601954"/>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QC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65649037"/>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CC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873475"/>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IDF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12627010"/>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PA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82501124"/>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RH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62141689"/>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AQU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25366059"/>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NICOLAS 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22671625"/>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CA 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592163"/>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CA B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7132960"/>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CA 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914762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AQU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03705360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8728908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96616272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25122997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06543846"/>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CA D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2905693"/>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Malard Nicolas | CA 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5446381"/>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173599">
                  <a:extLst>
                    <a:ext uri="{9D8B030D-6E8A-4147-A177-3AD203B41FA5}">
                      <a16:colId xmlns:a16="http://schemas.microsoft.com/office/drawing/2014/main" val="2253286919"/>
                    </a:ext>
                  </a:extLst>
                </a:gridCol>
                <a:gridCol w="1173599">
                  <a:extLst>
                    <a:ext uri="{9D8B030D-6E8A-4147-A177-3AD203B41FA5}">
                      <a16:colId xmlns:a16="http://schemas.microsoft.com/office/drawing/2014/main" val="154020430"/>
                    </a:ext>
                  </a:extLst>
                </a:gridCol>
                <a:gridCol w="1173599">
                  <a:extLst>
                    <a:ext uri="{9D8B030D-6E8A-4147-A177-3AD203B41FA5}">
                      <a16:colId xmlns:a16="http://schemas.microsoft.com/office/drawing/2014/main" val="3928813835"/>
                    </a:ext>
                  </a:extLst>
                </a:gridCol>
                <a:gridCol w="1173599">
                  <a:extLst>
                    <a:ext uri="{9D8B030D-6E8A-4147-A177-3AD203B41FA5}">
                      <a16:colId xmlns:a16="http://schemas.microsoft.com/office/drawing/2014/main" val="4099274801"/>
                    </a:ext>
                  </a:extLst>
                </a:gridCol>
                <a:gridCol w="1173599">
                  <a:extLst>
                    <a:ext uri="{9D8B030D-6E8A-4147-A177-3AD203B41FA5}">
                      <a16:colId xmlns:a16="http://schemas.microsoft.com/office/drawing/2014/main" val="3203434082"/>
                    </a:ext>
                  </a:extLst>
                </a:gridCol>
                <a:gridCol w="1173599">
                  <a:extLst>
                    <a:ext uri="{9D8B030D-6E8A-4147-A177-3AD203B41FA5}">
                      <a16:colId xmlns:a16="http://schemas.microsoft.com/office/drawing/2014/main" val="130644446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173606">
                  <a:extLst>
                    <a:ext uri="{9D8B030D-6E8A-4147-A177-3AD203B41FA5}">
                      <a16:colId xmlns:a16="http://schemas.microsoft.com/office/drawing/2014/main" val="2253286919"/>
                    </a:ext>
                  </a:extLst>
                </a:gridCol>
                <a:gridCol w="1173606">
                  <a:extLst>
                    <a:ext uri="{9D8B030D-6E8A-4147-A177-3AD203B41FA5}">
                      <a16:colId xmlns:a16="http://schemas.microsoft.com/office/drawing/2014/main" val="154020430"/>
                    </a:ext>
                  </a:extLst>
                </a:gridCol>
                <a:gridCol w="1173606">
                  <a:extLst>
                    <a:ext uri="{9D8B030D-6E8A-4147-A177-3AD203B41FA5}">
                      <a16:colId xmlns:a16="http://schemas.microsoft.com/office/drawing/2014/main" val="3928813835"/>
                    </a:ext>
                  </a:extLst>
                </a:gridCol>
                <a:gridCol w="1173606">
                  <a:extLst>
                    <a:ext uri="{9D8B030D-6E8A-4147-A177-3AD203B41FA5}">
                      <a16:colId xmlns:a16="http://schemas.microsoft.com/office/drawing/2014/main" val="4099274801"/>
                    </a:ext>
                  </a:extLst>
                </a:gridCol>
                <a:gridCol w="1173606">
                  <a:extLst>
                    <a:ext uri="{9D8B030D-6E8A-4147-A177-3AD203B41FA5}">
                      <a16:colId xmlns:a16="http://schemas.microsoft.com/office/drawing/2014/main" val="3203434082"/>
                    </a:ext>
                  </a:extLst>
                </a:gridCol>
                <a:gridCol w="1173606">
                  <a:extLst>
                    <a:ext uri="{9D8B030D-6E8A-4147-A177-3AD203B41FA5}">
                      <a16:colId xmlns:a16="http://schemas.microsoft.com/office/drawing/2014/main" val="130644446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3354416"/>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92991109"/>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Q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7690798"/>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V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4907421"/>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QC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71544106"/>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QC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38292932"/>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CC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21931970"/>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IDF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7922251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AQU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79233784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39933909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50445372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584613357"/>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PA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06725281"/>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RH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3992360"/>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AQU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2061171"/>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NICOLAS 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97674136"/>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CA 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444246"/>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CA B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79575410"/>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CA 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1183279"/>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CA D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1771623"/>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Nicolas | CA 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8659050"/>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88064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EST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24983372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60318527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87829037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622414080"/>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53069735"/>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6818850"/>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Q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21639961"/>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V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62411097"/>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QC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82715877"/>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QC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85841495"/>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CC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17145790"/>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IDF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39055"/>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PA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91395022"/>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RH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68178055"/>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AQU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2073783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EST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58427078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66784147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61462932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774733385"/>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11343270"/>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NICOLAS 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1283488"/>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CA 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04169648"/>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CA B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75094181"/>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CA 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2684474"/>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CA D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6957682"/>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Nicolas | CA 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36733030"/>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86504130"/>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55962475"/>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Q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7330391"/>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VCN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7510118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ICOLAS ES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95675963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06568707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43862441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595428213"/>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QC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4959010"/>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QC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76949019"/>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CCP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9918730"/>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IDF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9092347"/>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PA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43676346"/>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RH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39073539"/>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AQU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33690935"/>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NICOLAS 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05960493"/>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CA 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99187328"/>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CA B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55913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A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01300275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90029602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80698309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639015258"/>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68560844"/>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CA C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02084952"/>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CA D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09002036"/>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June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Nicolas | CA 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928579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A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4426682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98073242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69557724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09142390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492667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A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78577446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66100591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75919130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4472079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B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11011768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68073522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96479654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17530089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58858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CCP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58693863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760136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B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302365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28217898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16131329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581586293"/>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948923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B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44833940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77151707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46365006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645578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C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54048168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01425499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05037849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486364393"/>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7489153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C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18600808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87158059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19810728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49308827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1890328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C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69793034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63543019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03033271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3827390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D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92183080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65901404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1903801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62524712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571653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D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94101029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98312018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56474169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31685404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4885078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D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0710536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69649278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43720243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5908201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E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409676316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84189916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79427986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20014083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Blanc De Blancs</a:t>
                      </a:r>
                    </a:p>
                  </a:txBody>
                  <a:tcPr anchor="ctr">
                    <a:solidFill>
                      <a:schemeClr val="bg2"/>
                    </a:solidFill>
                  </a:tcPr>
                </a:tc>
                <a:tc>
                  <a:txBody>
                    <a:bodyPr/>
                    <a:lstStyle/>
                    <a:p>
                      <a:pPr algn="ctr">
                        <a:defRPr sz="1100">
                          <a:latin typeface="Nexa Book"/>
                        </a:defRPr>
                      </a:pPr>
                      <a:r>
                        <a:rPr b="1">
                          <a:solidFill>
                            <a:srgbClr val="575555"/>
                          </a:solidFill>
                        </a:rPr>
                        <a:t>Bruts</a:t>
                      </a:r>
                    </a:p>
                  </a:txBody>
                  <a:tcPr anchor="ctr">
                    <a:solidFill>
                      <a:schemeClr val="bg2"/>
                    </a:solidFill>
                  </a:tcPr>
                </a:tc>
                <a:tc>
                  <a:txBody>
                    <a:bodyPr/>
                    <a:lstStyle/>
                    <a:p>
                      <a:pPr algn="ctr">
                        <a:defRPr sz="1100">
                          <a:latin typeface="Nexa Book"/>
                        </a:defRPr>
                      </a:pPr>
                      <a:r>
                        <a:rPr b="1">
                          <a:solidFill>
                            <a:srgbClr val="575555"/>
                          </a:solidFill>
                        </a:rPr>
                        <a:t>Crus</a:t>
                      </a:r>
                    </a:p>
                  </a:txBody>
                  <a:tcPr anchor="ctr">
                    <a:solidFill>
                      <a:schemeClr val="bg2"/>
                    </a:solidFill>
                  </a:tcPr>
                </a:tc>
                <a:tc>
                  <a:txBody>
                    <a:bodyPr/>
                    <a:lstStyle/>
                    <a:p>
                      <a:pPr algn="ctr">
                        <a:defRPr sz="1100">
                          <a:latin typeface="Nexa Book"/>
                        </a:defRPr>
                      </a:pPr>
                      <a:r>
                        <a:rPr b="1">
                          <a:solidFill>
                            <a:srgbClr val="575555"/>
                          </a:solidFill>
                        </a:rPr>
                        <a:t>Extra Bru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99024756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E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67847892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701211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14991759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77181404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Millesimes</a:t>
                      </a:r>
                    </a:p>
                  </a:txBody>
                  <a:tcPr anchor="ctr">
                    <a:solidFill>
                      <a:schemeClr val="bg2"/>
                    </a:solidFill>
                  </a:tcPr>
                </a:tc>
                <a:tc>
                  <a:txBody>
                    <a:bodyPr/>
                    <a:lstStyle/>
                    <a:p>
                      <a:pPr algn="ctr">
                        <a:defRPr sz="1100">
                          <a:latin typeface="Nexa Book"/>
                        </a:defRPr>
                      </a:pPr>
                      <a:r>
                        <a:rPr b="1">
                          <a:solidFill>
                            <a:srgbClr val="575555"/>
                          </a:solidFill>
                        </a:rPr>
                        <a:t>Rosés</a:t>
                      </a:r>
                    </a:p>
                  </a:txBody>
                  <a:tcPr anchor="ctr">
                    <a:solidFill>
                      <a:schemeClr val="bg2"/>
                    </a:solidFill>
                  </a:tcPr>
                </a:tc>
                <a:tc>
                  <a:txBody>
                    <a:bodyPr/>
                    <a:lstStyle/>
                    <a:p>
                      <a:pPr algn="ctr">
                        <a:defRPr sz="1100">
                          <a:latin typeface="Nexa Book"/>
                        </a:defRPr>
                      </a:pPr>
                      <a:r>
                        <a:rPr b="1">
                          <a:solidFill>
                            <a:srgbClr val="575555"/>
                          </a:solidFill>
                        </a:rPr>
                        <a:t>Mousseux Bourgogne</a:t>
                      </a:r>
                    </a:p>
                  </a:txBody>
                  <a:tcPr anchor="ctr">
                    <a:solidFill>
                      <a:schemeClr val="bg2"/>
                    </a:solidFill>
                  </a:tcPr>
                </a:tc>
                <a:tc>
                  <a:txBody>
                    <a:bodyPr/>
                    <a:lstStyle/>
                    <a:p>
                      <a:pPr algn="ctr">
                        <a:defRPr sz="1100">
                          <a:latin typeface="Nexa Book"/>
                        </a:defRPr>
                      </a:pPr>
                      <a:r>
                        <a:rPr b="1">
                          <a:solidFill>
                            <a:srgbClr val="575555"/>
                          </a:solidFill>
                        </a:rPr>
                        <a:t>Mousseux Italien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715906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ICOLAS IDF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06503686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Effervescent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50923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 E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11108665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60483495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7376442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Mousseux Val De Loire</a:t>
                      </a:r>
                    </a:p>
                  </a:txBody>
                  <a:tcPr anchor="ctr">
                    <a:solidFill>
                      <a:schemeClr val="bg2"/>
                    </a:solidFill>
                  </a:tcPr>
                </a:tc>
                <a:tc>
                  <a:txBody>
                    <a:bodyPr/>
                    <a:lstStyle/>
                    <a:p>
                      <a:pPr algn="ctr">
                        <a:defRPr sz="1100">
                          <a:latin typeface="Nexa Book"/>
                        </a:defRPr>
                      </a:pPr>
                      <a:r>
                        <a:rPr b="1">
                          <a:solidFill>
                            <a:srgbClr val="575555"/>
                          </a:solidFill>
                        </a:rPr>
                        <a:t>Mousseux Alsace</a:t>
                      </a:r>
                    </a:p>
                  </a:txBody>
                  <a:tcPr anchor="ctr">
                    <a:solidFill>
                      <a:schemeClr val="bg2"/>
                    </a:solidFill>
                  </a:tcPr>
                </a:tc>
                <a:tc>
                  <a:txBody>
                    <a:bodyPr/>
                    <a:lstStyle/>
                    <a:p>
                      <a:pPr algn="ctr">
                        <a:defRPr sz="1100">
                          <a:latin typeface="Nexa Book"/>
                        </a:defRPr>
                      </a:pPr>
                      <a:r>
                        <a:rPr b="1">
                          <a:solidFill>
                            <a:srgbClr val="575555"/>
                          </a:solidFill>
                        </a:rPr>
                        <a:t>Mousseux Bordelai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42787647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0998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93678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777672"/>
            <a:ext cx="4869366" cy="49790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710491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144871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5526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72463"/>
            <a:ext cx="4869366" cy="7591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44456"/>
            <a:ext cx="4869366" cy="50179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59118"/>
            <a:ext cx="4869366" cy="10164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813365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HMS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109066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98918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199528"/>
            <a:ext cx="4869366" cy="35467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560214"/>
            <a:ext cx="4869366" cy="23444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00672"/>
            <a:ext cx="4869366" cy="47490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784292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Q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3687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950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8065"/>
            <a:ext cx="4869366" cy="83968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81979"/>
            <a:ext cx="4869366" cy="5550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51255"/>
            <a:ext cx="4869366" cy="11243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718866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VC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161350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4115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59544"/>
            <a:ext cx="4869366" cy="82930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02907"/>
            <a:ext cx="4869366" cy="5481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65148"/>
            <a:ext cx="4869366" cy="11104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469194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QC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27869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4552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962774"/>
            <a:ext cx="4869366" cy="76231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38015"/>
            <a:ext cx="4869366" cy="5039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54842"/>
            <a:ext cx="4869366" cy="102073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205143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QC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24660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225466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463533"/>
            <a:ext cx="4869366" cy="2676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735726"/>
            <a:ext cx="4869366" cy="17692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917188"/>
            <a:ext cx="4869366" cy="35838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695560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CC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62640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7094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89720"/>
            <a:ext cx="4869366" cy="85232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56487"/>
            <a:ext cx="4869366" cy="56339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34332"/>
            <a:ext cx="4869366" cy="114124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13701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ffervescents | NICOLAS IDF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50186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7840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01050"/>
            <a:ext cx="4869366" cy="7497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63461"/>
            <a:ext cx="4869366" cy="4955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271735"/>
            <a:ext cx="4869366" cy="100384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804889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